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75" r:id="rId3"/>
    <p:sldMasterId id="2147483689" r:id="rId4"/>
    <p:sldMasterId id="2147483700" r:id="rId5"/>
    <p:sldMasterId id="2147483715" r:id="rId6"/>
    <p:sldMasterId id="2147483730" r:id="rId7"/>
  </p:sldMasterIdLst>
  <p:notesMasterIdLst>
    <p:notesMasterId r:id="rId25"/>
  </p:notesMasterIdLst>
  <p:sldIdLst>
    <p:sldId id="257" r:id="rId8"/>
    <p:sldId id="450" r:id="rId9"/>
    <p:sldId id="276" r:id="rId10"/>
    <p:sldId id="451" r:id="rId11"/>
    <p:sldId id="452" r:id="rId12"/>
    <p:sldId id="453" r:id="rId13"/>
    <p:sldId id="277" r:id="rId14"/>
    <p:sldId id="454" r:id="rId15"/>
    <p:sldId id="455" r:id="rId16"/>
    <p:sldId id="456" r:id="rId17"/>
    <p:sldId id="463" r:id="rId18"/>
    <p:sldId id="458" r:id="rId19"/>
    <p:sldId id="461" r:id="rId20"/>
    <p:sldId id="460" r:id="rId21"/>
    <p:sldId id="462" r:id="rId22"/>
    <p:sldId id="464" r:id="rId23"/>
    <p:sldId id="465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Page" id="{14E73D0F-7207-43A3-B1C8-9B1C0D266FE3}">
          <p14:sldIdLst>
            <p14:sldId id="257"/>
          </p14:sldIdLst>
        </p14:section>
        <p14:section name="Agenda" id="{DF2B311D-0AF0-41B3-B80D-6BB94BDE6A7A}">
          <p14:sldIdLst>
            <p14:sldId id="450"/>
          </p14:sldIdLst>
        </p14:section>
        <p14:section name="Introduction" id="{7EEC2580-F7B0-4FD1-854A-45C211BB67D6}">
          <p14:sldIdLst>
            <p14:sldId id="276"/>
            <p14:sldId id="451"/>
            <p14:sldId id="452"/>
            <p14:sldId id="453"/>
          </p14:sldIdLst>
        </p14:section>
        <p14:section name="Overview" id="{8FE608D3-80C9-45C9-833E-664E00631F29}">
          <p14:sldIdLst>
            <p14:sldId id="277"/>
            <p14:sldId id="454"/>
            <p14:sldId id="455"/>
            <p14:sldId id="456"/>
          </p14:sldIdLst>
        </p14:section>
        <p14:section name="Objectives" id="{0988DACC-CB54-4EA6-94A2-7F728980CFD3}">
          <p14:sldIdLst>
            <p14:sldId id="463"/>
          </p14:sldIdLst>
        </p14:section>
        <p14:section name="Walkthrough" id="{16D1CD81-29A7-4451-8B82-977476025A64}">
          <p14:sldIdLst>
            <p14:sldId id="458"/>
            <p14:sldId id="461"/>
            <p14:sldId id="460"/>
            <p14:sldId id="462"/>
          </p14:sldIdLst>
        </p14:section>
        <p14:section name="Demo" id="{3B727329-615E-4661-B80D-E9F892F4DAA9}">
          <p14:sldIdLst>
            <p14:sldId id="464"/>
          </p14:sldIdLst>
        </p14:section>
        <p14:section name="End" id="{985F6CD8-BB50-4E64-954C-AB5F8BC0C270}">
          <p14:sldIdLst>
            <p14:sldId id="4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8ED"/>
    <a:srgbClr val="F42CCE"/>
    <a:srgbClr val="033443"/>
    <a:srgbClr val="02222C"/>
    <a:srgbClr val="04121A"/>
    <a:srgbClr val="08202E"/>
    <a:srgbClr val="0514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3" autoAdjust="0"/>
    <p:restoredTop sz="94291" autoAdjust="0"/>
  </p:normalViewPr>
  <p:slideViewPr>
    <p:cSldViewPr snapToGrid="0">
      <p:cViewPr varScale="1">
        <p:scale>
          <a:sx n="69" d="100"/>
          <a:sy n="69" d="100"/>
        </p:scale>
        <p:origin x="684" y="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62EA08-0946-48A7-BB98-E2DB28776E58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144F6D-9599-47F4-AAED-289825B03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42118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96D60C-59D0-432E-814E-917D381056A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17969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dustry 4.0 is the trend towards automation and data exchange in manufacturing technologies and processes which include IOT, IIOT, Cloud Computing, Artificial Intelligence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44F6D-9599-47F4-AAED-289825B03BF7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46271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64352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44F6D-9599-47F4-AAED-289825B03BF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02900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echnology is not limited to what think like computers, laptops, smartphones, </a:t>
            </a:r>
            <a:r>
              <a:rPr lang="en-GB" dirty="0" err="1"/>
              <a:t>ipods</a:t>
            </a:r>
            <a:r>
              <a:rPr lang="en-GB" dirty="0"/>
              <a:t>, </a:t>
            </a:r>
            <a:r>
              <a:rPr lang="en-GB" dirty="0" err="1"/>
              <a:t>ipads</a:t>
            </a:r>
            <a:r>
              <a:rPr lang="en-GB" dirty="0"/>
              <a:t> and all.</a:t>
            </a:r>
          </a:p>
          <a:p>
            <a:r>
              <a:rPr lang="en-GB" dirty="0"/>
              <a:t>We are aware that IOT(that is robotics) have already made their entry in the digital era we are living.</a:t>
            </a:r>
          </a:p>
          <a:p>
            <a:r>
              <a:rPr lang="en-GB" dirty="0"/>
              <a:t>By multi-form, I mean:</a:t>
            </a:r>
          </a:p>
          <a:p>
            <a:r>
              <a:rPr lang="en-GB" dirty="0" err="1"/>
              <a:t>Wytedge</a:t>
            </a:r>
            <a:r>
              <a:rPr lang="en-GB" dirty="0"/>
              <a:t> can be a fully robotic automatic system</a:t>
            </a:r>
          </a:p>
          <a:p>
            <a:r>
              <a:rPr lang="en-GB" dirty="0"/>
              <a:t>Or an Android App which is a semi automatic system</a:t>
            </a:r>
          </a:p>
          <a:p>
            <a:r>
              <a:rPr lang="en-GB" dirty="0"/>
              <a:t>Or a Web application</a:t>
            </a:r>
          </a:p>
          <a:p>
            <a:r>
              <a:rPr lang="en-GB" dirty="0"/>
              <a:t>Or even a desktop application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44F6D-9599-47F4-AAED-289825B03BF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68825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Wytedge</a:t>
            </a:r>
            <a:r>
              <a:rPr lang="en-GB" dirty="0"/>
              <a:t> follows the modern technological trend, evolving alongside with industry 4.0 which focuses on smart manufacturing technologies.</a:t>
            </a:r>
          </a:p>
          <a:p>
            <a:r>
              <a:rPr lang="en-GB" dirty="0"/>
              <a:t>Nevertheless, the manufacturing industry is one of the hardest sectors to merge with the digital era, because it involves much more machinery, paperwork as well as resources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44F6D-9599-47F4-AAED-289825B03BF7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9267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aim here is basically Effective Energy Monitoring.</a:t>
            </a:r>
          </a:p>
          <a:p>
            <a:r>
              <a:rPr lang="en-GB" dirty="0"/>
              <a:t>Automating time-consuming tasks.</a:t>
            </a:r>
          </a:p>
          <a:p>
            <a:r>
              <a:rPr lang="en-GB" dirty="0"/>
              <a:t>Accurate analysis of energy being consum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44F6D-9599-47F4-AAED-289825B03BF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38304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ell, analytics is a very important aspect of monitoring which will determine the next step in maintenance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44F6D-9599-47F4-AAED-289825B03BF7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36647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44F6D-9599-47F4-AAED-289825B03BF7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34497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44F6D-9599-47F4-AAED-289825B03BF7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88092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44F6D-9599-47F4-AAED-289825B03BF7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1305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44F6D-9599-47F4-AAED-289825B03BF7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6375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79102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1E974-11DD-48AE-A3C6-256223419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A47AE-30D2-4737-A729-3748016751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98D306-2200-4622-9014-140A2CD114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408F58-F800-4D3F-BF1B-B8B126722F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3C5B1-DDE9-4DF8-9DB0-FB56D23DCEE6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5F68C5-E711-45AF-9665-EEE6C7612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258ED5-C6CB-4F8E-BFCC-F4BF994D3E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864AC1-1B39-4C26-9F87-C43F37765C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3176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2140B8-8339-4035-BA5A-5ED19654A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00AC1AA-E566-40D8-A3FF-584A88FA49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10B6C4-2996-4F1F-990A-07E5FDFA6B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CE4EE3-5252-47DE-AEC0-E5733D91BE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3C5B1-DDE9-4DF8-9DB0-FB56D23DCEE6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2D3DE1-E090-4003-8755-DF304FAF01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1F87F6-D3CD-4FC0-87F4-531AE87EBE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864AC1-1B39-4C26-9F87-C43F37765C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83277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A4F467-3C57-4CB4-800B-8E894CDF5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271DDFF-6DF6-4FAC-939E-947FF581DD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8CE4C1-B9D6-4785-8C22-6886EBF7A6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3C5B1-DDE9-4DF8-9DB0-FB56D23DCEE6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6FBF67-599C-41FF-99A6-C93D89810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5434F-59F9-4833-B032-0D00AA548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864AC1-1B39-4C26-9F87-C43F37765C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83259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66D3764-4871-4F85-B6FD-E0C8EDF92E6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58A07D-CD28-460E-A84D-E5EE633D57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01B64E-EED9-421C-BDE3-605C0B9C7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3C5B1-DDE9-4DF8-9DB0-FB56D23DCEE6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163A0E-C21A-42CA-B0A6-E618591FE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BD1DC4-B0B3-414C-8D0C-1529751C2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864AC1-1B39-4C26-9F87-C43F37765C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99577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289712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331"/>
            <a:ext cx="12192000" cy="6333931"/>
          </a:xfrm>
          <a:prstGeom prst="rect">
            <a:avLst/>
          </a:prstGeom>
        </p:spPr>
      </p:pic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8A62FE5-825C-4EC8-9072-FC3249DB5AC1}"/>
              </a:ext>
            </a:extLst>
          </p:cNvPr>
          <p:cNvSpPr/>
          <p:nvPr userDrawn="1"/>
        </p:nvSpPr>
        <p:spPr bwMode="auto">
          <a:xfrm>
            <a:off x="-15643" y="0"/>
            <a:ext cx="12207643" cy="63246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algn="l"/>
            <a:endParaRPr lang="en-US" sz="1108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513863" y="-9331"/>
            <a:ext cx="3701185" cy="6336372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/>
          </a:p>
        </p:txBody>
      </p:sp>
      <p:sp>
        <p:nvSpPr>
          <p:cNvPr id="6" name="TextBox 5"/>
          <p:cNvSpPr txBox="1"/>
          <p:nvPr/>
        </p:nvSpPr>
        <p:spPr>
          <a:xfrm>
            <a:off x="909014" y="623003"/>
            <a:ext cx="1907895" cy="7463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250" dirty="0">
                <a:solidFill>
                  <a:schemeClr val="tx1"/>
                </a:solidFill>
              </a:rPr>
              <a:t>LO:</a:t>
            </a:r>
            <a:r>
              <a:rPr lang="da-DK" sz="4250" b="1" dirty="0">
                <a:solidFill>
                  <a:schemeClr val="tx1"/>
                </a:solidFill>
              </a:rPr>
              <a:t>GO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34269" y="6391470"/>
            <a:ext cx="7464673" cy="416354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>
              <a:solidFill>
                <a:schemeClr val="tx1"/>
              </a:solidFill>
            </a:endParaRPr>
          </a:p>
        </p:txBody>
      </p:sp>
      <p:sp>
        <p:nvSpPr>
          <p:cNvPr id="10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l">
              <a:defRPr/>
            </a:pPr>
            <a:r>
              <a:rPr lang="en-GB" sz="800" noProof="0" dirty="0">
                <a:solidFill>
                  <a:schemeClr val="tx1"/>
                </a:solidFill>
                <a:latin typeface="Arial" pitchFamily="34" charset="0"/>
              </a:rPr>
              <a:t>Company</a:t>
            </a:r>
            <a:r>
              <a:rPr lang="en-GB" sz="800" baseline="0" noProof="0" dirty="0">
                <a:solidFill>
                  <a:schemeClr val="tx1"/>
                </a:solidFill>
                <a:latin typeface="Arial" pitchFamily="34" charset="0"/>
              </a:rPr>
              <a:t> Information    |    www.example.com      |    +123 123-123-123    |     Address of example     |      Country</a:t>
            </a:r>
            <a:endParaRPr lang="en-GB" sz="800" noProof="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1107639" y="1357522"/>
            <a:ext cx="2513892" cy="306179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1107639" y="5911880"/>
            <a:ext cx="2513892" cy="269690"/>
          </a:xfrm>
        </p:spPr>
        <p:txBody>
          <a:bodyPr/>
          <a:lstStyle>
            <a:lvl1pPr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16075418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8375551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95AC64D-4F79-4CCA-8B80-BAAD2707C2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636" y="0"/>
            <a:ext cx="12207636" cy="6858000"/>
          </a:xfrm>
          <a:prstGeom prst="rect">
            <a:avLst/>
          </a:pr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E2DED7A7-011E-4D1A-A230-7CC612927E3D}"/>
              </a:ext>
            </a:extLst>
          </p:cNvPr>
          <p:cNvSpPr/>
          <p:nvPr userDrawn="1"/>
        </p:nvSpPr>
        <p:spPr bwMode="auto">
          <a:xfrm>
            <a:off x="-15643" y="0"/>
            <a:ext cx="12207643" cy="6386880"/>
          </a:xfrm>
          <a:prstGeom prst="parallelogram">
            <a:avLst>
              <a:gd name="adj" fmla="val 0"/>
            </a:avLst>
          </a:prstGeom>
          <a:solidFill>
            <a:schemeClr val="tx2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algn="l"/>
            <a:endParaRPr lang="en-US" sz="1108" dirty="0"/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5639" y="6386880"/>
            <a:ext cx="12348320" cy="538710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>
              <a:solidFill>
                <a:schemeClr val="tx2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l">
              <a:defRPr/>
            </a:pPr>
            <a:r>
              <a:rPr lang="en-GB" sz="800" noProof="0" dirty="0">
                <a:solidFill>
                  <a:schemeClr val="tx1"/>
                </a:solidFill>
                <a:latin typeface="Arial" pitchFamily="34" charset="0"/>
              </a:rPr>
              <a:t>Company</a:t>
            </a:r>
            <a:r>
              <a:rPr lang="en-GB" sz="800" baseline="0" noProof="0" dirty="0">
                <a:solidFill>
                  <a:schemeClr val="tx1"/>
                </a:solidFill>
                <a:latin typeface="Arial" pitchFamily="34" charset="0"/>
              </a:rPr>
              <a:t> Information    |    www.example.com      |    +123 123-123-123    |     Address of example     |      Country</a:t>
            </a:r>
            <a:endParaRPr lang="en-GB" sz="800" noProof="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9484316" y="4302711"/>
            <a:ext cx="1907895" cy="7463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250" dirty="0">
                <a:solidFill>
                  <a:schemeClr val="tx1"/>
                </a:solidFill>
              </a:rPr>
              <a:t>LO:</a:t>
            </a:r>
            <a:r>
              <a:rPr lang="da-DK" sz="4250" b="1" dirty="0">
                <a:solidFill>
                  <a:schemeClr val="tx1"/>
                </a:solidFill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325363120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783883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8BD965B-6E31-4F08-9CF3-838552894D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6"/>
          <a:stretch/>
        </p:blipFill>
        <p:spPr>
          <a:xfrm>
            <a:off x="-15631" y="0"/>
            <a:ext cx="12207632" cy="6858000"/>
          </a:xfrm>
          <a:prstGeom prst="rect">
            <a:avLst/>
          </a:pr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A70A4C74-39F6-4284-9394-85BD8FB5D282}"/>
              </a:ext>
            </a:extLst>
          </p:cNvPr>
          <p:cNvSpPr/>
          <p:nvPr userDrawn="1"/>
        </p:nvSpPr>
        <p:spPr bwMode="auto">
          <a:xfrm>
            <a:off x="-15643" y="0"/>
            <a:ext cx="12207643" cy="638688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algn="l"/>
            <a:endParaRPr lang="en-US" sz="1108" dirty="0"/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5634" y="6386880"/>
            <a:ext cx="12207634" cy="538710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>
              <a:solidFill>
                <a:schemeClr val="tx2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l">
              <a:defRPr/>
            </a:pPr>
            <a:r>
              <a:rPr lang="en-GB" sz="800" noProof="0" dirty="0">
                <a:solidFill>
                  <a:schemeClr val="tx1"/>
                </a:solidFill>
                <a:latin typeface="Arial" pitchFamily="34" charset="0"/>
              </a:rPr>
              <a:t>Company</a:t>
            </a:r>
            <a:r>
              <a:rPr lang="en-GB" sz="800" baseline="0" noProof="0" dirty="0">
                <a:solidFill>
                  <a:schemeClr val="tx1"/>
                </a:solidFill>
                <a:latin typeface="Arial" pitchFamily="34" charset="0"/>
              </a:rPr>
              <a:t> Information    |    www.example.com      |    +123 123-123-123    |     Address of example     |      Country</a:t>
            </a:r>
            <a:endParaRPr lang="en-GB" sz="800" noProof="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61937" y="623003"/>
            <a:ext cx="1907895" cy="7463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4250" dirty="0">
                <a:solidFill>
                  <a:schemeClr val="bg1"/>
                </a:solidFill>
              </a:rPr>
              <a:t>LO:</a:t>
            </a:r>
            <a:r>
              <a:rPr lang="da-DK" sz="4250" b="1" dirty="0">
                <a:solidFill>
                  <a:schemeClr val="bg1"/>
                </a:solidFill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405965931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1358709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9492885" y="623003"/>
            <a:ext cx="1907895" cy="74635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da-DK" sz="4250" dirty="0">
                <a:solidFill>
                  <a:schemeClr val="tx1"/>
                </a:solidFill>
              </a:rPr>
              <a:t>LO:</a:t>
            </a:r>
            <a:r>
              <a:rPr lang="da-DK" sz="4250" b="1" dirty="0">
                <a:solidFill>
                  <a:schemeClr val="tx1"/>
                </a:solidFill>
              </a:rPr>
              <a:t>GO</a:t>
            </a:r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59444E7C-FA04-4172-9CE3-59C6EC5C3594}"/>
              </a:ext>
            </a:extLst>
          </p:cNvPr>
          <p:cNvSpPr>
            <a:spLocks/>
          </p:cNvSpPr>
          <p:nvPr/>
        </p:nvSpPr>
        <p:spPr bwMode="auto">
          <a:xfrm>
            <a:off x="-19502" y="1426457"/>
            <a:ext cx="5394037" cy="3263609"/>
          </a:xfrm>
          <a:custGeom>
            <a:avLst/>
            <a:gdLst>
              <a:gd name="T0" fmla="*/ 0 w 1440"/>
              <a:gd name="T1" fmla="*/ 1615 h 2139"/>
              <a:gd name="T2" fmla="*/ 0 w 1440"/>
              <a:gd name="T3" fmla="*/ 2139 h 2139"/>
              <a:gd name="T4" fmla="*/ 124 w 1440"/>
              <a:gd name="T5" fmla="*/ 2139 h 2139"/>
              <a:gd name="T6" fmla="*/ 1440 w 1440"/>
              <a:gd name="T7" fmla="*/ 0 h 2139"/>
              <a:gd name="T8" fmla="*/ 993 w 1440"/>
              <a:gd name="T9" fmla="*/ 0 h 2139"/>
              <a:gd name="T10" fmla="*/ 0 w 1440"/>
              <a:gd name="T11" fmla="*/ 1615 h 2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0" h="2139">
                <a:moveTo>
                  <a:pt x="0" y="1615"/>
                </a:moveTo>
                <a:lnTo>
                  <a:pt x="0" y="2139"/>
                </a:lnTo>
                <a:lnTo>
                  <a:pt x="124" y="2139"/>
                </a:lnTo>
                <a:lnTo>
                  <a:pt x="1440" y="0"/>
                </a:lnTo>
                <a:lnTo>
                  <a:pt x="993" y="0"/>
                </a:lnTo>
                <a:lnTo>
                  <a:pt x="0" y="16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6" name="Freeform 8">
            <a:extLst>
              <a:ext uri="{FF2B5EF4-FFF2-40B4-BE49-F238E27FC236}">
                <a16:creationId xmlns:a16="http://schemas.microsoft.com/office/drawing/2014/main" id="{63937E45-A3D7-4174-8CE8-931DDB9391BD}"/>
              </a:ext>
            </a:extLst>
          </p:cNvPr>
          <p:cNvSpPr>
            <a:spLocks/>
          </p:cNvSpPr>
          <p:nvPr/>
        </p:nvSpPr>
        <p:spPr bwMode="auto">
          <a:xfrm>
            <a:off x="-19503" y="4685832"/>
            <a:ext cx="5232967" cy="2172168"/>
          </a:xfrm>
          <a:custGeom>
            <a:avLst/>
            <a:gdLst>
              <a:gd name="T0" fmla="*/ 0 w 1397"/>
              <a:gd name="T1" fmla="*/ 1321 h 1321"/>
              <a:gd name="T2" fmla="*/ 584 w 1397"/>
              <a:gd name="T3" fmla="*/ 1321 h 1321"/>
              <a:gd name="T4" fmla="*/ 1397 w 1397"/>
              <a:gd name="T5" fmla="*/ 0 h 1321"/>
              <a:gd name="T6" fmla="*/ 0 w 1397"/>
              <a:gd name="T7" fmla="*/ 0 h 1321"/>
              <a:gd name="T8" fmla="*/ 0 w 1397"/>
              <a:gd name="T9" fmla="*/ 1321 h 1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97" h="1321">
                <a:moveTo>
                  <a:pt x="0" y="1321"/>
                </a:moveTo>
                <a:lnTo>
                  <a:pt x="584" y="1321"/>
                </a:lnTo>
                <a:lnTo>
                  <a:pt x="1397" y="0"/>
                </a:lnTo>
                <a:lnTo>
                  <a:pt x="0" y="0"/>
                </a:lnTo>
                <a:lnTo>
                  <a:pt x="0" y="132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80572" y="6386880"/>
            <a:ext cx="12372572" cy="538710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>
              <a:solidFill>
                <a:schemeClr val="tx2"/>
              </a:solidFill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l">
              <a:defRPr/>
            </a:pPr>
            <a:r>
              <a:rPr lang="en-GB" sz="800" noProof="0" dirty="0">
                <a:solidFill>
                  <a:schemeClr val="tx1"/>
                </a:solidFill>
                <a:latin typeface="Arial" pitchFamily="34" charset="0"/>
              </a:rPr>
              <a:t>Company</a:t>
            </a:r>
            <a:r>
              <a:rPr lang="en-GB" sz="800" baseline="0" noProof="0" dirty="0">
                <a:solidFill>
                  <a:schemeClr val="tx1"/>
                </a:solidFill>
                <a:latin typeface="Arial" pitchFamily="34" charset="0"/>
              </a:rPr>
              <a:t> Information    |    www.example.com      |    +123 123-123-123    |     Address of example     |      Country</a:t>
            </a:r>
            <a:endParaRPr lang="en-GB" sz="800" noProof="0" dirty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6F098C-39F9-4163-AC57-E21C5F482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2006351"/>
            <a:ext cx="8678950" cy="2679241"/>
          </a:xfrm>
          <a:prstGeom prst="rect">
            <a:avLst/>
          </a:prstGeom>
        </p:spPr>
      </p:pic>
      <p:sp>
        <p:nvSpPr>
          <p:cNvPr id="17" name="Parallelogram 16">
            <a:extLst>
              <a:ext uri="{FF2B5EF4-FFF2-40B4-BE49-F238E27FC236}">
                <a16:creationId xmlns:a16="http://schemas.microsoft.com/office/drawing/2014/main" id="{F2D1AAAF-76B3-4471-A4D2-8A88A23B8A6D}"/>
              </a:ext>
            </a:extLst>
          </p:cNvPr>
          <p:cNvSpPr/>
          <p:nvPr userDrawn="1"/>
        </p:nvSpPr>
        <p:spPr bwMode="auto">
          <a:xfrm>
            <a:off x="1" y="2014548"/>
            <a:ext cx="8678950" cy="2678185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algn="l"/>
            <a:endParaRPr lang="en-US" sz="1108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BE3A4A01-18FC-4627-BB34-D50F9C4536FC}"/>
              </a:ext>
            </a:extLst>
          </p:cNvPr>
          <p:cNvSpPr/>
          <p:nvPr userDrawn="1"/>
        </p:nvSpPr>
        <p:spPr bwMode="auto">
          <a:xfrm rot="10800000">
            <a:off x="4783255" y="2007408"/>
            <a:ext cx="3895695" cy="2678424"/>
          </a:xfrm>
          <a:prstGeom prst="rtTriangl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US" sz="1800" dirty="0">
              <a:solidFill>
                <a:schemeClr val="tx2"/>
              </a:solidFill>
            </a:endParaRPr>
          </a:p>
        </p:txBody>
      </p:sp>
      <p:sp>
        <p:nvSpPr>
          <p:cNvPr id="19" name="Freeform 7">
            <a:extLst>
              <a:ext uri="{FF2B5EF4-FFF2-40B4-BE49-F238E27FC236}">
                <a16:creationId xmlns:a16="http://schemas.microsoft.com/office/drawing/2014/main" id="{F207BEFE-90EF-4166-B4B5-3C030C3196B0}"/>
              </a:ext>
            </a:extLst>
          </p:cNvPr>
          <p:cNvSpPr>
            <a:spLocks/>
          </p:cNvSpPr>
          <p:nvPr userDrawn="1"/>
        </p:nvSpPr>
        <p:spPr bwMode="auto">
          <a:xfrm>
            <a:off x="6434614" y="2010825"/>
            <a:ext cx="5757387" cy="2679241"/>
          </a:xfrm>
          <a:custGeom>
            <a:avLst/>
            <a:gdLst>
              <a:gd name="T0" fmla="*/ 1537 w 1537"/>
              <a:gd name="T1" fmla="*/ 1756 h 1756"/>
              <a:gd name="T2" fmla="*/ 1080 w 1537"/>
              <a:gd name="T3" fmla="*/ 1756 h 1756"/>
              <a:gd name="T4" fmla="*/ 0 w 1537"/>
              <a:gd name="T5" fmla="*/ 0 h 1756"/>
              <a:gd name="T6" fmla="*/ 1537 w 1537"/>
              <a:gd name="T7" fmla="*/ 0 h 1756"/>
              <a:gd name="T8" fmla="*/ 1537 w 1537"/>
              <a:gd name="T9" fmla="*/ 1756 h 1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37" h="1756">
                <a:moveTo>
                  <a:pt x="1537" y="1756"/>
                </a:moveTo>
                <a:lnTo>
                  <a:pt x="1080" y="1756"/>
                </a:lnTo>
                <a:lnTo>
                  <a:pt x="0" y="0"/>
                </a:lnTo>
                <a:lnTo>
                  <a:pt x="1537" y="0"/>
                </a:lnTo>
                <a:lnTo>
                  <a:pt x="1537" y="17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A30D67EC-17B0-4E80-9A2F-B3185B34C0C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98039" y="2014550"/>
            <a:ext cx="11182054" cy="397369"/>
          </a:xfrm>
          <a:effectLst/>
        </p:spPr>
        <p:txBody>
          <a:bodyPr/>
          <a:lstStyle>
            <a:lvl1pPr algn="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5DED9DF5-FD92-4ED3-8CA7-CCD7BAF3708A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98039" y="2479508"/>
            <a:ext cx="11182054" cy="269690"/>
          </a:xfrm>
          <a:effectLst/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  <p:sp>
        <p:nvSpPr>
          <p:cNvPr id="18" name="Freeform 6">
            <a:extLst>
              <a:ext uri="{FF2B5EF4-FFF2-40B4-BE49-F238E27FC236}">
                <a16:creationId xmlns:a16="http://schemas.microsoft.com/office/drawing/2014/main" id="{ED7EE916-BF74-4DA8-9771-16EC094F4E50}"/>
              </a:ext>
            </a:extLst>
          </p:cNvPr>
          <p:cNvSpPr>
            <a:spLocks/>
          </p:cNvSpPr>
          <p:nvPr userDrawn="1"/>
        </p:nvSpPr>
        <p:spPr bwMode="auto">
          <a:xfrm>
            <a:off x="3703883" y="1426457"/>
            <a:ext cx="6603950" cy="3263609"/>
          </a:xfrm>
          <a:custGeom>
            <a:avLst/>
            <a:gdLst>
              <a:gd name="T0" fmla="*/ 446 w 1763"/>
              <a:gd name="T1" fmla="*/ 0 h 2139"/>
              <a:gd name="T2" fmla="*/ 0 w 1763"/>
              <a:gd name="T3" fmla="*/ 0 h 2139"/>
              <a:gd name="T4" fmla="*/ 1315 w 1763"/>
              <a:gd name="T5" fmla="*/ 2139 h 2139"/>
              <a:gd name="T6" fmla="*/ 1763 w 1763"/>
              <a:gd name="T7" fmla="*/ 2139 h 2139"/>
              <a:gd name="T8" fmla="*/ 446 w 1763"/>
              <a:gd name="T9" fmla="*/ 0 h 2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63" h="2139">
                <a:moveTo>
                  <a:pt x="446" y="0"/>
                </a:moveTo>
                <a:lnTo>
                  <a:pt x="0" y="0"/>
                </a:lnTo>
                <a:lnTo>
                  <a:pt x="1315" y="2139"/>
                </a:lnTo>
                <a:lnTo>
                  <a:pt x="1763" y="2139"/>
                </a:lnTo>
                <a:lnTo>
                  <a:pt x="44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15071623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5523909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21AC353-8494-4BA5-BC40-B35BD162DA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636" y="-1"/>
            <a:ext cx="12207636" cy="6858001"/>
          </a:xfrm>
          <a:prstGeom prst="rect">
            <a:avLst/>
          </a:prstGeom>
        </p:spPr>
      </p:pic>
      <p:sp>
        <p:nvSpPr>
          <p:cNvPr id="9" name="Parallelogram 8">
            <a:extLst>
              <a:ext uri="{FF2B5EF4-FFF2-40B4-BE49-F238E27FC236}">
                <a16:creationId xmlns:a16="http://schemas.microsoft.com/office/drawing/2014/main" id="{116F1D4A-B141-4E3B-848B-ADAE63066BC8}"/>
              </a:ext>
            </a:extLst>
          </p:cNvPr>
          <p:cNvSpPr/>
          <p:nvPr userDrawn="1"/>
        </p:nvSpPr>
        <p:spPr bwMode="auto">
          <a:xfrm>
            <a:off x="-15643" y="0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algn="l"/>
            <a:endParaRPr lang="en-US" sz="1108" dirty="0"/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ffee break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274125463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79989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5466C76-BF40-469E-A7EA-ADC7B0E9B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7" name="Parallelogram 6">
            <a:extLst>
              <a:ext uri="{FF2B5EF4-FFF2-40B4-BE49-F238E27FC236}">
                <a16:creationId xmlns:a16="http://schemas.microsoft.com/office/drawing/2014/main" id="{5F7DBDBF-444C-427A-9D89-274C022A782C}"/>
              </a:ext>
            </a:extLst>
          </p:cNvPr>
          <p:cNvSpPr/>
          <p:nvPr userDrawn="1"/>
        </p:nvSpPr>
        <p:spPr bwMode="auto">
          <a:xfrm>
            <a:off x="-15643" y="0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algn="l"/>
            <a:endParaRPr lang="en-US" sz="1108" dirty="0"/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en-US" dirty="0"/>
              <a:t>The number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298746058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83687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251121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A600EC0-9307-4FD1-831B-2E3E7C52C2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7" name="Parallelogram 6">
            <a:extLst>
              <a:ext uri="{FF2B5EF4-FFF2-40B4-BE49-F238E27FC236}">
                <a16:creationId xmlns:a16="http://schemas.microsoft.com/office/drawing/2014/main" id="{D5CAE46A-B8F0-4F58-A2C3-6E158BD893E1}"/>
              </a:ext>
            </a:extLst>
          </p:cNvPr>
          <p:cNvSpPr/>
          <p:nvPr userDrawn="1"/>
        </p:nvSpPr>
        <p:spPr bwMode="auto">
          <a:xfrm>
            <a:off x="-15643" y="0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algn="l"/>
            <a:endParaRPr lang="en-US" sz="1108" dirty="0"/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lanning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207710026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92444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0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9FBD3F51-1851-478F-ADF2-EF80390D9E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738" r="1861"/>
          <a:stretch/>
        </p:blipFill>
        <p:spPr>
          <a:xfrm>
            <a:off x="-15631" y="-1"/>
            <a:ext cx="12207632" cy="6857999"/>
          </a:xfrm>
          <a:prstGeom prst="rect">
            <a:avLst/>
          </a:prstGeom>
        </p:spPr>
      </p:pic>
      <p:sp>
        <p:nvSpPr>
          <p:cNvPr id="9" name="Parallelogram 8">
            <a:extLst>
              <a:ext uri="{FF2B5EF4-FFF2-40B4-BE49-F238E27FC236}">
                <a16:creationId xmlns:a16="http://schemas.microsoft.com/office/drawing/2014/main" id="{116F1D4A-B141-4E3B-848B-ADAE63066BC8}"/>
              </a:ext>
            </a:extLst>
          </p:cNvPr>
          <p:cNvSpPr/>
          <p:nvPr userDrawn="1"/>
        </p:nvSpPr>
        <p:spPr bwMode="auto">
          <a:xfrm>
            <a:off x="0" y="-2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algn="l"/>
            <a:endParaRPr lang="en-US" sz="1108" dirty="0"/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en-US" dirty="0"/>
              <a:t>Creative slid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217599731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639708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EE195FE-117E-4234-8EC5-B26ADBDB4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599"/>
          <a:stretch/>
        </p:blipFill>
        <p:spPr>
          <a:xfrm>
            <a:off x="-15643" y="-1"/>
            <a:ext cx="12207643" cy="6857999"/>
          </a:xfrm>
          <a:prstGeom prst="rect">
            <a:avLst/>
          </a:prstGeom>
        </p:spPr>
      </p:pic>
      <p:sp>
        <p:nvSpPr>
          <p:cNvPr id="7" name="Parallelogram 6">
            <a:extLst>
              <a:ext uri="{FF2B5EF4-FFF2-40B4-BE49-F238E27FC236}">
                <a16:creationId xmlns:a16="http://schemas.microsoft.com/office/drawing/2014/main" id="{D5CAE46A-B8F0-4F58-A2C3-6E158BD893E1}"/>
              </a:ext>
            </a:extLst>
          </p:cNvPr>
          <p:cNvSpPr/>
          <p:nvPr userDrawn="1"/>
        </p:nvSpPr>
        <p:spPr bwMode="auto">
          <a:xfrm>
            <a:off x="-15647" y="0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algn="l"/>
            <a:endParaRPr lang="en-US" sz="1108" dirty="0"/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Basic element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230932662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208989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3862" y="404813"/>
            <a:ext cx="11166230" cy="677108"/>
          </a:xfrm>
        </p:spPr>
        <p:txBody>
          <a:bodyPr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  <a:endParaRPr lang="en-GB" noProof="0" dirty="0"/>
          </a:p>
        </p:txBody>
      </p:sp>
      <p:sp>
        <p:nvSpPr>
          <p:cNvPr id="5" name="Rectangle 51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33315" y="6562985"/>
            <a:ext cx="5042876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>
              <a:spcBef>
                <a:spcPct val="0"/>
              </a:spcBef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Source: xxx</a:t>
            </a:r>
          </a:p>
        </p:txBody>
      </p:sp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11452470" y="6562986"/>
            <a:ext cx="23641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210177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674066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484" y="260033"/>
            <a:ext cx="11166230" cy="677108"/>
          </a:xfrm>
        </p:spPr>
        <p:txBody>
          <a:bodyPr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lide 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  <a:endParaRPr lang="en-GB" noProof="0" dirty="0"/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515816" y="937260"/>
            <a:ext cx="1116427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Rectangle 51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505069" y="6569921"/>
            <a:ext cx="5042876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>
              <a:spcBef>
                <a:spcPct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ource: xxx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auto">
          <a:xfrm>
            <a:off x="11398700" y="6569922"/>
            <a:ext cx="23641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33600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187837"/>
              </p:ext>
            </p:ext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0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3BADBBB-20DC-4B48-9E10-0D2AA2D82055}" type="datetimeFigureOut">
              <a:rPr lang="en-US" smtClean="0"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002E-0858-4895-807F-B26AAF5763F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5230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887117"/>
            <a:ext cx="10363200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399020"/>
            <a:ext cx="8534401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831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2898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844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77EB79-4FFD-4146-8786-1960C037EC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7EDC4E-6B3B-4DFE-82B9-EB5FA7F2D6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B24DA1-0384-4DE5-B9C4-8C76858334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3C5B1-DDE9-4DF8-9DB0-FB56D23DCEE6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0B0C61-FA25-4081-988F-540AF510A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4EC006-207A-44B7-A42C-7F95AD84B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864AC1-1B39-4C26-9F87-C43F37765C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38379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1002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1436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0123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4678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4436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1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9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1998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964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3886200"/>
            <a:ext cx="12192000" cy="29718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887117"/>
            <a:ext cx="10363200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399020"/>
            <a:ext cx="8534401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1586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367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812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335DA-E014-4903-85B3-65DAD6F12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A3B14D-6E48-48DD-A859-A0F5EC89F1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372393-6CFE-4543-B2BD-25DD5357C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3C5B1-DDE9-4DF8-9DB0-FB56D23DCEE6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E0DBE-67BF-4BF2-865E-79862B769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350DFC-30B1-4C2D-B12B-D7032202D9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864AC1-1B39-4C26-9F87-C43F37765C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83803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930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178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7948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9970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9376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53124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6499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1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9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2823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0672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9202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C138B2-71AF-4214-AE98-AE279348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4B20DB-4E2E-4C05-A633-DF9B41868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3039E1-C951-4A28-BF94-6068708500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3C5B1-DDE9-4DF8-9DB0-FB56D23DCEE6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012EFB-845C-4218-997E-0099A28BB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454977-6FD1-4246-82E3-B5A2437C0E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864AC1-1B39-4C26-9F87-C43F37765C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24784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7955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3886200"/>
            <a:ext cx="12192000" cy="29718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887117"/>
            <a:ext cx="10363200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399020"/>
            <a:ext cx="8534401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5419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9018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6096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9256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39772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582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65768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2036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4898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49ABE4-4A4C-45EC-ACAD-EC356E892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49903B-E266-4BAC-A9D4-EEF2D12B2B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A7132B-0B3C-46D7-86D6-3727351B44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162B84-3A38-4987-872D-857DD04B2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3C5B1-DDE9-4DF8-9DB0-FB56D23DCEE6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474071-C9AA-4824-A3E9-2DEE497FF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1F22A9-F462-4617-AC8F-9E0F0E235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864AC1-1B39-4C26-9F87-C43F37765C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1700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6789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1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9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472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62251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60418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6269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A0BF8-6686-4F02-AB36-9614142B36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B406FE-1165-421C-8D35-96F0CFEA6D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7B22AA-13F6-430C-B5C3-3ED6A1325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FB799C-1B8A-42C0-AD53-6DBEF2EC7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C035E-958A-44D5-9920-E77375E90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152263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628C7A-67F3-4CAD-9852-569FF656A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1E717F-25DD-4AF6-8E4C-C3F0B72587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B9BF79-C6C8-4A28-B317-36AB52011B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52C1D1-F1BF-42DD-A7C6-2ED272DF8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5916BF-016F-4056-985B-466516E684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29271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FAECB-6827-4D91-8EB5-800DD8EA2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CEBD6D-8344-4937-9A0D-E2DBE531B3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598055-7F4B-4E57-92A1-C43CE07ED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8293C-337A-46B9-801C-405BA28F91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FE3A87-6EF6-4E32-958D-D3BDE968E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2113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9C1E4F-8411-4152-A040-45E4E38D4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93C882-D441-40BC-AAB7-FB3EF79F6F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0FF742-A50B-4EB6-86AE-E67F120A5B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CB9172-F4DE-4657-A074-EF8778EE7E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507DBE-C8F7-423C-9124-EE7B3D22E3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81AC0B-71D5-43A5-AD86-9668B4D92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458348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204D3-549C-4770-B620-7E3D4678A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306D22-9474-474E-A4DD-36D304E576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9ED9F3-E75B-4CB6-9C20-44656AF015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AB8604-4E78-4EF6-AF81-B832751C75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4C7266C-4F95-4B63-B8A4-5D430A6FCB5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DA605C0-AC58-49C3-BFDA-E7ADCFC7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8CDB99B-8E2F-47DA-B6C3-50842D8C3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0ACA83-753D-4AEE-B568-755DCF5ED7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21041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95815-4FE8-4F6E-B91B-DB126B7B4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6D37AF-5230-4394-B986-688BDA6FE2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F4A9CB-A03C-4401-9209-19290AF71A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C952B0-B297-4FED-95A2-0DDC35EAAB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57EBA81-821C-4747-985D-398398283CF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941F128-0E49-44D7-A49B-38B610662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3C5B1-DDE9-4DF8-9DB0-FB56D23DCEE6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61BF7F2-C004-4D6A-BA87-829476BE4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099383-63F4-4932-8D45-E1C0FD54C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864AC1-1B39-4C26-9F87-C43F37765C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79935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738EDC-8D44-427B-90E0-FBD0FBAC9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AE544B-A36F-473A-86AF-50F024291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6F2748-531A-4318-A370-27EDE490E8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AD6E57-F20B-43D2-A268-2449E7D4A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14258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CEC2F6E-BB8D-4A07-B873-A379FEAE4F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C64672-2E28-45BB-AB1E-9CA10E908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3CCF35-5028-4E4D-8F6E-2E2DF0FB4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207487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0471D-7A64-4A50-B9A6-0F3A78088A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6427B1-871E-4C56-AF97-3F78ADBFA9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F52702-EC0A-4FBA-9939-DCF10E412D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EDDBB8-93FE-4585-A97D-0E391EE246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B77A2A-D97D-4B06-A029-77A3A88DA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F4E011-48A8-486A-BF53-E7C085173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21452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EA2B76-0D50-4AE7-8E70-B69B2F112A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E700288-1A1C-45A8-B99A-68E661D708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D19D42-4449-4938-BE9F-F8A026382E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5CB693-3AD5-4FB5-9BD7-DDA6EA895A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28CAAB-378F-4646-836D-6723AF2269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8A5F22-2F00-4B7E-95E3-D4E37EE6F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51178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BE3A36-A7B5-4AED-90CE-DAABE341C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6DD818-2AC6-4AD8-ADB0-757AE6DE1F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B561BE-2670-413D-B85D-350DC6A08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7469BC-9B02-4F1D-9332-C52CAA6CD6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F37A4D-841D-4B35-BD23-CCB82FC1C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7018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4028CB-78B2-414A-9948-C32EA4A46C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52AA2E1-9030-407F-A8FB-98BCFFFDF7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722082-BED4-46DC-B1C0-9696140EF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485038-E165-45A4-8C75-C8A3CA817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9D7943-C606-446E-B743-3AB1AE587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84326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B8BAA-7CD3-4071-9889-A8B32C9863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8DA2663-98E9-4EDD-AAEF-62925466F0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3C5B1-DDE9-4DF8-9DB0-FB56D23DCEE6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557548-03BF-4DE5-B666-A7F06A739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14A94E-632E-4E8C-9737-212F3402C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864AC1-1B39-4C26-9F87-C43F37765C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63404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273933-40FA-4D74-8BFC-15B710F806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2F3BD8-D6F0-41DF-9030-8919C7EC5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3C5B1-DDE9-4DF8-9DB0-FB56D23DCEE6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597921-8160-4ACA-910C-9E8493021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68CD4E-E857-4BE3-BDBC-B525D036BA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864AC1-1B39-4C26-9F87-C43F37765C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48902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E8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0832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5E8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2EF34C-4EAF-488D-9613-FD708BA07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81067D-068C-4268-8D52-B93A43DD47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27167D-BB50-4667-8726-63B20D0A12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E3C5B1-DDE9-4DF8-9DB0-FB56D23DCEE6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5D32AC-C34B-4B69-94B7-D6761B06CF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2C6FA9-2C90-4B99-A588-D3BC964A53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864AC1-1B39-4C26-9F87-C43F37765C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1848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5E8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79701761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17" imgW="0" imgH="0" progId="TCLayout.ActiveDocument.1">
                  <p:embed/>
                </p:oleObj>
              </mc:Choice>
              <mc:Fallback>
                <p:oleObj name="think-cell Slide" r:id="rId17" imgW="0" imgH="0" progId="TCLayout.ActiveDocument.1">
                  <p:embed/>
                  <p:pic>
                    <p:nvPicPr>
                      <p:cNvPr id="1093" name="Rectangle 6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13862" y="404814"/>
            <a:ext cx="11166230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3862" y="1981201"/>
            <a:ext cx="10363200" cy="1281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 err="1"/>
              <a:t>Klik</a:t>
            </a:r>
            <a:r>
              <a:rPr lang="en-GB" noProof="0" dirty="0"/>
              <a:t> for at </a:t>
            </a:r>
            <a:r>
              <a:rPr lang="en-GB" noProof="0" dirty="0" err="1"/>
              <a:t>redigere</a:t>
            </a:r>
            <a:r>
              <a:rPr lang="en-GB" noProof="0" dirty="0"/>
              <a:t> </a:t>
            </a:r>
            <a:r>
              <a:rPr lang="en-GB" noProof="0" dirty="0" err="1"/>
              <a:t>teksttypografien</a:t>
            </a:r>
            <a:r>
              <a:rPr lang="en-GB" noProof="0" dirty="0"/>
              <a:t> </a:t>
            </a:r>
            <a:r>
              <a:rPr lang="en-GB" noProof="0" dirty="0" err="1"/>
              <a:t>i</a:t>
            </a:r>
            <a:r>
              <a:rPr lang="en-GB" noProof="0" dirty="0"/>
              <a:t> </a:t>
            </a:r>
            <a:r>
              <a:rPr lang="en-GB" noProof="0" dirty="0" err="1"/>
              <a:t>masteren</a:t>
            </a:r>
            <a:endParaRPr lang="en-GB" noProof="0" dirty="0"/>
          </a:p>
          <a:p>
            <a:pPr lvl="1"/>
            <a:r>
              <a:rPr lang="en-GB" noProof="0" dirty="0" err="1"/>
              <a:t>Andet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edj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3"/>
            <a:r>
              <a:rPr lang="en-GB" noProof="0" dirty="0" err="1"/>
              <a:t>Fjerd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4"/>
            <a:r>
              <a:rPr lang="en-GB" noProof="0" dirty="0" err="1"/>
              <a:t>Femt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3" name="[WorkArea]" descr="&lt;?xml version=&quot;1.0&quot; encoding=&quot;utf-16&quot;?&gt;&#10;&lt;GridTheme xmlns:xsd=&quot;http://www.w3.org/2001/XMLSchema&quot; xmlns:xsi=&quot;http://www.w3.org/2001/XMLSchema-instance&quot;&gt;&#10;  &lt;GuideLines /&gt;&#10;  &lt;WorkArea&gt;&#10;    &lt;Top&gt;94.12504&lt;/Top&gt;&#10;    &lt;Left&gt;32.87504&lt;/Left&gt;&#10;    &lt;Width&gt;714.374939&lt;/Width&gt;&#10;    &lt;Height&gt;388.374969&lt;/Height&gt;&#10;  &lt;/WorkArea&gt;&#10;  &lt;AspectW&gt;-1&lt;/AspectW&gt;&#10;  &lt;AspectH&gt;-1&lt;/AspectH&gt;&#10;  &lt;Width&gt;780&lt;/Width&gt;&#10;  &lt;Height&gt;540&lt;/Height&gt;&#10;  &lt;HGap&gt;5&lt;/HGap&gt;&#10;  &lt;VGap&gt;5&lt;/VGap&gt;&#10;  &lt;OfficeVersion&gt;-1&lt;/OfficeVersion&gt;&#10;&lt;/GridTheme&gt;" hidden="1"/>
          <p:cNvSpPr/>
          <p:nvPr userDrawn="1"/>
        </p:nvSpPr>
        <p:spPr bwMode="auto">
          <a:xfrm>
            <a:off x="513862" y="1195388"/>
            <a:ext cx="11166230" cy="4932362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2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GB" sz="180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95660" y="6426903"/>
            <a:ext cx="83708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600" dirty="0">
                <a:solidFill>
                  <a:schemeClr val="tx1"/>
                </a:solidFill>
              </a:rPr>
              <a:t>LO:</a:t>
            </a:r>
            <a:r>
              <a:rPr lang="da-DK" sz="1600" b="1" dirty="0">
                <a:solidFill>
                  <a:schemeClr val="tx1"/>
                </a:solidFill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1972735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2200" b="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50000"/>
        </a:spcBef>
        <a:spcAft>
          <a:spcPct val="0"/>
        </a:spcAft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36525" indent="-134938" algn="l" rtl="0" eaLnBrk="1" fontAlgn="base" hangingPunct="1">
        <a:spcBef>
          <a:spcPct val="5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2pPr>
      <a:lvl3pPr marL="285750" indent="-147638" algn="l" rtl="0" eaLnBrk="1" fontAlgn="base" hangingPunct="1">
        <a:spcBef>
          <a:spcPct val="5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3pPr>
      <a:lvl4pPr marL="422275" indent="-134938" algn="l" rtl="0" eaLnBrk="1" fontAlgn="base" hangingPunct="1">
        <a:spcBef>
          <a:spcPct val="50000"/>
        </a:spcBef>
        <a:spcAft>
          <a:spcPct val="0"/>
        </a:spcAft>
        <a:buChar char="·"/>
        <a:defRPr sz="1200">
          <a:solidFill>
            <a:schemeClr val="tx1"/>
          </a:solidFill>
          <a:latin typeface="+mn-lt"/>
        </a:defRPr>
      </a:lvl4pPr>
      <a:lvl5pPr marL="5715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0287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14859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31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3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3">
          <p15:clr>
            <a:srgbClr val="F26B43"/>
          </p15:clr>
        </p15:guide>
        <p15:guide id="2" pos="5978">
          <p15:clr>
            <a:srgbClr val="F26B43"/>
          </p15:clr>
        </p15:guide>
        <p15:guide id="3" orient="horz" pos="753">
          <p15:clr>
            <a:srgbClr val="F26B43"/>
          </p15:clr>
        </p15:guide>
        <p15:guide id="4" orient="horz" pos="419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5E8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40"/>
            <a:ext cx="10972801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38426"/>
            <a:ext cx="10972801" cy="4987739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5404F2-BE9A-4460-8815-8F645183555F}" type="datetimeFigureOut">
              <a:rPr lang="en-US" smtClean="0"/>
              <a:pPr/>
              <a:t>22-Mar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655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5E8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40"/>
            <a:ext cx="10972801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38426"/>
            <a:ext cx="10972801" cy="4987739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458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5E8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40"/>
            <a:ext cx="10972801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38426"/>
            <a:ext cx="10972801" cy="4987739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5404F2-BE9A-4460-8815-8F645183555F}" type="datetimeFigureOut">
              <a:rPr lang="en-US" smtClean="0"/>
              <a:pPr/>
              <a:t>22-Mar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979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5E8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C73493B-E27E-4DC0-A41A-7E254FDDD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619A8B-408B-4DCB-AC39-AC640BF856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A87CC5-FBB1-4FE5-893F-7BD071C75E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61375A-C223-44C8-917C-F7C3A1BCD50F}" type="datetimeFigureOut">
              <a:rPr lang="en-GB" smtClean="0"/>
              <a:t>22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8E1BCB-E2F2-4D1B-BCFC-521169C8E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11173B-B48E-4DCF-8715-5805390549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9869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microsoft.com/office/2007/relationships/hdphoto" Target="../media/hdphoto3.wdp"/><Relationship Id="rId5" Type="http://schemas.openxmlformats.org/officeDocument/2006/relationships/image" Target="../media/image13.png"/><Relationship Id="rId4" Type="http://schemas.microsoft.com/office/2007/relationships/hdphoto" Target="../media/hdphoto2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7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1.jpg"/><Relationship Id="rId7" Type="http://schemas.openxmlformats.org/officeDocument/2006/relationships/image" Target="../media/image24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66.xml"/><Relationship Id="rId6" Type="http://schemas.microsoft.com/office/2007/relationships/hdphoto" Target="../media/hdphoto4.wdp"/><Relationship Id="rId5" Type="http://schemas.openxmlformats.org/officeDocument/2006/relationships/image" Target="../media/image23.png"/><Relationship Id="rId4" Type="http://schemas.openxmlformats.org/officeDocument/2006/relationships/image" Target="../media/image22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25.png"/><Relationship Id="rId5" Type="http://schemas.openxmlformats.org/officeDocument/2006/relationships/image" Target="../media/image24.jpg"/><Relationship Id="rId4" Type="http://schemas.openxmlformats.org/officeDocument/2006/relationships/image" Target="../media/image27.jp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6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5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34A149E-41C5-4F6F-A807-B15063A08FF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7307"/>
          <a:stretch/>
        </p:blipFill>
        <p:spPr>
          <a:xfrm>
            <a:off x="4454660" y="5181460"/>
            <a:ext cx="1875478" cy="167654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D9EB320-B913-4373-A92A-509D6AB025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02680" y="5426108"/>
            <a:ext cx="3351842" cy="1187244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WYT</a:t>
            </a:r>
            <a:r>
              <a:rPr lang="en-US" b="1" dirty="0">
                <a:solidFill>
                  <a:srgbClr val="00B0F0"/>
                </a:solidFill>
              </a:rPr>
              <a:t>ED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446FC9-4FB6-43EA-9B4C-BEB4DC4B7D2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colorTemperature colorTemp="59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187"/>
          <a:stretch/>
        </p:blipFill>
        <p:spPr>
          <a:xfrm>
            <a:off x="0" y="0"/>
            <a:ext cx="12192001" cy="5135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110055"/>
      </p:ext>
    </p:extLst>
  </p:cSld>
  <p:clrMapOvr>
    <a:masterClrMapping/>
  </p:clrMapOvr>
  <p:transition spd="slow">
    <p:cover dir="d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1337289" y="1417407"/>
            <a:ext cx="4064951" cy="4473828"/>
            <a:chOff x="937269" y="1398245"/>
            <a:chExt cx="4457057" cy="4905375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993775" y="3857626"/>
              <a:ext cx="774700" cy="606425"/>
            </a:xfrm>
            <a:custGeom>
              <a:avLst/>
              <a:gdLst>
                <a:gd name="T0" fmla="*/ 1075 w 1463"/>
                <a:gd name="T1" fmla="*/ 1144 h 1144"/>
                <a:gd name="T2" fmla="*/ 1463 w 1463"/>
                <a:gd name="T3" fmla="*/ 0 h 1144"/>
                <a:gd name="T4" fmla="*/ 0 w 1463"/>
                <a:gd name="T5" fmla="*/ 0 h 1144"/>
                <a:gd name="T6" fmla="*/ 1075 w 1463"/>
                <a:gd name="T7" fmla="*/ 1144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3" h="1144">
                  <a:moveTo>
                    <a:pt x="1075" y="1144"/>
                  </a:moveTo>
                  <a:lnTo>
                    <a:pt x="1463" y="0"/>
                  </a:lnTo>
                  <a:lnTo>
                    <a:pt x="0" y="0"/>
                  </a:lnTo>
                  <a:lnTo>
                    <a:pt x="1075" y="1144"/>
                  </a:lnTo>
                  <a:close/>
                </a:path>
              </a:pathLst>
            </a:custGeom>
            <a:gradFill>
              <a:gsLst>
                <a:gs pos="3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" name="Freeform 5"/>
            <p:cNvSpPr>
              <a:spLocks/>
            </p:cNvSpPr>
            <p:nvPr/>
          </p:nvSpPr>
          <p:spPr bwMode="auto">
            <a:xfrm>
              <a:off x="937269" y="1398245"/>
              <a:ext cx="4418013" cy="4905375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>
              <a:gsLst>
                <a:gs pos="62808">
                  <a:schemeClr val="tx1">
                    <a:lumMod val="50000"/>
                    <a:lumOff val="50000"/>
                    <a:alpha val="64000"/>
                  </a:schemeClr>
                </a:gs>
                <a:gs pos="34000">
                  <a:schemeClr val="tx1">
                    <a:lumMod val="50000"/>
                    <a:lumOff val="50000"/>
                    <a:alpha val="45000"/>
                  </a:schemeClr>
                </a:gs>
                <a:gs pos="0">
                  <a:srgbClr val="DCE1E7"/>
                </a:gs>
                <a:gs pos="82000">
                  <a:srgbClr val="DCE1E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976313" y="1398245"/>
              <a:ext cx="4418013" cy="4905374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rgbClr val="E5E8ED"/>
                </a:gs>
                <a:gs pos="0">
                  <a:srgbClr val="E6E9EE"/>
                </a:gs>
                <a:gs pos="100000">
                  <a:srgbClr val="E5E8ED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993775" y="2255838"/>
              <a:ext cx="2878138" cy="1601788"/>
            </a:xfrm>
            <a:custGeom>
              <a:avLst/>
              <a:gdLst>
                <a:gd name="T0" fmla="*/ 0 w 5438"/>
                <a:gd name="T1" fmla="*/ 3028 h 3028"/>
                <a:gd name="T2" fmla="*/ 1463 w 5438"/>
                <a:gd name="T3" fmla="*/ 3028 h 3028"/>
                <a:gd name="T4" fmla="*/ 4002 w 5438"/>
                <a:gd name="T5" fmla="*/ 3028 h 3028"/>
                <a:gd name="T6" fmla="*/ 5438 w 5438"/>
                <a:gd name="T7" fmla="*/ 1555 h 3028"/>
                <a:gd name="T8" fmla="*/ 4937 w 5438"/>
                <a:gd name="T9" fmla="*/ 0 h 3028"/>
                <a:gd name="T10" fmla="*/ 926 w 5438"/>
                <a:gd name="T11" fmla="*/ 0 h 3028"/>
                <a:gd name="T12" fmla="*/ 0 w 5438"/>
                <a:gd name="T13" fmla="*/ 3028 h 3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8" h="3028">
                  <a:moveTo>
                    <a:pt x="0" y="3028"/>
                  </a:moveTo>
                  <a:lnTo>
                    <a:pt x="1463" y="3028"/>
                  </a:lnTo>
                  <a:lnTo>
                    <a:pt x="4002" y="3028"/>
                  </a:lnTo>
                  <a:lnTo>
                    <a:pt x="5438" y="1555"/>
                  </a:lnTo>
                  <a:lnTo>
                    <a:pt x="4937" y="0"/>
                  </a:lnTo>
                  <a:lnTo>
                    <a:pt x="926" y="0"/>
                  </a:lnTo>
                  <a:lnTo>
                    <a:pt x="0" y="3028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5923F550-AE42-484B-91ED-5BAB1AFF6B08}"/>
              </a:ext>
            </a:extLst>
          </p:cNvPr>
          <p:cNvGrpSpPr/>
          <p:nvPr/>
        </p:nvGrpSpPr>
        <p:grpSpPr>
          <a:xfrm>
            <a:off x="4528486" y="1417407"/>
            <a:ext cx="4064951" cy="4473828"/>
            <a:chOff x="937269" y="1398245"/>
            <a:chExt cx="4457057" cy="4905375"/>
          </a:xfrm>
        </p:grpSpPr>
        <p:sp>
          <p:nvSpPr>
            <p:cNvPr id="51" name="Freeform 6">
              <a:extLst>
                <a:ext uri="{FF2B5EF4-FFF2-40B4-BE49-F238E27FC236}">
                  <a16:creationId xmlns:a16="http://schemas.microsoft.com/office/drawing/2014/main" id="{D047030B-8280-4E4F-9D5D-6DFC8230B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5" y="3857626"/>
              <a:ext cx="774700" cy="606425"/>
            </a:xfrm>
            <a:custGeom>
              <a:avLst/>
              <a:gdLst>
                <a:gd name="T0" fmla="*/ 1075 w 1463"/>
                <a:gd name="T1" fmla="*/ 1144 h 1144"/>
                <a:gd name="T2" fmla="*/ 1463 w 1463"/>
                <a:gd name="T3" fmla="*/ 0 h 1144"/>
                <a:gd name="T4" fmla="*/ 0 w 1463"/>
                <a:gd name="T5" fmla="*/ 0 h 1144"/>
                <a:gd name="T6" fmla="*/ 1075 w 1463"/>
                <a:gd name="T7" fmla="*/ 1144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3" h="1144">
                  <a:moveTo>
                    <a:pt x="1075" y="1144"/>
                  </a:moveTo>
                  <a:lnTo>
                    <a:pt x="1463" y="0"/>
                  </a:lnTo>
                  <a:lnTo>
                    <a:pt x="0" y="0"/>
                  </a:lnTo>
                  <a:lnTo>
                    <a:pt x="1075" y="1144"/>
                  </a:lnTo>
                  <a:close/>
                </a:path>
              </a:pathLst>
            </a:custGeom>
            <a:gradFill>
              <a:gsLst>
                <a:gs pos="3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2" name="Freeform 5">
              <a:extLst>
                <a:ext uri="{FF2B5EF4-FFF2-40B4-BE49-F238E27FC236}">
                  <a16:creationId xmlns:a16="http://schemas.microsoft.com/office/drawing/2014/main" id="{1624DB27-E213-46EC-A52E-BF4CB52A7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269" y="1398245"/>
              <a:ext cx="4418013" cy="4905375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>
              <a:gsLst>
                <a:gs pos="62808">
                  <a:schemeClr val="tx1">
                    <a:lumMod val="50000"/>
                    <a:lumOff val="50000"/>
                    <a:alpha val="64000"/>
                  </a:schemeClr>
                </a:gs>
                <a:gs pos="34000">
                  <a:schemeClr val="tx1">
                    <a:lumMod val="50000"/>
                    <a:lumOff val="50000"/>
                    <a:alpha val="45000"/>
                  </a:schemeClr>
                </a:gs>
                <a:gs pos="0">
                  <a:srgbClr val="DCE1E7"/>
                </a:gs>
                <a:gs pos="82000">
                  <a:srgbClr val="DCE1E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3" name="Freeform 5">
              <a:extLst>
                <a:ext uri="{FF2B5EF4-FFF2-40B4-BE49-F238E27FC236}">
                  <a16:creationId xmlns:a16="http://schemas.microsoft.com/office/drawing/2014/main" id="{5FE0880F-CB5D-42CB-ADDE-32EAFE96B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313" y="1398245"/>
              <a:ext cx="4418013" cy="4905374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rgbClr val="E5E8ED"/>
                </a:gs>
                <a:gs pos="0">
                  <a:srgbClr val="E6E9EE"/>
                </a:gs>
                <a:gs pos="100000">
                  <a:srgbClr val="E5E8ED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id="{B4D287C3-62F6-47E4-BB9A-C04EB7FB1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5" y="2255838"/>
              <a:ext cx="2878138" cy="1601788"/>
            </a:xfrm>
            <a:custGeom>
              <a:avLst/>
              <a:gdLst>
                <a:gd name="T0" fmla="*/ 0 w 5438"/>
                <a:gd name="T1" fmla="*/ 3028 h 3028"/>
                <a:gd name="T2" fmla="*/ 1463 w 5438"/>
                <a:gd name="T3" fmla="*/ 3028 h 3028"/>
                <a:gd name="T4" fmla="*/ 4002 w 5438"/>
                <a:gd name="T5" fmla="*/ 3028 h 3028"/>
                <a:gd name="T6" fmla="*/ 5438 w 5438"/>
                <a:gd name="T7" fmla="*/ 1555 h 3028"/>
                <a:gd name="T8" fmla="*/ 4937 w 5438"/>
                <a:gd name="T9" fmla="*/ 0 h 3028"/>
                <a:gd name="T10" fmla="*/ 926 w 5438"/>
                <a:gd name="T11" fmla="*/ 0 h 3028"/>
                <a:gd name="T12" fmla="*/ 0 w 5438"/>
                <a:gd name="T13" fmla="*/ 3028 h 3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8" h="3028">
                  <a:moveTo>
                    <a:pt x="0" y="3028"/>
                  </a:moveTo>
                  <a:lnTo>
                    <a:pt x="1463" y="3028"/>
                  </a:lnTo>
                  <a:lnTo>
                    <a:pt x="4002" y="3028"/>
                  </a:lnTo>
                  <a:lnTo>
                    <a:pt x="5438" y="1555"/>
                  </a:lnTo>
                  <a:lnTo>
                    <a:pt x="4937" y="0"/>
                  </a:lnTo>
                  <a:lnTo>
                    <a:pt x="926" y="0"/>
                  </a:lnTo>
                  <a:lnTo>
                    <a:pt x="0" y="3028"/>
                  </a:lnTo>
                  <a:close/>
                </a:path>
              </a:pathLst>
            </a:custGeom>
            <a:gradFill flip="none" rotWithShape="1">
              <a:gsLst>
                <a:gs pos="40000">
                  <a:schemeClr val="bg1">
                    <a:lumMod val="65000"/>
                  </a:schemeClr>
                </a:gs>
                <a:gs pos="87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88ECB8E3-E6B0-489E-8CD2-EE3A7015DFF2}"/>
              </a:ext>
            </a:extLst>
          </p:cNvPr>
          <p:cNvGrpSpPr/>
          <p:nvPr/>
        </p:nvGrpSpPr>
        <p:grpSpPr>
          <a:xfrm>
            <a:off x="7719682" y="1417407"/>
            <a:ext cx="4064951" cy="4473828"/>
            <a:chOff x="937269" y="1398245"/>
            <a:chExt cx="4457057" cy="4905374"/>
          </a:xfrm>
        </p:grpSpPr>
        <p:sp>
          <p:nvSpPr>
            <p:cNvPr id="79" name="Freeform 6">
              <a:extLst>
                <a:ext uri="{FF2B5EF4-FFF2-40B4-BE49-F238E27FC236}">
                  <a16:creationId xmlns:a16="http://schemas.microsoft.com/office/drawing/2014/main" id="{2C46CA32-176C-4787-B1F7-D259EA969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5" y="3857626"/>
              <a:ext cx="774700" cy="606425"/>
            </a:xfrm>
            <a:custGeom>
              <a:avLst/>
              <a:gdLst>
                <a:gd name="T0" fmla="*/ 1075 w 1463"/>
                <a:gd name="T1" fmla="*/ 1144 h 1144"/>
                <a:gd name="T2" fmla="*/ 1463 w 1463"/>
                <a:gd name="T3" fmla="*/ 0 h 1144"/>
                <a:gd name="T4" fmla="*/ 0 w 1463"/>
                <a:gd name="T5" fmla="*/ 0 h 1144"/>
                <a:gd name="T6" fmla="*/ 1075 w 1463"/>
                <a:gd name="T7" fmla="*/ 1144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3" h="1144">
                  <a:moveTo>
                    <a:pt x="1075" y="1144"/>
                  </a:moveTo>
                  <a:lnTo>
                    <a:pt x="1463" y="0"/>
                  </a:lnTo>
                  <a:lnTo>
                    <a:pt x="0" y="0"/>
                  </a:lnTo>
                  <a:lnTo>
                    <a:pt x="1075" y="1144"/>
                  </a:lnTo>
                  <a:close/>
                </a:path>
              </a:pathLst>
            </a:custGeom>
            <a:gradFill>
              <a:gsLst>
                <a:gs pos="3000">
                  <a:srgbClr val="463967"/>
                </a:gs>
                <a:gs pos="100000">
                  <a:srgbClr val="423563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78F38C4E-E940-4F04-A5B8-4ECEE58F420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269" y="1398245"/>
              <a:ext cx="4418013" cy="4905374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>
              <a:gsLst>
                <a:gs pos="62808">
                  <a:schemeClr val="tx1">
                    <a:lumMod val="50000"/>
                    <a:lumOff val="50000"/>
                    <a:alpha val="64000"/>
                  </a:schemeClr>
                </a:gs>
                <a:gs pos="34000">
                  <a:schemeClr val="tx1">
                    <a:lumMod val="50000"/>
                    <a:lumOff val="50000"/>
                    <a:alpha val="45000"/>
                  </a:schemeClr>
                </a:gs>
                <a:gs pos="0">
                  <a:srgbClr val="DCE1E7"/>
                </a:gs>
                <a:gs pos="82000">
                  <a:srgbClr val="DCE1E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E1A25DBF-7520-48A5-8890-06FF22A41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313" y="1398245"/>
              <a:ext cx="4418013" cy="4905373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rgbClr val="E5E8ED"/>
                </a:gs>
                <a:gs pos="0">
                  <a:srgbClr val="E6E9EE"/>
                </a:gs>
                <a:gs pos="100000">
                  <a:srgbClr val="E5E8ED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2" name="Freeform 7">
              <a:extLst>
                <a:ext uri="{FF2B5EF4-FFF2-40B4-BE49-F238E27FC236}">
                  <a16:creationId xmlns:a16="http://schemas.microsoft.com/office/drawing/2014/main" id="{136F1043-9714-466A-B242-2EA071992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5" y="2255838"/>
              <a:ext cx="2878138" cy="1601788"/>
            </a:xfrm>
            <a:custGeom>
              <a:avLst/>
              <a:gdLst>
                <a:gd name="T0" fmla="*/ 0 w 5438"/>
                <a:gd name="T1" fmla="*/ 3028 h 3028"/>
                <a:gd name="T2" fmla="*/ 1463 w 5438"/>
                <a:gd name="T3" fmla="*/ 3028 h 3028"/>
                <a:gd name="T4" fmla="*/ 4002 w 5438"/>
                <a:gd name="T5" fmla="*/ 3028 h 3028"/>
                <a:gd name="T6" fmla="*/ 5438 w 5438"/>
                <a:gd name="T7" fmla="*/ 1555 h 3028"/>
                <a:gd name="T8" fmla="*/ 4937 w 5438"/>
                <a:gd name="T9" fmla="*/ 0 h 3028"/>
                <a:gd name="T10" fmla="*/ 926 w 5438"/>
                <a:gd name="T11" fmla="*/ 0 h 3028"/>
                <a:gd name="T12" fmla="*/ 0 w 5438"/>
                <a:gd name="T13" fmla="*/ 3028 h 3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8" h="3028">
                  <a:moveTo>
                    <a:pt x="0" y="3028"/>
                  </a:moveTo>
                  <a:lnTo>
                    <a:pt x="1463" y="3028"/>
                  </a:lnTo>
                  <a:lnTo>
                    <a:pt x="4002" y="3028"/>
                  </a:lnTo>
                  <a:lnTo>
                    <a:pt x="5438" y="1555"/>
                  </a:lnTo>
                  <a:lnTo>
                    <a:pt x="4937" y="0"/>
                  </a:lnTo>
                  <a:lnTo>
                    <a:pt x="926" y="0"/>
                  </a:lnTo>
                  <a:lnTo>
                    <a:pt x="0" y="3028"/>
                  </a:lnTo>
                  <a:close/>
                </a:path>
              </a:pathLst>
            </a:custGeom>
            <a:gradFill flip="none" rotWithShape="1">
              <a:gsLst>
                <a:gs pos="40000">
                  <a:schemeClr val="accent3">
                    <a:lumMod val="75000"/>
                    <a:lumOff val="25000"/>
                  </a:schemeClr>
                </a:gs>
                <a:gs pos="87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verview</a:t>
            </a:r>
            <a:endParaRPr lang="en-US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2896230" y="5896434"/>
            <a:ext cx="722405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6072433" y="5896434"/>
            <a:ext cx="722405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9352790" y="5896434"/>
            <a:ext cx="722405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>
            <a:spLocks/>
          </p:cNvSpPr>
          <p:nvPr/>
        </p:nvSpPr>
        <p:spPr>
          <a:xfrm>
            <a:off x="2161734" y="3921113"/>
            <a:ext cx="219139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218987"/>
            <a:r>
              <a:rPr lang="en-US" sz="1600" b="1" kern="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Fully Automatic IOT Based System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>
            <a:spLocks/>
          </p:cNvSpPr>
          <p:nvPr/>
        </p:nvSpPr>
        <p:spPr>
          <a:xfrm>
            <a:off x="5317321" y="3835844"/>
            <a:ext cx="219139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218987"/>
            <a:r>
              <a:rPr lang="en-US" sz="1600" b="1" kern="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ndroid Semi-Automatic System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>
            <a:spLocks/>
          </p:cNvSpPr>
          <p:nvPr/>
        </p:nvSpPr>
        <p:spPr>
          <a:xfrm>
            <a:off x="8657949" y="3840798"/>
            <a:ext cx="219139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218987"/>
            <a:r>
              <a:rPr lang="en-US" sz="1600" b="1" kern="0" dirty="0">
                <a:latin typeface="Arial" pitchFamily="34" charset="0"/>
                <a:cs typeface="Arial" pitchFamily="34" charset="0"/>
              </a:rPr>
              <a:t>Online Web Interfa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/>
          <p:nvPr/>
        </p:nvSpPr>
        <p:spPr>
          <a:xfrm rot="156748">
            <a:off x="2037524" y="2079899"/>
            <a:ext cx="1560173" cy="1538883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3000000" lon="0" rev="21299999"/>
            </a:camera>
            <a:lightRig rig="threePt" dir="t"/>
          </a:scene3d>
        </p:spPr>
        <p:txBody>
          <a:bodyPr wrap="square" lIns="0" tIns="0" rIns="0" bIns="0" rtlCol="0" anchor="b" anchorCtr="0">
            <a:spAutoFit/>
            <a:scene3d>
              <a:camera prst="perspectiveRelaxed"/>
              <a:lightRig rig="threePt" dir="t"/>
            </a:scene3d>
          </a:bodyPr>
          <a:lstStyle/>
          <a:p>
            <a:pPr algn="ctr" defTabSz="1218987"/>
            <a:r>
              <a:rPr lang="en-US" sz="10000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/>
          <p:nvPr/>
        </p:nvSpPr>
        <p:spPr>
          <a:xfrm>
            <a:off x="5361802" y="2079898"/>
            <a:ext cx="1560173" cy="1538883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3000000" lon="0" rev="21593999"/>
            </a:camera>
            <a:lightRig rig="threePt" dir="t"/>
          </a:scene3d>
        </p:spPr>
        <p:txBody>
          <a:bodyPr wrap="square" lIns="0" tIns="0" rIns="0" bIns="0" rtlCol="0" anchor="b" anchorCtr="0">
            <a:spAutoFit/>
            <a:scene3d>
              <a:camera prst="perspectiveRelaxed"/>
              <a:lightRig rig="threePt" dir="t"/>
            </a:scene3d>
          </a:bodyPr>
          <a:lstStyle/>
          <a:p>
            <a:pPr algn="ctr" defTabSz="1218987"/>
            <a:r>
              <a:rPr lang="en-US" sz="10000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/>
          <p:nvPr/>
        </p:nvSpPr>
        <p:spPr>
          <a:xfrm>
            <a:off x="8517389" y="2079898"/>
            <a:ext cx="1560173" cy="1538883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3000000" lon="0" rev="21593999"/>
            </a:camera>
            <a:lightRig rig="threePt" dir="t"/>
          </a:scene3d>
        </p:spPr>
        <p:txBody>
          <a:bodyPr wrap="square" lIns="0" tIns="0" rIns="0" bIns="0" rtlCol="0" anchor="b" anchorCtr="0">
            <a:spAutoFit/>
            <a:scene3d>
              <a:camera prst="perspectiveRelaxed"/>
              <a:lightRig rig="threePt" dir="t"/>
            </a:scene3d>
          </a:bodyPr>
          <a:lstStyle/>
          <a:p>
            <a:pPr algn="ctr" defTabSz="1218987"/>
            <a:r>
              <a:rPr lang="en-US" sz="10000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pic>
        <p:nvPicPr>
          <p:cNvPr id="11" name="Graphic 10" descr="Gears">
            <a:extLst>
              <a:ext uri="{FF2B5EF4-FFF2-40B4-BE49-F238E27FC236}">
                <a16:creationId xmlns:a16="http://schemas.microsoft.com/office/drawing/2014/main" id="{F03903DB-A0F6-4052-940B-0C0B9AFA8A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3808" y="5405017"/>
            <a:ext cx="467244" cy="467244"/>
          </a:xfrm>
          <a:prstGeom prst="rect">
            <a:avLst/>
          </a:prstGeom>
        </p:spPr>
      </p:pic>
      <p:sp>
        <p:nvSpPr>
          <p:cNvPr id="36" name="Rounded Rectangle 12">
            <a:extLst>
              <a:ext uri="{FF2B5EF4-FFF2-40B4-BE49-F238E27FC236}">
                <a16:creationId xmlns:a16="http://schemas.microsoft.com/office/drawing/2014/main" id="{D6E939B7-B7A2-45F6-ADEE-9A2EC2111768}"/>
              </a:ext>
            </a:extLst>
          </p:cNvPr>
          <p:cNvSpPr>
            <a:spLocks noChangeAspect="1"/>
          </p:cNvSpPr>
          <p:nvPr/>
        </p:nvSpPr>
        <p:spPr>
          <a:xfrm>
            <a:off x="6257048" y="5405017"/>
            <a:ext cx="353173" cy="420869"/>
          </a:xfrm>
          <a:custGeom>
            <a:avLst/>
            <a:gdLst/>
            <a:ahLst/>
            <a:cxnLst/>
            <a:rect l="l" t="t" r="r" b="b"/>
            <a:pathLst>
              <a:path w="3312367" h="3947283">
                <a:moveTo>
                  <a:pt x="2537615" y="3705909"/>
                </a:moveTo>
                <a:cubicBezTo>
                  <a:pt x="2512344" y="3705909"/>
                  <a:pt x="2491857" y="3726396"/>
                  <a:pt x="2491857" y="3751667"/>
                </a:cubicBezTo>
                <a:cubicBezTo>
                  <a:pt x="2491857" y="3776938"/>
                  <a:pt x="2512344" y="3797425"/>
                  <a:pt x="2537615" y="3797425"/>
                </a:cubicBezTo>
                <a:lnTo>
                  <a:pt x="2762175" y="3797425"/>
                </a:lnTo>
                <a:cubicBezTo>
                  <a:pt x="2787446" y="3797425"/>
                  <a:pt x="2807933" y="3776938"/>
                  <a:pt x="2807933" y="3751667"/>
                </a:cubicBezTo>
                <a:cubicBezTo>
                  <a:pt x="2807933" y="3726396"/>
                  <a:pt x="2787446" y="3705909"/>
                  <a:pt x="2762175" y="3705909"/>
                </a:cubicBezTo>
                <a:close/>
                <a:moveTo>
                  <a:pt x="1141114" y="3408594"/>
                </a:moveTo>
                <a:cubicBezTo>
                  <a:pt x="1097903" y="3408594"/>
                  <a:pt x="1062874" y="3443623"/>
                  <a:pt x="1062874" y="3486834"/>
                </a:cubicBezTo>
                <a:cubicBezTo>
                  <a:pt x="1062874" y="3530045"/>
                  <a:pt x="1097903" y="3565073"/>
                  <a:pt x="1141114" y="3565073"/>
                </a:cubicBezTo>
                <a:lnTo>
                  <a:pt x="1525078" y="3565074"/>
                </a:lnTo>
                <a:cubicBezTo>
                  <a:pt x="1568289" y="3565074"/>
                  <a:pt x="1603318" y="3530045"/>
                  <a:pt x="1603318" y="3486834"/>
                </a:cubicBezTo>
                <a:lnTo>
                  <a:pt x="1603319" y="3486834"/>
                </a:lnTo>
                <a:cubicBezTo>
                  <a:pt x="1603319" y="3443623"/>
                  <a:pt x="1568290" y="3408594"/>
                  <a:pt x="1525079" y="3408594"/>
                </a:cubicBezTo>
                <a:close/>
                <a:moveTo>
                  <a:pt x="2129393" y="1705414"/>
                </a:moveTo>
                <a:lnTo>
                  <a:pt x="2129393" y="3580170"/>
                </a:lnTo>
                <a:lnTo>
                  <a:pt x="3126216" y="3580170"/>
                </a:lnTo>
                <a:lnTo>
                  <a:pt x="3126216" y="1705414"/>
                </a:lnTo>
                <a:close/>
                <a:moveTo>
                  <a:pt x="2481193" y="1533789"/>
                </a:moveTo>
                <a:cubicBezTo>
                  <a:pt x="2462682" y="1533789"/>
                  <a:pt x="2447676" y="1548795"/>
                  <a:pt x="2447676" y="1567306"/>
                </a:cubicBezTo>
                <a:lnTo>
                  <a:pt x="2447676" y="1572258"/>
                </a:lnTo>
                <a:cubicBezTo>
                  <a:pt x="2447676" y="1590769"/>
                  <a:pt x="2462682" y="1605775"/>
                  <a:pt x="2481193" y="1605775"/>
                </a:cubicBezTo>
                <a:lnTo>
                  <a:pt x="2774415" y="1605775"/>
                </a:lnTo>
                <a:cubicBezTo>
                  <a:pt x="2792926" y="1605775"/>
                  <a:pt x="2807932" y="1590769"/>
                  <a:pt x="2807932" y="1572258"/>
                </a:cubicBezTo>
                <a:lnTo>
                  <a:pt x="2807932" y="1567306"/>
                </a:lnTo>
                <a:cubicBezTo>
                  <a:pt x="2807932" y="1548795"/>
                  <a:pt x="2792926" y="1533789"/>
                  <a:pt x="2774415" y="1533789"/>
                </a:cubicBezTo>
                <a:close/>
                <a:moveTo>
                  <a:pt x="2113478" y="1418392"/>
                </a:moveTo>
                <a:lnTo>
                  <a:pt x="3142130" y="1418392"/>
                </a:lnTo>
                <a:cubicBezTo>
                  <a:pt x="3236149" y="1418392"/>
                  <a:pt x="3312367" y="1494610"/>
                  <a:pt x="3312367" y="1588629"/>
                </a:cubicBezTo>
                <a:lnTo>
                  <a:pt x="3312367" y="3777046"/>
                </a:lnTo>
                <a:cubicBezTo>
                  <a:pt x="3312367" y="3871065"/>
                  <a:pt x="3236149" y="3947283"/>
                  <a:pt x="3142130" y="3947283"/>
                </a:cubicBezTo>
                <a:lnTo>
                  <a:pt x="2113478" y="3947283"/>
                </a:lnTo>
                <a:cubicBezTo>
                  <a:pt x="2019459" y="3947283"/>
                  <a:pt x="1943241" y="3871065"/>
                  <a:pt x="1943241" y="3777046"/>
                </a:cubicBezTo>
                <a:lnTo>
                  <a:pt x="1943241" y="1588629"/>
                </a:lnTo>
                <a:cubicBezTo>
                  <a:pt x="1943241" y="1494610"/>
                  <a:pt x="2019459" y="1418392"/>
                  <a:pt x="2113478" y="1418392"/>
                </a:cubicBezTo>
                <a:close/>
                <a:moveTo>
                  <a:pt x="1006317" y="157391"/>
                </a:moveTo>
                <a:cubicBezTo>
                  <a:pt x="987806" y="157391"/>
                  <a:pt x="972800" y="172397"/>
                  <a:pt x="972800" y="190908"/>
                </a:cubicBezTo>
                <a:lnTo>
                  <a:pt x="972800" y="195860"/>
                </a:lnTo>
                <a:cubicBezTo>
                  <a:pt x="972800" y="214371"/>
                  <a:pt x="987806" y="229377"/>
                  <a:pt x="1006317" y="229377"/>
                </a:cubicBezTo>
                <a:lnTo>
                  <a:pt x="1659876" y="229377"/>
                </a:lnTo>
                <a:cubicBezTo>
                  <a:pt x="1678387" y="229377"/>
                  <a:pt x="1693393" y="214371"/>
                  <a:pt x="1693393" y="195860"/>
                </a:cubicBezTo>
                <a:lnTo>
                  <a:pt x="1693393" y="190908"/>
                </a:lnTo>
                <a:cubicBezTo>
                  <a:pt x="1693393" y="172397"/>
                  <a:pt x="1678387" y="157391"/>
                  <a:pt x="1659876" y="157391"/>
                </a:cubicBezTo>
                <a:close/>
                <a:moveTo>
                  <a:pt x="264780" y="0"/>
                </a:moveTo>
                <a:lnTo>
                  <a:pt x="2401413" y="0"/>
                </a:lnTo>
                <a:cubicBezTo>
                  <a:pt x="2547647" y="0"/>
                  <a:pt x="2666193" y="118546"/>
                  <a:pt x="2666193" y="264780"/>
                </a:cubicBezTo>
                <a:lnTo>
                  <a:pt x="2666193" y="1345374"/>
                </a:lnTo>
                <a:lnTo>
                  <a:pt x="2369517" y="1345374"/>
                </a:lnTo>
                <a:lnTo>
                  <a:pt x="2369517" y="366783"/>
                </a:lnTo>
                <a:lnTo>
                  <a:pt x="296676" y="366783"/>
                </a:lnTo>
                <a:lnTo>
                  <a:pt x="296676" y="3219873"/>
                </a:lnTo>
                <a:lnTo>
                  <a:pt x="1867527" y="3219873"/>
                </a:lnTo>
                <a:lnTo>
                  <a:pt x="1867527" y="3778374"/>
                </a:lnTo>
                <a:lnTo>
                  <a:pt x="264780" y="3778374"/>
                </a:lnTo>
                <a:cubicBezTo>
                  <a:pt x="118546" y="3778374"/>
                  <a:pt x="0" y="3659828"/>
                  <a:pt x="0" y="3513594"/>
                </a:cubicBezTo>
                <a:lnTo>
                  <a:pt x="0" y="264780"/>
                </a:lnTo>
                <a:cubicBezTo>
                  <a:pt x="0" y="118546"/>
                  <a:pt x="118546" y="0"/>
                  <a:pt x="264780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AD6CD6EF-2291-4C5D-BEB8-6A3FEDFF9D43}"/>
              </a:ext>
            </a:extLst>
          </p:cNvPr>
          <p:cNvGrpSpPr/>
          <p:nvPr/>
        </p:nvGrpSpPr>
        <p:grpSpPr>
          <a:xfrm>
            <a:off x="9563632" y="5370112"/>
            <a:ext cx="412744" cy="455774"/>
            <a:chOff x="10533744" y="5175480"/>
            <a:chExt cx="457200" cy="530225"/>
          </a:xfrm>
        </p:grpSpPr>
        <p:sp>
          <p:nvSpPr>
            <p:cNvPr id="86" name="Freeform 304">
              <a:extLst>
                <a:ext uri="{FF2B5EF4-FFF2-40B4-BE49-F238E27FC236}">
                  <a16:creationId xmlns:a16="http://schemas.microsoft.com/office/drawing/2014/main" id="{53771298-CEF8-47C0-A3F1-9F9278451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5182" y="5285018"/>
              <a:ext cx="311150" cy="309563"/>
            </a:xfrm>
            <a:custGeom>
              <a:avLst/>
              <a:gdLst>
                <a:gd name="T0" fmla="*/ 323 w 587"/>
                <a:gd name="T1" fmla="*/ 1 h 587"/>
                <a:gd name="T2" fmla="*/ 367 w 587"/>
                <a:gd name="T3" fmla="*/ 9 h 587"/>
                <a:gd name="T4" fmla="*/ 408 w 587"/>
                <a:gd name="T5" fmla="*/ 23 h 587"/>
                <a:gd name="T6" fmla="*/ 446 w 587"/>
                <a:gd name="T7" fmla="*/ 42 h 587"/>
                <a:gd name="T8" fmla="*/ 481 w 587"/>
                <a:gd name="T9" fmla="*/ 67 h 587"/>
                <a:gd name="T10" fmla="*/ 511 w 587"/>
                <a:gd name="T11" fmla="*/ 96 h 587"/>
                <a:gd name="T12" fmla="*/ 537 w 587"/>
                <a:gd name="T13" fmla="*/ 130 h 587"/>
                <a:gd name="T14" fmla="*/ 558 w 587"/>
                <a:gd name="T15" fmla="*/ 167 h 587"/>
                <a:gd name="T16" fmla="*/ 574 w 587"/>
                <a:gd name="T17" fmla="*/ 206 h 587"/>
                <a:gd name="T18" fmla="*/ 583 w 587"/>
                <a:gd name="T19" fmla="*/ 249 h 587"/>
                <a:gd name="T20" fmla="*/ 587 w 587"/>
                <a:gd name="T21" fmla="*/ 294 h 587"/>
                <a:gd name="T22" fmla="*/ 583 w 587"/>
                <a:gd name="T23" fmla="*/ 339 h 587"/>
                <a:gd name="T24" fmla="*/ 574 w 587"/>
                <a:gd name="T25" fmla="*/ 381 h 587"/>
                <a:gd name="T26" fmla="*/ 558 w 587"/>
                <a:gd name="T27" fmla="*/ 421 h 587"/>
                <a:gd name="T28" fmla="*/ 537 w 587"/>
                <a:gd name="T29" fmla="*/ 458 h 587"/>
                <a:gd name="T30" fmla="*/ 511 w 587"/>
                <a:gd name="T31" fmla="*/ 491 h 587"/>
                <a:gd name="T32" fmla="*/ 481 w 587"/>
                <a:gd name="T33" fmla="*/ 521 h 587"/>
                <a:gd name="T34" fmla="*/ 446 w 587"/>
                <a:gd name="T35" fmla="*/ 545 h 587"/>
                <a:gd name="T36" fmla="*/ 408 w 587"/>
                <a:gd name="T37" fmla="*/ 564 h 587"/>
                <a:gd name="T38" fmla="*/ 367 w 587"/>
                <a:gd name="T39" fmla="*/ 578 h 587"/>
                <a:gd name="T40" fmla="*/ 323 w 587"/>
                <a:gd name="T41" fmla="*/ 586 h 587"/>
                <a:gd name="T42" fmla="*/ 278 w 587"/>
                <a:gd name="T43" fmla="*/ 587 h 587"/>
                <a:gd name="T44" fmla="*/ 235 w 587"/>
                <a:gd name="T45" fmla="*/ 581 h 587"/>
                <a:gd name="T46" fmla="*/ 192 w 587"/>
                <a:gd name="T47" fmla="*/ 569 h 587"/>
                <a:gd name="T48" fmla="*/ 154 w 587"/>
                <a:gd name="T49" fmla="*/ 551 h 587"/>
                <a:gd name="T50" fmla="*/ 118 w 587"/>
                <a:gd name="T51" fmla="*/ 528 h 587"/>
                <a:gd name="T52" fmla="*/ 86 w 587"/>
                <a:gd name="T53" fmla="*/ 501 h 587"/>
                <a:gd name="T54" fmla="*/ 59 w 587"/>
                <a:gd name="T55" fmla="*/ 469 h 587"/>
                <a:gd name="T56" fmla="*/ 36 w 587"/>
                <a:gd name="T57" fmla="*/ 433 h 587"/>
                <a:gd name="T58" fmla="*/ 18 w 587"/>
                <a:gd name="T59" fmla="*/ 395 h 587"/>
                <a:gd name="T60" fmla="*/ 7 w 587"/>
                <a:gd name="T61" fmla="*/ 353 h 587"/>
                <a:gd name="T62" fmla="*/ 0 w 587"/>
                <a:gd name="T63" fmla="*/ 309 h 587"/>
                <a:gd name="T64" fmla="*/ 1 w 587"/>
                <a:gd name="T65" fmla="*/ 263 h 587"/>
                <a:gd name="T66" fmla="*/ 9 w 587"/>
                <a:gd name="T67" fmla="*/ 221 h 587"/>
                <a:gd name="T68" fmla="*/ 23 w 587"/>
                <a:gd name="T69" fmla="*/ 180 h 587"/>
                <a:gd name="T70" fmla="*/ 42 w 587"/>
                <a:gd name="T71" fmla="*/ 141 h 587"/>
                <a:gd name="T72" fmla="*/ 67 w 587"/>
                <a:gd name="T73" fmla="*/ 107 h 587"/>
                <a:gd name="T74" fmla="*/ 96 w 587"/>
                <a:gd name="T75" fmla="*/ 76 h 587"/>
                <a:gd name="T76" fmla="*/ 130 w 587"/>
                <a:gd name="T77" fmla="*/ 50 h 587"/>
                <a:gd name="T78" fmla="*/ 167 w 587"/>
                <a:gd name="T79" fmla="*/ 30 h 587"/>
                <a:gd name="T80" fmla="*/ 206 w 587"/>
                <a:gd name="T81" fmla="*/ 13 h 587"/>
                <a:gd name="T82" fmla="*/ 249 w 587"/>
                <a:gd name="T83" fmla="*/ 4 h 587"/>
                <a:gd name="T84" fmla="*/ 294 w 587"/>
                <a:gd name="T85" fmla="*/ 0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87" h="587">
                  <a:moveTo>
                    <a:pt x="294" y="0"/>
                  </a:moveTo>
                  <a:lnTo>
                    <a:pt x="309" y="0"/>
                  </a:lnTo>
                  <a:lnTo>
                    <a:pt x="323" y="1"/>
                  </a:lnTo>
                  <a:lnTo>
                    <a:pt x="338" y="4"/>
                  </a:lnTo>
                  <a:lnTo>
                    <a:pt x="353" y="7"/>
                  </a:lnTo>
                  <a:lnTo>
                    <a:pt x="367" y="9"/>
                  </a:lnTo>
                  <a:lnTo>
                    <a:pt x="381" y="13"/>
                  </a:lnTo>
                  <a:lnTo>
                    <a:pt x="395" y="18"/>
                  </a:lnTo>
                  <a:lnTo>
                    <a:pt x="408" y="23"/>
                  </a:lnTo>
                  <a:lnTo>
                    <a:pt x="420" y="30"/>
                  </a:lnTo>
                  <a:lnTo>
                    <a:pt x="433" y="36"/>
                  </a:lnTo>
                  <a:lnTo>
                    <a:pt x="446" y="42"/>
                  </a:lnTo>
                  <a:lnTo>
                    <a:pt x="458" y="50"/>
                  </a:lnTo>
                  <a:lnTo>
                    <a:pt x="469" y="58"/>
                  </a:lnTo>
                  <a:lnTo>
                    <a:pt x="481" y="67"/>
                  </a:lnTo>
                  <a:lnTo>
                    <a:pt x="491" y="76"/>
                  </a:lnTo>
                  <a:lnTo>
                    <a:pt x="501" y="86"/>
                  </a:lnTo>
                  <a:lnTo>
                    <a:pt x="511" y="96"/>
                  </a:lnTo>
                  <a:lnTo>
                    <a:pt x="520" y="107"/>
                  </a:lnTo>
                  <a:lnTo>
                    <a:pt x="529" y="118"/>
                  </a:lnTo>
                  <a:lnTo>
                    <a:pt x="537" y="130"/>
                  </a:lnTo>
                  <a:lnTo>
                    <a:pt x="545" y="141"/>
                  </a:lnTo>
                  <a:lnTo>
                    <a:pt x="551" y="154"/>
                  </a:lnTo>
                  <a:lnTo>
                    <a:pt x="558" y="167"/>
                  </a:lnTo>
                  <a:lnTo>
                    <a:pt x="564" y="180"/>
                  </a:lnTo>
                  <a:lnTo>
                    <a:pt x="569" y="192"/>
                  </a:lnTo>
                  <a:lnTo>
                    <a:pt x="574" y="206"/>
                  </a:lnTo>
                  <a:lnTo>
                    <a:pt x="578" y="221"/>
                  </a:lnTo>
                  <a:lnTo>
                    <a:pt x="581" y="235"/>
                  </a:lnTo>
                  <a:lnTo>
                    <a:pt x="583" y="249"/>
                  </a:lnTo>
                  <a:lnTo>
                    <a:pt x="586" y="263"/>
                  </a:lnTo>
                  <a:lnTo>
                    <a:pt x="587" y="278"/>
                  </a:lnTo>
                  <a:lnTo>
                    <a:pt x="587" y="294"/>
                  </a:lnTo>
                  <a:lnTo>
                    <a:pt x="587" y="309"/>
                  </a:lnTo>
                  <a:lnTo>
                    <a:pt x="586" y="323"/>
                  </a:lnTo>
                  <a:lnTo>
                    <a:pt x="583" y="339"/>
                  </a:lnTo>
                  <a:lnTo>
                    <a:pt x="581" y="353"/>
                  </a:lnTo>
                  <a:lnTo>
                    <a:pt x="578" y="367"/>
                  </a:lnTo>
                  <a:lnTo>
                    <a:pt x="574" y="381"/>
                  </a:lnTo>
                  <a:lnTo>
                    <a:pt x="569" y="395"/>
                  </a:lnTo>
                  <a:lnTo>
                    <a:pt x="564" y="408"/>
                  </a:lnTo>
                  <a:lnTo>
                    <a:pt x="558" y="421"/>
                  </a:lnTo>
                  <a:lnTo>
                    <a:pt x="551" y="433"/>
                  </a:lnTo>
                  <a:lnTo>
                    <a:pt x="545" y="446"/>
                  </a:lnTo>
                  <a:lnTo>
                    <a:pt x="537" y="458"/>
                  </a:lnTo>
                  <a:lnTo>
                    <a:pt x="529" y="469"/>
                  </a:lnTo>
                  <a:lnTo>
                    <a:pt x="520" y="481"/>
                  </a:lnTo>
                  <a:lnTo>
                    <a:pt x="511" y="491"/>
                  </a:lnTo>
                  <a:lnTo>
                    <a:pt x="501" y="501"/>
                  </a:lnTo>
                  <a:lnTo>
                    <a:pt x="491" y="510"/>
                  </a:lnTo>
                  <a:lnTo>
                    <a:pt x="481" y="521"/>
                  </a:lnTo>
                  <a:lnTo>
                    <a:pt x="469" y="528"/>
                  </a:lnTo>
                  <a:lnTo>
                    <a:pt x="458" y="537"/>
                  </a:lnTo>
                  <a:lnTo>
                    <a:pt x="446" y="545"/>
                  </a:lnTo>
                  <a:lnTo>
                    <a:pt x="433" y="551"/>
                  </a:lnTo>
                  <a:lnTo>
                    <a:pt x="420" y="558"/>
                  </a:lnTo>
                  <a:lnTo>
                    <a:pt x="408" y="564"/>
                  </a:lnTo>
                  <a:lnTo>
                    <a:pt x="395" y="569"/>
                  </a:lnTo>
                  <a:lnTo>
                    <a:pt x="381" y="574"/>
                  </a:lnTo>
                  <a:lnTo>
                    <a:pt x="367" y="578"/>
                  </a:lnTo>
                  <a:lnTo>
                    <a:pt x="353" y="581"/>
                  </a:lnTo>
                  <a:lnTo>
                    <a:pt x="338" y="583"/>
                  </a:lnTo>
                  <a:lnTo>
                    <a:pt x="323" y="586"/>
                  </a:lnTo>
                  <a:lnTo>
                    <a:pt x="309" y="587"/>
                  </a:lnTo>
                  <a:lnTo>
                    <a:pt x="294" y="587"/>
                  </a:lnTo>
                  <a:lnTo>
                    <a:pt x="278" y="587"/>
                  </a:lnTo>
                  <a:lnTo>
                    <a:pt x="264" y="586"/>
                  </a:lnTo>
                  <a:lnTo>
                    <a:pt x="249" y="583"/>
                  </a:lnTo>
                  <a:lnTo>
                    <a:pt x="235" y="581"/>
                  </a:lnTo>
                  <a:lnTo>
                    <a:pt x="221" y="578"/>
                  </a:lnTo>
                  <a:lnTo>
                    <a:pt x="206" y="574"/>
                  </a:lnTo>
                  <a:lnTo>
                    <a:pt x="192" y="569"/>
                  </a:lnTo>
                  <a:lnTo>
                    <a:pt x="180" y="564"/>
                  </a:lnTo>
                  <a:lnTo>
                    <a:pt x="167" y="558"/>
                  </a:lnTo>
                  <a:lnTo>
                    <a:pt x="154" y="551"/>
                  </a:lnTo>
                  <a:lnTo>
                    <a:pt x="141" y="545"/>
                  </a:lnTo>
                  <a:lnTo>
                    <a:pt x="130" y="537"/>
                  </a:lnTo>
                  <a:lnTo>
                    <a:pt x="118" y="528"/>
                  </a:lnTo>
                  <a:lnTo>
                    <a:pt x="107" y="521"/>
                  </a:lnTo>
                  <a:lnTo>
                    <a:pt x="96" y="510"/>
                  </a:lnTo>
                  <a:lnTo>
                    <a:pt x="86" y="501"/>
                  </a:lnTo>
                  <a:lnTo>
                    <a:pt x="77" y="491"/>
                  </a:lnTo>
                  <a:lnTo>
                    <a:pt x="67" y="481"/>
                  </a:lnTo>
                  <a:lnTo>
                    <a:pt x="59" y="469"/>
                  </a:lnTo>
                  <a:lnTo>
                    <a:pt x="50" y="458"/>
                  </a:lnTo>
                  <a:lnTo>
                    <a:pt x="42" y="446"/>
                  </a:lnTo>
                  <a:lnTo>
                    <a:pt x="36" y="433"/>
                  </a:lnTo>
                  <a:lnTo>
                    <a:pt x="30" y="421"/>
                  </a:lnTo>
                  <a:lnTo>
                    <a:pt x="23" y="408"/>
                  </a:lnTo>
                  <a:lnTo>
                    <a:pt x="18" y="395"/>
                  </a:lnTo>
                  <a:lnTo>
                    <a:pt x="13" y="381"/>
                  </a:lnTo>
                  <a:lnTo>
                    <a:pt x="9" y="367"/>
                  </a:lnTo>
                  <a:lnTo>
                    <a:pt x="7" y="353"/>
                  </a:lnTo>
                  <a:lnTo>
                    <a:pt x="4" y="339"/>
                  </a:lnTo>
                  <a:lnTo>
                    <a:pt x="1" y="323"/>
                  </a:lnTo>
                  <a:lnTo>
                    <a:pt x="0" y="309"/>
                  </a:lnTo>
                  <a:lnTo>
                    <a:pt x="0" y="294"/>
                  </a:lnTo>
                  <a:lnTo>
                    <a:pt x="0" y="278"/>
                  </a:lnTo>
                  <a:lnTo>
                    <a:pt x="1" y="263"/>
                  </a:lnTo>
                  <a:lnTo>
                    <a:pt x="4" y="249"/>
                  </a:lnTo>
                  <a:lnTo>
                    <a:pt x="7" y="235"/>
                  </a:lnTo>
                  <a:lnTo>
                    <a:pt x="9" y="221"/>
                  </a:lnTo>
                  <a:lnTo>
                    <a:pt x="13" y="206"/>
                  </a:lnTo>
                  <a:lnTo>
                    <a:pt x="18" y="192"/>
                  </a:lnTo>
                  <a:lnTo>
                    <a:pt x="23" y="180"/>
                  </a:lnTo>
                  <a:lnTo>
                    <a:pt x="30" y="167"/>
                  </a:lnTo>
                  <a:lnTo>
                    <a:pt x="36" y="154"/>
                  </a:lnTo>
                  <a:lnTo>
                    <a:pt x="42" y="141"/>
                  </a:lnTo>
                  <a:lnTo>
                    <a:pt x="50" y="130"/>
                  </a:lnTo>
                  <a:lnTo>
                    <a:pt x="59" y="118"/>
                  </a:lnTo>
                  <a:lnTo>
                    <a:pt x="67" y="107"/>
                  </a:lnTo>
                  <a:lnTo>
                    <a:pt x="77" y="96"/>
                  </a:lnTo>
                  <a:lnTo>
                    <a:pt x="86" y="86"/>
                  </a:lnTo>
                  <a:lnTo>
                    <a:pt x="96" y="76"/>
                  </a:lnTo>
                  <a:lnTo>
                    <a:pt x="107" y="67"/>
                  </a:lnTo>
                  <a:lnTo>
                    <a:pt x="118" y="58"/>
                  </a:lnTo>
                  <a:lnTo>
                    <a:pt x="130" y="50"/>
                  </a:lnTo>
                  <a:lnTo>
                    <a:pt x="141" y="42"/>
                  </a:lnTo>
                  <a:lnTo>
                    <a:pt x="154" y="36"/>
                  </a:lnTo>
                  <a:lnTo>
                    <a:pt x="167" y="30"/>
                  </a:lnTo>
                  <a:lnTo>
                    <a:pt x="180" y="23"/>
                  </a:lnTo>
                  <a:lnTo>
                    <a:pt x="192" y="18"/>
                  </a:lnTo>
                  <a:lnTo>
                    <a:pt x="206" y="13"/>
                  </a:lnTo>
                  <a:lnTo>
                    <a:pt x="221" y="9"/>
                  </a:lnTo>
                  <a:lnTo>
                    <a:pt x="235" y="7"/>
                  </a:lnTo>
                  <a:lnTo>
                    <a:pt x="249" y="4"/>
                  </a:lnTo>
                  <a:lnTo>
                    <a:pt x="264" y="1"/>
                  </a:lnTo>
                  <a:lnTo>
                    <a:pt x="278" y="0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 305">
              <a:extLst>
                <a:ext uri="{FF2B5EF4-FFF2-40B4-BE49-F238E27FC236}">
                  <a16:creationId xmlns:a16="http://schemas.microsoft.com/office/drawing/2014/main" id="{26F466E7-0FCA-4B50-B187-5D56A8BDE5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84545" y="5230938"/>
              <a:ext cx="344488" cy="315913"/>
            </a:xfrm>
            <a:custGeom>
              <a:avLst/>
              <a:gdLst>
                <a:gd name="T0" fmla="*/ 386 w 650"/>
                <a:gd name="T1" fmla="*/ 201 h 598"/>
                <a:gd name="T2" fmla="*/ 432 w 650"/>
                <a:gd name="T3" fmla="*/ 221 h 598"/>
                <a:gd name="T4" fmla="*/ 473 w 650"/>
                <a:gd name="T5" fmla="*/ 252 h 598"/>
                <a:gd name="T6" fmla="*/ 508 w 650"/>
                <a:gd name="T7" fmla="*/ 300 h 598"/>
                <a:gd name="T8" fmla="*/ 528 w 650"/>
                <a:gd name="T9" fmla="*/ 355 h 598"/>
                <a:gd name="T10" fmla="*/ 532 w 650"/>
                <a:gd name="T11" fmla="*/ 407 h 598"/>
                <a:gd name="T12" fmla="*/ 527 w 650"/>
                <a:gd name="T13" fmla="*/ 442 h 598"/>
                <a:gd name="T14" fmla="*/ 650 w 650"/>
                <a:gd name="T15" fmla="*/ 562 h 598"/>
                <a:gd name="T16" fmla="*/ 487 w 650"/>
                <a:gd name="T17" fmla="*/ 524 h 598"/>
                <a:gd name="T18" fmla="*/ 442 w 650"/>
                <a:gd name="T19" fmla="*/ 564 h 598"/>
                <a:gd name="T20" fmla="*/ 390 w 650"/>
                <a:gd name="T21" fmla="*/ 589 h 598"/>
                <a:gd name="T22" fmla="*/ 330 w 650"/>
                <a:gd name="T23" fmla="*/ 598 h 598"/>
                <a:gd name="T24" fmla="*/ 269 w 650"/>
                <a:gd name="T25" fmla="*/ 589 h 598"/>
                <a:gd name="T26" fmla="*/ 217 w 650"/>
                <a:gd name="T27" fmla="*/ 564 h 598"/>
                <a:gd name="T28" fmla="*/ 171 w 650"/>
                <a:gd name="T29" fmla="*/ 521 h 598"/>
                <a:gd name="T30" fmla="*/ 0 w 650"/>
                <a:gd name="T31" fmla="*/ 558 h 598"/>
                <a:gd name="T32" fmla="*/ 132 w 650"/>
                <a:gd name="T33" fmla="*/ 439 h 598"/>
                <a:gd name="T34" fmla="*/ 128 w 650"/>
                <a:gd name="T35" fmla="*/ 375 h 598"/>
                <a:gd name="T36" fmla="*/ 143 w 650"/>
                <a:gd name="T37" fmla="*/ 316 h 598"/>
                <a:gd name="T38" fmla="*/ 173 w 650"/>
                <a:gd name="T39" fmla="*/ 266 h 598"/>
                <a:gd name="T40" fmla="*/ 216 w 650"/>
                <a:gd name="T41" fmla="*/ 228 h 598"/>
                <a:gd name="T42" fmla="*/ 267 w 650"/>
                <a:gd name="T43" fmla="*/ 203 h 598"/>
                <a:gd name="T44" fmla="*/ 324 w 650"/>
                <a:gd name="T45" fmla="*/ 193 h 598"/>
                <a:gd name="T46" fmla="*/ 350 w 650"/>
                <a:gd name="T47" fmla="*/ 194 h 598"/>
                <a:gd name="T48" fmla="*/ 262 w 650"/>
                <a:gd name="T49" fmla="*/ 344 h 598"/>
                <a:gd name="T50" fmla="*/ 155 w 650"/>
                <a:gd name="T51" fmla="*/ 369 h 598"/>
                <a:gd name="T52" fmla="*/ 154 w 650"/>
                <a:gd name="T53" fmla="*/ 411 h 598"/>
                <a:gd name="T54" fmla="*/ 262 w 650"/>
                <a:gd name="T55" fmla="*/ 319 h 598"/>
                <a:gd name="T56" fmla="*/ 231 w 650"/>
                <a:gd name="T57" fmla="*/ 248 h 598"/>
                <a:gd name="T58" fmla="*/ 195 w 650"/>
                <a:gd name="T59" fmla="*/ 282 h 598"/>
                <a:gd name="T60" fmla="*/ 171 w 650"/>
                <a:gd name="T61" fmla="*/ 319 h 598"/>
                <a:gd name="T62" fmla="*/ 372 w 650"/>
                <a:gd name="T63" fmla="*/ 319 h 598"/>
                <a:gd name="T64" fmla="*/ 351 w 650"/>
                <a:gd name="T65" fmla="*/ 220 h 598"/>
                <a:gd name="T66" fmla="*/ 319 w 650"/>
                <a:gd name="T67" fmla="*/ 219 h 598"/>
                <a:gd name="T68" fmla="*/ 287 w 650"/>
                <a:gd name="T69" fmla="*/ 224 h 598"/>
                <a:gd name="T70" fmla="*/ 488 w 650"/>
                <a:gd name="T71" fmla="*/ 319 h 598"/>
                <a:gd name="T72" fmla="*/ 464 w 650"/>
                <a:gd name="T73" fmla="*/ 282 h 598"/>
                <a:gd name="T74" fmla="*/ 428 w 650"/>
                <a:gd name="T75" fmla="*/ 248 h 598"/>
                <a:gd name="T76" fmla="*/ 499 w 650"/>
                <a:gd name="T77" fmla="*/ 344 h 598"/>
                <a:gd name="T78" fmla="*/ 504 w 650"/>
                <a:gd name="T79" fmla="*/ 428 h 598"/>
                <a:gd name="T80" fmla="*/ 505 w 650"/>
                <a:gd name="T81" fmla="*/ 383 h 598"/>
                <a:gd name="T82" fmla="*/ 499 w 650"/>
                <a:gd name="T83" fmla="*/ 344 h 598"/>
                <a:gd name="T84" fmla="*/ 398 w 650"/>
                <a:gd name="T85" fmla="*/ 558 h 598"/>
                <a:gd name="T86" fmla="*/ 442 w 650"/>
                <a:gd name="T87" fmla="*/ 532 h 598"/>
                <a:gd name="T88" fmla="*/ 480 w 650"/>
                <a:gd name="T89" fmla="*/ 489 h 598"/>
                <a:gd name="T90" fmla="*/ 372 w 650"/>
                <a:gd name="T91" fmla="*/ 567 h 598"/>
                <a:gd name="T92" fmla="*/ 287 w 650"/>
                <a:gd name="T93" fmla="*/ 567 h 598"/>
                <a:gd name="T94" fmla="*/ 319 w 650"/>
                <a:gd name="T95" fmla="*/ 571 h 598"/>
                <a:gd name="T96" fmla="*/ 351 w 650"/>
                <a:gd name="T97" fmla="*/ 571 h 598"/>
                <a:gd name="T98" fmla="*/ 262 w 650"/>
                <a:gd name="T99" fmla="*/ 558 h 598"/>
                <a:gd name="T100" fmla="*/ 171 w 650"/>
                <a:gd name="T101" fmla="*/ 471 h 598"/>
                <a:gd name="T102" fmla="*/ 205 w 650"/>
                <a:gd name="T103" fmla="*/ 520 h 598"/>
                <a:gd name="T104" fmla="*/ 246 w 650"/>
                <a:gd name="T105" fmla="*/ 551 h 598"/>
                <a:gd name="T106" fmla="*/ 372 w 650"/>
                <a:gd name="T107" fmla="*/ 428 h 598"/>
                <a:gd name="T108" fmla="*/ 287 w 650"/>
                <a:gd name="T109" fmla="*/ 42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50" h="598">
                  <a:moveTo>
                    <a:pt x="350" y="194"/>
                  </a:moveTo>
                  <a:lnTo>
                    <a:pt x="368" y="197"/>
                  </a:lnTo>
                  <a:lnTo>
                    <a:pt x="386" y="201"/>
                  </a:lnTo>
                  <a:lnTo>
                    <a:pt x="401" y="206"/>
                  </a:lnTo>
                  <a:lnTo>
                    <a:pt x="418" y="214"/>
                  </a:lnTo>
                  <a:lnTo>
                    <a:pt x="432" y="221"/>
                  </a:lnTo>
                  <a:lnTo>
                    <a:pt x="447" y="230"/>
                  </a:lnTo>
                  <a:lnTo>
                    <a:pt x="460" y="241"/>
                  </a:lnTo>
                  <a:lnTo>
                    <a:pt x="473" y="252"/>
                  </a:lnTo>
                  <a:lnTo>
                    <a:pt x="486" y="266"/>
                  </a:lnTo>
                  <a:lnTo>
                    <a:pt x="497" y="283"/>
                  </a:lnTo>
                  <a:lnTo>
                    <a:pt x="508" y="300"/>
                  </a:lnTo>
                  <a:lnTo>
                    <a:pt x="517" y="316"/>
                  </a:lnTo>
                  <a:lnTo>
                    <a:pt x="523" y="335"/>
                  </a:lnTo>
                  <a:lnTo>
                    <a:pt x="528" y="355"/>
                  </a:lnTo>
                  <a:lnTo>
                    <a:pt x="531" y="375"/>
                  </a:lnTo>
                  <a:lnTo>
                    <a:pt x="532" y="396"/>
                  </a:lnTo>
                  <a:lnTo>
                    <a:pt x="532" y="407"/>
                  </a:lnTo>
                  <a:lnTo>
                    <a:pt x="531" y="419"/>
                  </a:lnTo>
                  <a:lnTo>
                    <a:pt x="529" y="430"/>
                  </a:lnTo>
                  <a:lnTo>
                    <a:pt x="527" y="442"/>
                  </a:lnTo>
                  <a:lnTo>
                    <a:pt x="521" y="464"/>
                  </a:lnTo>
                  <a:lnTo>
                    <a:pt x="512" y="484"/>
                  </a:lnTo>
                  <a:lnTo>
                    <a:pt x="650" y="562"/>
                  </a:lnTo>
                  <a:lnTo>
                    <a:pt x="637" y="585"/>
                  </a:lnTo>
                  <a:lnTo>
                    <a:pt x="499" y="507"/>
                  </a:lnTo>
                  <a:lnTo>
                    <a:pt x="487" y="524"/>
                  </a:lnTo>
                  <a:lnTo>
                    <a:pt x="473" y="539"/>
                  </a:lnTo>
                  <a:lnTo>
                    <a:pt x="459" y="552"/>
                  </a:lnTo>
                  <a:lnTo>
                    <a:pt x="442" y="564"/>
                  </a:lnTo>
                  <a:lnTo>
                    <a:pt x="426" y="574"/>
                  </a:lnTo>
                  <a:lnTo>
                    <a:pt x="409" y="583"/>
                  </a:lnTo>
                  <a:lnTo>
                    <a:pt x="390" y="589"/>
                  </a:lnTo>
                  <a:lnTo>
                    <a:pt x="371" y="594"/>
                  </a:lnTo>
                  <a:lnTo>
                    <a:pt x="350" y="597"/>
                  </a:lnTo>
                  <a:lnTo>
                    <a:pt x="330" y="598"/>
                  </a:lnTo>
                  <a:lnTo>
                    <a:pt x="309" y="597"/>
                  </a:lnTo>
                  <a:lnTo>
                    <a:pt x="289" y="594"/>
                  </a:lnTo>
                  <a:lnTo>
                    <a:pt x="269" y="589"/>
                  </a:lnTo>
                  <a:lnTo>
                    <a:pt x="251" y="583"/>
                  </a:lnTo>
                  <a:lnTo>
                    <a:pt x="233" y="574"/>
                  </a:lnTo>
                  <a:lnTo>
                    <a:pt x="217" y="564"/>
                  </a:lnTo>
                  <a:lnTo>
                    <a:pt x="201" y="552"/>
                  </a:lnTo>
                  <a:lnTo>
                    <a:pt x="186" y="539"/>
                  </a:lnTo>
                  <a:lnTo>
                    <a:pt x="171" y="521"/>
                  </a:lnTo>
                  <a:lnTo>
                    <a:pt x="158" y="503"/>
                  </a:lnTo>
                  <a:lnTo>
                    <a:pt x="13" y="581"/>
                  </a:lnTo>
                  <a:lnTo>
                    <a:pt x="0" y="558"/>
                  </a:lnTo>
                  <a:lnTo>
                    <a:pt x="145" y="480"/>
                  </a:lnTo>
                  <a:lnTo>
                    <a:pt x="137" y="460"/>
                  </a:lnTo>
                  <a:lnTo>
                    <a:pt x="132" y="439"/>
                  </a:lnTo>
                  <a:lnTo>
                    <a:pt x="128" y="417"/>
                  </a:lnTo>
                  <a:lnTo>
                    <a:pt x="127" y="396"/>
                  </a:lnTo>
                  <a:lnTo>
                    <a:pt x="128" y="375"/>
                  </a:lnTo>
                  <a:lnTo>
                    <a:pt x="131" y="355"/>
                  </a:lnTo>
                  <a:lnTo>
                    <a:pt x="136" y="335"/>
                  </a:lnTo>
                  <a:lnTo>
                    <a:pt x="143" y="316"/>
                  </a:lnTo>
                  <a:lnTo>
                    <a:pt x="151" y="300"/>
                  </a:lnTo>
                  <a:lnTo>
                    <a:pt x="162" y="283"/>
                  </a:lnTo>
                  <a:lnTo>
                    <a:pt x="173" y="266"/>
                  </a:lnTo>
                  <a:lnTo>
                    <a:pt x="186" y="252"/>
                  </a:lnTo>
                  <a:lnTo>
                    <a:pt x="200" y="239"/>
                  </a:lnTo>
                  <a:lnTo>
                    <a:pt x="216" y="228"/>
                  </a:lnTo>
                  <a:lnTo>
                    <a:pt x="232" y="219"/>
                  </a:lnTo>
                  <a:lnTo>
                    <a:pt x="249" y="210"/>
                  </a:lnTo>
                  <a:lnTo>
                    <a:pt x="267" y="203"/>
                  </a:lnTo>
                  <a:lnTo>
                    <a:pt x="286" y="198"/>
                  </a:lnTo>
                  <a:lnTo>
                    <a:pt x="305" y="194"/>
                  </a:lnTo>
                  <a:lnTo>
                    <a:pt x="324" y="193"/>
                  </a:lnTo>
                  <a:lnTo>
                    <a:pt x="324" y="0"/>
                  </a:lnTo>
                  <a:lnTo>
                    <a:pt x="350" y="0"/>
                  </a:lnTo>
                  <a:lnTo>
                    <a:pt x="350" y="194"/>
                  </a:lnTo>
                  <a:close/>
                  <a:moveTo>
                    <a:pt x="155" y="428"/>
                  </a:moveTo>
                  <a:lnTo>
                    <a:pt x="262" y="428"/>
                  </a:lnTo>
                  <a:lnTo>
                    <a:pt x="262" y="344"/>
                  </a:lnTo>
                  <a:lnTo>
                    <a:pt x="160" y="344"/>
                  </a:lnTo>
                  <a:lnTo>
                    <a:pt x="158" y="357"/>
                  </a:lnTo>
                  <a:lnTo>
                    <a:pt x="155" y="369"/>
                  </a:lnTo>
                  <a:lnTo>
                    <a:pt x="154" y="383"/>
                  </a:lnTo>
                  <a:lnTo>
                    <a:pt x="153" y="396"/>
                  </a:lnTo>
                  <a:lnTo>
                    <a:pt x="154" y="411"/>
                  </a:lnTo>
                  <a:lnTo>
                    <a:pt x="155" y="428"/>
                  </a:lnTo>
                  <a:close/>
                  <a:moveTo>
                    <a:pt x="171" y="319"/>
                  </a:moveTo>
                  <a:lnTo>
                    <a:pt x="262" y="319"/>
                  </a:lnTo>
                  <a:lnTo>
                    <a:pt x="262" y="233"/>
                  </a:lnTo>
                  <a:lnTo>
                    <a:pt x="246" y="241"/>
                  </a:lnTo>
                  <a:lnTo>
                    <a:pt x="231" y="248"/>
                  </a:lnTo>
                  <a:lnTo>
                    <a:pt x="218" y="259"/>
                  </a:lnTo>
                  <a:lnTo>
                    <a:pt x="205" y="270"/>
                  </a:lnTo>
                  <a:lnTo>
                    <a:pt x="195" y="282"/>
                  </a:lnTo>
                  <a:lnTo>
                    <a:pt x="186" y="293"/>
                  </a:lnTo>
                  <a:lnTo>
                    <a:pt x="178" y="306"/>
                  </a:lnTo>
                  <a:lnTo>
                    <a:pt x="171" y="319"/>
                  </a:lnTo>
                  <a:close/>
                  <a:moveTo>
                    <a:pt x="287" y="224"/>
                  </a:moveTo>
                  <a:lnTo>
                    <a:pt x="287" y="319"/>
                  </a:lnTo>
                  <a:lnTo>
                    <a:pt x="372" y="319"/>
                  </a:lnTo>
                  <a:lnTo>
                    <a:pt x="372" y="224"/>
                  </a:lnTo>
                  <a:lnTo>
                    <a:pt x="362" y="221"/>
                  </a:lnTo>
                  <a:lnTo>
                    <a:pt x="351" y="220"/>
                  </a:lnTo>
                  <a:lnTo>
                    <a:pt x="340" y="219"/>
                  </a:lnTo>
                  <a:lnTo>
                    <a:pt x="330" y="219"/>
                  </a:lnTo>
                  <a:lnTo>
                    <a:pt x="319" y="219"/>
                  </a:lnTo>
                  <a:lnTo>
                    <a:pt x="308" y="220"/>
                  </a:lnTo>
                  <a:lnTo>
                    <a:pt x="298" y="221"/>
                  </a:lnTo>
                  <a:lnTo>
                    <a:pt x="287" y="224"/>
                  </a:lnTo>
                  <a:close/>
                  <a:moveTo>
                    <a:pt x="398" y="233"/>
                  </a:moveTo>
                  <a:lnTo>
                    <a:pt x="398" y="319"/>
                  </a:lnTo>
                  <a:lnTo>
                    <a:pt x="488" y="319"/>
                  </a:lnTo>
                  <a:lnTo>
                    <a:pt x="482" y="306"/>
                  </a:lnTo>
                  <a:lnTo>
                    <a:pt x="473" y="293"/>
                  </a:lnTo>
                  <a:lnTo>
                    <a:pt x="464" y="282"/>
                  </a:lnTo>
                  <a:lnTo>
                    <a:pt x="454" y="270"/>
                  </a:lnTo>
                  <a:lnTo>
                    <a:pt x="442" y="259"/>
                  </a:lnTo>
                  <a:lnTo>
                    <a:pt x="428" y="248"/>
                  </a:lnTo>
                  <a:lnTo>
                    <a:pt x="413" y="239"/>
                  </a:lnTo>
                  <a:lnTo>
                    <a:pt x="398" y="233"/>
                  </a:lnTo>
                  <a:close/>
                  <a:moveTo>
                    <a:pt x="499" y="344"/>
                  </a:moveTo>
                  <a:lnTo>
                    <a:pt x="398" y="344"/>
                  </a:lnTo>
                  <a:lnTo>
                    <a:pt x="398" y="428"/>
                  </a:lnTo>
                  <a:lnTo>
                    <a:pt x="504" y="428"/>
                  </a:lnTo>
                  <a:lnTo>
                    <a:pt x="505" y="411"/>
                  </a:lnTo>
                  <a:lnTo>
                    <a:pt x="506" y="396"/>
                  </a:lnTo>
                  <a:lnTo>
                    <a:pt x="505" y="383"/>
                  </a:lnTo>
                  <a:lnTo>
                    <a:pt x="504" y="369"/>
                  </a:lnTo>
                  <a:lnTo>
                    <a:pt x="501" y="357"/>
                  </a:lnTo>
                  <a:lnTo>
                    <a:pt x="499" y="344"/>
                  </a:lnTo>
                  <a:close/>
                  <a:moveTo>
                    <a:pt x="496" y="453"/>
                  </a:moveTo>
                  <a:lnTo>
                    <a:pt x="398" y="453"/>
                  </a:lnTo>
                  <a:lnTo>
                    <a:pt x="398" y="558"/>
                  </a:lnTo>
                  <a:lnTo>
                    <a:pt x="413" y="551"/>
                  </a:lnTo>
                  <a:lnTo>
                    <a:pt x="428" y="542"/>
                  </a:lnTo>
                  <a:lnTo>
                    <a:pt x="442" y="532"/>
                  </a:lnTo>
                  <a:lnTo>
                    <a:pt x="454" y="520"/>
                  </a:lnTo>
                  <a:lnTo>
                    <a:pt x="468" y="506"/>
                  </a:lnTo>
                  <a:lnTo>
                    <a:pt x="480" y="489"/>
                  </a:lnTo>
                  <a:lnTo>
                    <a:pt x="488" y="471"/>
                  </a:lnTo>
                  <a:lnTo>
                    <a:pt x="496" y="453"/>
                  </a:lnTo>
                  <a:close/>
                  <a:moveTo>
                    <a:pt x="372" y="567"/>
                  </a:moveTo>
                  <a:lnTo>
                    <a:pt x="372" y="453"/>
                  </a:lnTo>
                  <a:lnTo>
                    <a:pt x="287" y="453"/>
                  </a:lnTo>
                  <a:lnTo>
                    <a:pt x="287" y="567"/>
                  </a:lnTo>
                  <a:lnTo>
                    <a:pt x="298" y="569"/>
                  </a:lnTo>
                  <a:lnTo>
                    <a:pt x="308" y="571"/>
                  </a:lnTo>
                  <a:lnTo>
                    <a:pt x="319" y="571"/>
                  </a:lnTo>
                  <a:lnTo>
                    <a:pt x="330" y="573"/>
                  </a:lnTo>
                  <a:lnTo>
                    <a:pt x="340" y="571"/>
                  </a:lnTo>
                  <a:lnTo>
                    <a:pt x="351" y="571"/>
                  </a:lnTo>
                  <a:lnTo>
                    <a:pt x="362" y="569"/>
                  </a:lnTo>
                  <a:lnTo>
                    <a:pt x="372" y="567"/>
                  </a:lnTo>
                  <a:close/>
                  <a:moveTo>
                    <a:pt x="262" y="558"/>
                  </a:moveTo>
                  <a:lnTo>
                    <a:pt x="262" y="453"/>
                  </a:lnTo>
                  <a:lnTo>
                    <a:pt x="163" y="453"/>
                  </a:lnTo>
                  <a:lnTo>
                    <a:pt x="171" y="471"/>
                  </a:lnTo>
                  <a:lnTo>
                    <a:pt x="180" y="489"/>
                  </a:lnTo>
                  <a:lnTo>
                    <a:pt x="191" y="506"/>
                  </a:lnTo>
                  <a:lnTo>
                    <a:pt x="205" y="520"/>
                  </a:lnTo>
                  <a:lnTo>
                    <a:pt x="218" y="532"/>
                  </a:lnTo>
                  <a:lnTo>
                    <a:pt x="231" y="542"/>
                  </a:lnTo>
                  <a:lnTo>
                    <a:pt x="246" y="551"/>
                  </a:lnTo>
                  <a:lnTo>
                    <a:pt x="262" y="558"/>
                  </a:lnTo>
                  <a:close/>
                  <a:moveTo>
                    <a:pt x="287" y="428"/>
                  </a:moveTo>
                  <a:lnTo>
                    <a:pt x="372" y="428"/>
                  </a:lnTo>
                  <a:lnTo>
                    <a:pt x="372" y="344"/>
                  </a:lnTo>
                  <a:lnTo>
                    <a:pt x="287" y="344"/>
                  </a:lnTo>
                  <a:lnTo>
                    <a:pt x="287" y="42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tangle 306">
              <a:extLst>
                <a:ext uri="{FF2B5EF4-FFF2-40B4-BE49-F238E27FC236}">
                  <a16:creationId xmlns:a16="http://schemas.microsoft.com/office/drawing/2014/main" id="{C9399214-79CD-449F-A400-DCC8F6DD61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54407" y="5594580"/>
              <a:ext cx="14288" cy="5556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 311">
              <a:extLst>
                <a:ext uri="{FF2B5EF4-FFF2-40B4-BE49-F238E27FC236}">
                  <a16:creationId xmlns:a16="http://schemas.microsoft.com/office/drawing/2014/main" id="{30483B79-AA62-4292-8906-8DB64C45E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22682" y="5519968"/>
              <a:ext cx="55563" cy="55563"/>
            </a:xfrm>
            <a:custGeom>
              <a:avLst/>
              <a:gdLst>
                <a:gd name="T0" fmla="*/ 64 w 106"/>
                <a:gd name="T1" fmla="*/ 1 h 106"/>
                <a:gd name="T2" fmla="*/ 83 w 106"/>
                <a:gd name="T3" fmla="*/ 9 h 106"/>
                <a:gd name="T4" fmla="*/ 97 w 106"/>
                <a:gd name="T5" fmla="*/ 23 h 106"/>
                <a:gd name="T6" fmla="*/ 105 w 106"/>
                <a:gd name="T7" fmla="*/ 42 h 106"/>
                <a:gd name="T8" fmla="*/ 105 w 106"/>
                <a:gd name="T9" fmla="*/ 64 h 106"/>
                <a:gd name="T10" fmla="*/ 97 w 106"/>
                <a:gd name="T11" fmla="*/ 83 h 106"/>
                <a:gd name="T12" fmla="*/ 83 w 106"/>
                <a:gd name="T13" fmla="*/ 97 h 106"/>
                <a:gd name="T14" fmla="*/ 64 w 106"/>
                <a:gd name="T15" fmla="*/ 105 h 106"/>
                <a:gd name="T16" fmla="*/ 42 w 106"/>
                <a:gd name="T17" fmla="*/ 105 h 106"/>
                <a:gd name="T18" fmla="*/ 23 w 106"/>
                <a:gd name="T19" fmla="*/ 97 h 106"/>
                <a:gd name="T20" fmla="*/ 9 w 106"/>
                <a:gd name="T21" fmla="*/ 83 h 106"/>
                <a:gd name="T22" fmla="*/ 1 w 106"/>
                <a:gd name="T23" fmla="*/ 64 h 106"/>
                <a:gd name="T24" fmla="*/ 1 w 106"/>
                <a:gd name="T25" fmla="*/ 42 h 106"/>
                <a:gd name="T26" fmla="*/ 9 w 106"/>
                <a:gd name="T27" fmla="*/ 23 h 106"/>
                <a:gd name="T28" fmla="*/ 23 w 106"/>
                <a:gd name="T29" fmla="*/ 9 h 106"/>
                <a:gd name="T30" fmla="*/ 42 w 106"/>
                <a:gd name="T31" fmla="*/ 1 h 106"/>
                <a:gd name="T32" fmla="*/ 54 w 106"/>
                <a:gd name="T33" fmla="*/ 28 h 106"/>
                <a:gd name="T34" fmla="*/ 63 w 106"/>
                <a:gd name="T35" fmla="*/ 31 h 106"/>
                <a:gd name="T36" fmla="*/ 72 w 106"/>
                <a:gd name="T37" fmla="*/ 36 h 106"/>
                <a:gd name="T38" fmla="*/ 77 w 106"/>
                <a:gd name="T39" fmla="*/ 43 h 106"/>
                <a:gd name="T40" fmla="*/ 78 w 106"/>
                <a:gd name="T41" fmla="*/ 54 h 106"/>
                <a:gd name="T42" fmla="*/ 77 w 106"/>
                <a:gd name="T43" fmla="*/ 63 h 106"/>
                <a:gd name="T44" fmla="*/ 72 w 106"/>
                <a:gd name="T45" fmla="*/ 72 h 106"/>
                <a:gd name="T46" fmla="*/ 63 w 106"/>
                <a:gd name="T47" fmla="*/ 77 h 106"/>
                <a:gd name="T48" fmla="*/ 54 w 106"/>
                <a:gd name="T49" fmla="*/ 78 h 106"/>
                <a:gd name="T50" fmla="*/ 43 w 106"/>
                <a:gd name="T51" fmla="*/ 77 h 106"/>
                <a:gd name="T52" fmla="*/ 36 w 106"/>
                <a:gd name="T53" fmla="*/ 72 h 106"/>
                <a:gd name="T54" fmla="*/ 31 w 106"/>
                <a:gd name="T55" fmla="*/ 63 h 106"/>
                <a:gd name="T56" fmla="*/ 28 w 106"/>
                <a:gd name="T57" fmla="*/ 54 h 106"/>
                <a:gd name="T58" fmla="*/ 31 w 106"/>
                <a:gd name="T59" fmla="*/ 43 h 106"/>
                <a:gd name="T60" fmla="*/ 36 w 106"/>
                <a:gd name="T61" fmla="*/ 36 h 106"/>
                <a:gd name="T62" fmla="*/ 43 w 106"/>
                <a:gd name="T63" fmla="*/ 31 h 106"/>
                <a:gd name="T64" fmla="*/ 54 w 106"/>
                <a:gd name="T65" fmla="*/ 2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" h="106">
                  <a:moveTo>
                    <a:pt x="54" y="0"/>
                  </a:moveTo>
                  <a:lnTo>
                    <a:pt x="64" y="1"/>
                  </a:lnTo>
                  <a:lnTo>
                    <a:pt x="74" y="4"/>
                  </a:lnTo>
                  <a:lnTo>
                    <a:pt x="83" y="9"/>
                  </a:lnTo>
                  <a:lnTo>
                    <a:pt x="91" y="15"/>
                  </a:lnTo>
                  <a:lnTo>
                    <a:pt x="97" y="23"/>
                  </a:lnTo>
                  <a:lnTo>
                    <a:pt x="102" y="32"/>
                  </a:lnTo>
                  <a:lnTo>
                    <a:pt x="105" y="42"/>
                  </a:lnTo>
                  <a:lnTo>
                    <a:pt x="106" y="54"/>
                  </a:lnTo>
                  <a:lnTo>
                    <a:pt x="105" y="64"/>
                  </a:lnTo>
                  <a:lnTo>
                    <a:pt x="102" y="74"/>
                  </a:lnTo>
                  <a:lnTo>
                    <a:pt x="97" y="83"/>
                  </a:lnTo>
                  <a:lnTo>
                    <a:pt x="91" y="91"/>
                  </a:lnTo>
                  <a:lnTo>
                    <a:pt x="83" y="97"/>
                  </a:lnTo>
                  <a:lnTo>
                    <a:pt x="74" y="102"/>
                  </a:lnTo>
                  <a:lnTo>
                    <a:pt x="64" y="105"/>
                  </a:lnTo>
                  <a:lnTo>
                    <a:pt x="54" y="106"/>
                  </a:lnTo>
                  <a:lnTo>
                    <a:pt x="42" y="105"/>
                  </a:lnTo>
                  <a:lnTo>
                    <a:pt x="33" y="102"/>
                  </a:lnTo>
                  <a:lnTo>
                    <a:pt x="23" y="97"/>
                  </a:lnTo>
                  <a:lnTo>
                    <a:pt x="15" y="91"/>
                  </a:lnTo>
                  <a:lnTo>
                    <a:pt x="9" y="83"/>
                  </a:lnTo>
                  <a:lnTo>
                    <a:pt x="4" y="74"/>
                  </a:lnTo>
                  <a:lnTo>
                    <a:pt x="1" y="64"/>
                  </a:lnTo>
                  <a:lnTo>
                    <a:pt x="0" y="54"/>
                  </a:lnTo>
                  <a:lnTo>
                    <a:pt x="1" y="42"/>
                  </a:lnTo>
                  <a:lnTo>
                    <a:pt x="4" y="32"/>
                  </a:lnTo>
                  <a:lnTo>
                    <a:pt x="9" y="23"/>
                  </a:lnTo>
                  <a:lnTo>
                    <a:pt x="15" y="15"/>
                  </a:lnTo>
                  <a:lnTo>
                    <a:pt x="23" y="9"/>
                  </a:lnTo>
                  <a:lnTo>
                    <a:pt x="33" y="4"/>
                  </a:lnTo>
                  <a:lnTo>
                    <a:pt x="42" y="1"/>
                  </a:lnTo>
                  <a:lnTo>
                    <a:pt x="54" y="0"/>
                  </a:lnTo>
                  <a:close/>
                  <a:moveTo>
                    <a:pt x="54" y="28"/>
                  </a:moveTo>
                  <a:lnTo>
                    <a:pt x="59" y="28"/>
                  </a:lnTo>
                  <a:lnTo>
                    <a:pt x="63" y="31"/>
                  </a:lnTo>
                  <a:lnTo>
                    <a:pt x="68" y="32"/>
                  </a:lnTo>
                  <a:lnTo>
                    <a:pt x="72" y="36"/>
                  </a:lnTo>
                  <a:lnTo>
                    <a:pt x="74" y="40"/>
                  </a:lnTo>
                  <a:lnTo>
                    <a:pt x="77" y="43"/>
                  </a:lnTo>
                  <a:lnTo>
                    <a:pt x="78" y="49"/>
                  </a:lnTo>
                  <a:lnTo>
                    <a:pt x="78" y="54"/>
                  </a:lnTo>
                  <a:lnTo>
                    <a:pt x="78" y="59"/>
                  </a:lnTo>
                  <a:lnTo>
                    <a:pt x="77" y="63"/>
                  </a:lnTo>
                  <a:lnTo>
                    <a:pt x="74" y="68"/>
                  </a:lnTo>
                  <a:lnTo>
                    <a:pt x="72" y="72"/>
                  </a:lnTo>
                  <a:lnTo>
                    <a:pt x="68" y="74"/>
                  </a:lnTo>
                  <a:lnTo>
                    <a:pt x="63" y="77"/>
                  </a:lnTo>
                  <a:lnTo>
                    <a:pt x="59" y="78"/>
                  </a:lnTo>
                  <a:lnTo>
                    <a:pt x="54" y="78"/>
                  </a:lnTo>
                  <a:lnTo>
                    <a:pt x="49" y="78"/>
                  </a:lnTo>
                  <a:lnTo>
                    <a:pt x="43" y="77"/>
                  </a:lnTo>
                  <a:lnTo>
                    <a:pt x="40" y="74"/>
                  </a:lnTo>
                  <a:lnTo>
                    <a:pt x="36" y="72"/>
                  </a:lnTo>
                  <a:lnTo>
                    <a:pt x="32" y="68"/>
                  </a:lnTo>
                  <a:lnTo>
                    <a:pt x="31" y="63"/>
                  </a:lnTo>
                  <a:lnTo>
                    <a:pt x="28" y="59"/>
                  </a:lnTo>
                  <a:lnTo>
                    <a:pt x="28" y="54"/>
                  </a:lnTo>
                  <a:lnTo>
                    <a:pt x="28" y="49"/>
                  </a:lnTo>
                  <a:lnTo>
                    <a:pt x="31" y="43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2"/>
                  </a:lnTo>
                  <a:lnTo>
                    <a:pt x="43" y="31"/>
                  </a:lnTo>
                  <a:lnTo>
                    <a:pt x="49" y="28"/>
                  </a:lnTo>
                  <a:lnTo>
                    <a:pt x="54" y="2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 313">
              <a:extLst>
                <a:ext uri="{FF2B5EF4-FFF2-40B4-BE49-F238E27FC236}">
                  <a16:creationId xmlns:a16="http://schemas.microsoft.com/office/drawing/2014/main" id="{38E0E8C8-D4DE-4A12-9EBD-9E9338A00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38507" y="5515205"/>
              <a:ext cx="55563" cy="57150"/>
            </a:xfrm>
            <a:custGeom>
              <a:avLst/>
              <a:gdLst>
                <a:gd name="T0" fmla="*/ 64 w 107"/>
                <a:gd name="T1" fmla="*/ 1 h 107"/>
                <a:gd name="T2" fmla="*/ 84 w 107"/>
                <a:gd name="T3" fmla="*/ 9 h 107"/>
                <a:gd name="T4" fmla="*/ 98 w 107"/>
                <a:gd name="T5" fmla="*/ 23 h 107"/>
                <a:gd name="T6" fmla="*/ 105 w 107"/>
                <a:gd name="T7" fmla="*/ 42 h 107"/>
                <a:gd name="T8" fmla="*/ 105 w 107"/>
                <a:gd name="T9" fmla="*/ 64 h 107"/>
                <a:gd name="T10" fmla="*/ 98 w 107"/>
                <a:gd name="T11" fmla="*/ 84 h 107"/>
                <a:gd name="T12" fmla="*/ 84 w 107"/>
                <a:gd name="T13" fmla="*/ 98 h 107"/>
                <a:gd name="T14" fmla="*/ 64 w 107"/>
                <a:gd name="T15" fmla="*/ 105 h 107"/>
                <a:gd name="T16" fmla="*/ 43 w 107"/>
                <a:gd name="T17" fmla="*/ 105 h 107"/>
                <a:gd name="T18" fmla="*/ 23 w 107"/>
                <a:gd name="T19" fmla="*/ 98 h 107"/>
                <a:gd name="T20" fmla="*/ 9 w 107"/>
                <a:gd name="T21" fmla="*/ 84 h 107"/>
                <a:gd name="T22" fmla="*/ 2 w 107"/>
                <a:gd name="T23" fmla="*/ 64 h 107"/>
                <a:gd name="T24" fmla="*/ 2 w 107"/>
                <a:gd name="T25" fmla="*/ 42 h 107"/>
                <a:gd name="T26" fmla="*/ 9 w 107"/>
                <a:gd name="T27" fmla="*/ 23 h 107"/>
                <a:gd name="T28" fmla="*/ 23 w 107"/>
                <a:gd name="T29" fmla="*/ 9 h 107"/>
                <a:gd name="T30" fmla="*/ 43 w 107"/>
                <a:gd name="T31" fmla="*/ 1 h 107"/>
                <a:gd name="T32" fmla="*/ 54 w 107"/>
                <a:gd name="T33" fmla="*/ 28 h 107"/>
                <a:gd name="T34" fmla="*/ 63 w 107"/>
                <a:gd name="T35" fmla="*/ 30 h 107"/>
                <a:gd name="T36" fmla="*/ 72 w 107"/>
                <a:gd name="T37" fmla="*/ 36 h 107"/>
                <a:gd name="T38" fmla="*/ 77 w 107"/>
                <a:gd name="T39" fmla="*/ 44 h 107"/>
                <a:gd name="T40" fmla="*/ 78 w 107"/>
                <a:gd name="T41" fmla="*/ 54 h 107"/>
                <a:gd name="T42" fmla="*/ 77 w 107"/>
                <a:gd name="T43" fmla="*/ 63 h 107"/>
                <a:gd name="T44" fmla="*/ 72 w 107"/>
                <a:gd name="T45" fmla="*/ 72 h 107"/>
                <a:gd name="T46" fmla="*/ 63 w 107"/>
                <a:gd name="T47" fmla="*/ 77 h 107"/>
                <a:gd name="T48" fmla="*/ 54 w 107"/>
                <a:gd name="T49" fmla="*/ 78 h 107"/>
                <a:gd name="T50" fmla="*/ 44 w 107"/>
                <a:gd name="T51" fmla="*/ 77 h 107"/>
                <a:gd name="T52" fmla="*/ 36 w 107"/>
                <a:gd name="T53" fmla="*/ 72 h 107"/>
                <a:gd name="T54" fmla="*/ 31 w 107"/>
                <a:gd name="T55" fmla="*/ 63 h 107"/>
                <a:gd name="T56" fmla="*/ 28 w 107"/>
                <a:gd name="T57" fmla="*/ 54 h 107"/>
                <a:gd name="T58" fmla="*/ 31 w 107"/>
                <a:gd name="T59" fmla="*/ 44 h 107"/>
                <a:gd name="T60" fmla="*/ 36 w 107"/>
                <a:gd name="T61" fmla="*/ 36 h 107"/>
                <a:gd name="T62" fmla="*/ 44 w 107"/>
                <a:gd name="T63" fmla="*/ 30 h 107"/>
                <a:gd name="T64" fmla="*/ 54 w 107"/>
                <a:gd name="T65" fmla="*/ 2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64" y="1"/>
                  </a:lnTo>
                  <a:lnTo>
                    <a:pt x="75" y="4"/>
                  </a:lnTo>
                  <a:lnTo>
                    <a:pt x="84" y="9"/>
                  </a:lnTo>
                  <a:lnTo>
                    <a:pt x="91" y="16"/>
                  </a:lnTo>
                  <a:lnTo>
                    <a:pt x="98" y="23"/>
                  </a:lnTo>
                  <a:lnTo>
                    <a:pt x="103" y="32"/>
                  </a:lnTo>
                  <a:lnTo>
                    <a:pt x="105" y="42"/>
                  </a:lnTo>
                  <a:lnTo>
                    <a:pt x="107" y="54"/>
                  </a:lnTo>
                  <a:lnTo>
                    <a:pt x="105" y="64"/>
                  </a:lnTo>
                  <a:lnTo>
                    <a:pt x="103" y="75"/>
                  </a:lnTo>
                  <a:lnTo>
                    <a:pt x="98" y="84"/>
                  </a:lnTo>
                  <a:lnTo>
                    <a:pt x="91" y="91"/>
                  </a:lnTo>
                  <a:lnTo>
                    <a:pt x="84" y="98"/>
                  </a:lnTo>
                  <a:lnTo>
                    <a:pt x="75" y="103"/>
                  </a:lnTo>
                  <a:lnTo>
                    <a:pt x="64" y="105"/>
                  </a:lnTo>
                  <a:lnTo>
                    <a:pt x="54" y="107"/>
                  </a:lnTo>
                  <a:lnTo>
                    <a:pt x="43" y="105"/>
                  </a:lnTo>
                  <a:lnTo>
                    <a:pt x="34" y="103"/>
                  </a:lnTo>
                  <a:lnTo>
                    <a:pt x="23" y="98"/>
                  </a:lnTo>
                  <a:lnTo>
                    <a:pt x="16" y="91"/>
                  </a:lnTo>
                  <a:lnTo>
                    <a:pt x="9" y="84"/>
                  </a:lnTo>
                  <a:lnTo>
                    <a:pt x="4" y="75"/>
                  </a:lnTo>
                  <a:lnTo>
                    <a:pt x="2" y="64"/>
                  </a:lnTo>
                  <a:lnTo>
                    <a:pt x="0" y="54"/>
                  </a:lnTo>
                  <a:lnTo>
                    <a:pt x="2" y="42"/>
                  </a:lnTo>
                  <a:lnTo>
                    <a:pt x="4" y="32"/>
                  </a:lnTo>
                  <a:lnTo>
                    <a:pt x="9" y="23"/>
                  </a:lnTo>
                  <a:lnTo>
                    <a:pt x="16" y="16"/>
                  </a:lnTo>
                  <a:lnTo>
                    <a:pt x="23" y="9"/>
                  </a:lnTo>
                  <a:lnTo>
                    <a:pt x="34" y="4"/>
                  </a:lnTo>
                  <a:lnTo>
                    <a:pt x="43" y="1"/>
                  </a:lnTo>
                  <a:lnTo>
                    <a:pt x="54" y="0"/>
                  </a:lnTo>
                  <a:close/>
                  <a:moveTo>
                    <a:pt x="54" y="28"/>
                  </a:moveTo>
                  <a:lnTo>
                    <a:pt x="59" y="28"/>
                  </a:lnTo>
                  <a:lnTo>
                    <a:pt x="63" y="30"/>
                  </a:lnTo>
                  <a:lnTo>
                    <a:pt x="68" y="32"/>
                  </a:lnTo>
                  <a:lnTo>
                    <a:pt x="72" y="36"/>
                  </a:lnTo>
                  <a:lnTo>
                    <a:pt x="75" y="40"/>
                  </a:lnTo>
                  <a:lnTo>
                    <a:pt x="77" y="44"/>
                  </a:lnTo>
                  <a:lnTo>
                    <a:pt x="78" y="49"/>
                  </a:lnTo>
                  <a:lnTo>
                    <a:pt x="78" y="54"/>
                  </a:lnTo>
                  <a:lnTo>
                    <a:pt x="78" y="59"/>
                  </a:lnTo>
                  <a:lnTo>
                    <a:pt x="77" y="63"/>
                  </a:lnTo>
                  <a:lnTo>
                    <a:pt x="75" y="68"/>
                  </a:lnTo>
                  <a:lnTo>
                    <a:pt x="72" y="72"/>
                  </a:lnTo>
                  <a:lnTo>
                    <a:pt x="68" y="75"/>
                  </a:lnTo>
                  <a:lnTo>
                    <a:pt x="63" y="77"/>
                  </a:lnTo>
                  <a:lnTo>
                    <a:pt x="59" y="78"/>
                  </a:lnTo>
                  <a:lnTo>
                    <a:pt x="54" y="78"/>
                  </a:lnTo>
                  <a:lnTo>
                    <a:pt x="49" y="78"/>
                  </a:lnTo>
                  <a:lnTo>
                    <a:pt x="44" y="77"/>
                  </a:lnTo>
                  <a:lnTo>
                    <a:pt x="40" y="75"/>
                  </a:lnTo>
                  <a:lnTo>
                    <a:pt x="36" y="72"/>
                  </a:lnTo>
                  <a:lnTo>
                    <a:pt x="32" y="68"/>
                  </a:lnTo>
                  <a:lnTo>
                    <a:pt x="31" y="63"/>
                  </a:lnTo>
                  <a:lnTo>
                    <a:pt x="28" y="59"/>
                  </a:lnTo>
                  <a:lnTo>
                    <a:pt x="28" y="54"/>
                  </a:lnTo>
                  <a:lnTo>
                    <a:pt x="28" y="49"/>
                  </a:lnTo>
                  <a:lnTo>
                    <a:pt x="31" y="44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2"/>
                  </a:lnTo>
                  <a:lnTo>
                    <a:pt x="44" y="30"/>
                  </a:lnTo>
                  <a:lnTo>
                    <a:pt x="49" y="28"/>
                  </a:lnTo>
                  <a:lnTo>
                    <a:pt x="54" y="2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 314">
              <a:extLst>
                <a:ext uri="{FF2B5EF4-FFF2-40B4-BE49-F238E27FC236}">
                  <a16:creationId xmlns:a16="http://schemas.microsoft.com/office/drawing/2014/main" id="{DC534302-0144-49DD-A0DD-0372DF1962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2182" y="5648555"/>
              <a:ext cx="57150" cy="57150"/>
            </a:xfrm>
            <a:custGeom>
              <a:avLst/>
              <a:gdLst>
                <a:gd name="T0" fmla="*/ 64 w 106"/>
                <a:gd name="T1" fmla="*/ 2 h 107"/>
                <a:gd name="T2" fmla="*/ 83 w 106"/>
                <a:gd name="T3" fmla="*/ 9 h 107"/>
                <a:gd name="T4" fmla="*/ 97 w 106"/>
                <a:gd name="T5" fmla="*/ 25 h 107"/>
                <a:gd name="T6" fmla="*/ 105 w 106"/>
                <a:gd name="T7" fmla="*/ 43 h 107"/>
                <a:gd name="T8" fmla="*/ 105 w 106"/>
                <a:gd name="T9" fmla="*/ 64 h 107"/>
                <a:gd name="T10" fmla="*/ 97 w 106"/>
                <a:gd name="T11" fmla="*/ 84 h 107"/>
                <a:gd name="T12" fmla="*/ 83 w 106"/>
                <a:gd name="T13" fmla="*/ 98 h 107"/>
                <a:gd name="T14" fmla="*/ 64 w 106"/>
                <a:gd name="T15" fmla="*/ 105 h 107"/>
                <a:gd name="T16" fmla="*/ 42 w 106"/>
                <a:gd name="T17" fmla="*/ 105 h 107"/>
                <a:gd name="T18" fmla="*/ 23 w 106"/>
                <a:gd name="T19" fmla="*/ 98 h 107"/>
                <a:gd name="T20" fmla="*/ 9 w 106"/>
                <a:gd name="T21" fmla="*/ 84 h 107"/>
                <a:gd name="T22" fmla="*/ 1 w 106"/>
                <a:gd name="T23" fmla="*/ 64 h 107"/>
                <a:gd name="T24" fmla="*/ 1 w 106"/>
                <a:gd name="T25" fmla="*/ 43 h 107"/>
                <a:gd name="T26" fmla="*/ 9 w 106"/>
                <a:gd name="T27" fmla="*/ 25 h 107"/>
                <a:gd name="T28" fmla="*/ 23 w 106"/>
                <a:gd name="T29" fmla="*/ 9 h 107"/>
                <a:gd name="T30" fmla="*/ 42 w 106"/>
                <a:gd name="T31" fmla="*/ 2 h 107"/>
                <a:gd name="T32" fmla="*/ 54 w 106"/>
                <a:gd name="T33" fmla="*/ 29 h 107"/>
                <a:gd name="T34" fmla="*/ 63 w 106"/>
                <a:gd name="T35" fmla="*/ 31 h 107"/>
                <a:gd name="T36" fmla="*/ 72 w 106"/>
                <a:gd name="T37" fmla="*/ 36 h 107"/>
                <a:gd name="T38" fmla="*/ 77 w 106"/>
                <a:gd name="T39" fmla="*/ 44 h 107"/>
                <a:gd name="T40" fmla="*/ 78 w 106"/>
                <a:gd name="T41" fmla="*/ 54 h 107"/>
                <a:gd name="T42" fmla="*/ 77 w 106"/>
                <a:gd name="T43" fmla="*/ 63 h 107"/>
                <a:gd name="T44" fmla="*/ 72 w 106"/>
                <a:gd name="T45" fmla="*/ 72 h 107"/>
                <a:gd name="T46" fmla="*/ 63 w 106"/>
                <a:gd name="T47" fmla="*/ 77 h 107"/>
                <a:gd name="T48" fmla="*/ 54 w 106"/>
                <a:gd name="T49" fmla="*/ 79 h 107"/>
                <a:gd name="T50" fmla="*/ 44 w 106"/>
                <a:gd name="T51" fmla="*/ 77 h 107"/>
                <a:gd name="T52" fmla="*/ 36 w 106"/>
                <a:gd name="T53" fmla="*/ 72 h 107"/>
                <a:gd name="T54" fmla="*/ 30 w 106"/>
                <a:gd name="T55" fmla="*/ 63 h 107"/>
                <a:gd name="T56" fmla="*/ 28 w 106"/>
                <a:gd name="T57" fmla="*/ 54 h 107"/>
                <a:gd name="T58" fmla="*/ 30 w 106"/>
                <a:gd name="T59" fmla="*/ 44 h 107"/>
                <a:gd name="T60" fmla="*/ 36 w 106"/>
                <a:gd name="T61" fmla="*/ 36 h 107"/>
                <a:gd name="T62" fmla="*/ 44 w 106"/>
                <a:gd name="T63" fmla="*/ 31 h 107"/>
                <a:gd name="T64" fmla="*/ 54 w 106"/>
                <a:gd name="T65" fmla="*/ 2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" h="107">
                  <a:moveTo>
                    <a:pt x="54" y="0"/>
                  </a:moveTo>
                  <a:lnTo>
                    <a:pt x="64" y="2"/>
                  </a:lnTo>
                  <a:lnTo>
                    <a:pt x="74" y="6"/>
                  </a:lnTo>
                  <a:lnTo>
                    <a:pt x="83" y="9"/>
                  </a:lnTo>
                  <a:lnTo>
                    <a:pt x="91" y="17"/>
                  </a:lnTo>
                  <a:lnTo>
                    <a:pt x="97" y="25"/>
                  </a:lnTo>
                  <a:lnTo>
                    <a:pt x="103" y="34"/>
                  </a:lnTo>
                  <a:lnTo>
                    <a:pt x="105" y="43"/>
                  </a:lnTo>
                  <a:lnTo>
                    <a:pt x="106" y="54"/>
                  </a:lnTo>
                  <a:lnTo>
                    <a:pt x="105" y="64"/>
                  </a:lnTo>
                  <a:lnTo>
                    <a:pt x="103" y="75"/>
                  </a:lnTo>
                  <a:lnTo>
                    <a:pt x="97" y="84"/>
                  </a:lnTo>
                  <a:lnTo>
                    <a:pt x="91" y="91"/>
                  </a:lnTo>
                  <a:lnTo>
                    <a:pt x="83" y="98"/>
                  </a:lnTo>
                  <a:lnTo>
                    <a:pt x="74" y="103"/>
                  </a:lnTo>
                  <a:lnTo>
                    <a:pt x="64" y="105"/>
                  </a:lnTo>
                  <a:lnTo>
                    <a:pt x="54" y="107"/>
                  </a:lnTo>
                  <a:lnTo>
                    <a:pt x="42" y="105"/>
                  </a:lnTo>
                  <a:lnTo>
                    <a:pt x="32" y="103"/>
                  </a:lnTo>
                  <a:lnTo>
                    <a:pt x="23" y="98"/>
                  </a:lnTo>
                  <a:lnTo>
                    <a:pt x="15" y="91"/>
                  </a:lnTo>
                  <a:lnTo>
                    <a:pt x="9" y="84"/>
                  </a:lnTo>
                  <a:lnTo>
                    <a:pt x="4" y="75"/>
                  </a:lnTo>
                  <a:lnTo>
                    <a:pt x="1" y="64"/>
                  </a:lnTo>
                  <a:lnTo>
                    <a:pt x="0" y="54"/>
                  </a:lnTo>
                  <a:lnTo>
                    <a:pt x="1" y="43"/>
                  </a:lnTo>
                  <a:lnTo>
                    <a:pt x="4" y="34"/>
                  </a:lnTo>
                  <a:lnTo>
                    <a:pt x="9" y="25"/>
                  </a:lnTo>
                  <a:lnTo>
                    <a:pt x="15" y="17"/>
                  </a:lnTo>
                  <a:lnTo>
                    <a:pt x="23" y="9"/>
                  </a:lnTo>
                  <a:lnTo>
                    <a:pt x="32" y="6"/>
                  </a:lnTo>
                  <a:lnTo>
                    <a:pt x="42" y="2"/>
                  </a:lnTo>
                  <a:lnTo>
                    <a:pt x="54" y="0"/>
                  </a:lnTo>
                  <a:close/>
                  <a:moveTo>
                    <a:pt x="54" y="29"/>
                  </a:moveTo>
                  <a:lnTo>
                    <a:pt x="59" y="30"/>
                  </a:lnTo>
                  <a:lnTo>
                    <a:pt x="63" y="31"/>
                  </a:lnTo>
                  <a:lnTo>
                    <a:pt x="68" y="34"/>
                  </a:lnTo>
                  <a:lnTo>
                    <a:pt x="72" y="36"/>
                  </a:lnTo>
                  <a:lnTo>
                    <a:pt x="74" y="40"/>
                  </a:lnTo>
                  <a:lnTo>
                    <a:pt x="77" y="44"/>
                  </a:lnTo>
                  <a:lnTo>
                    <a:pt x="78" y="49"/>
                  </a:lnTo>
                  <a:lnTo>
                    <a:pt x="78" y="54"/>
                  </a:lnTo>
                  <a:lnTo>
                    <a:pt x="78" y="59"/>
                  </a:lnTo>
                  <a:lnTo>
                    <a:pt x="77" y="63"/>
                  </a:lnTo>
                  <a:lnTo>
                    <a:pt x="74" y="68"/>
                  </a:lnTo>
                  <a:lnTo>
                    <a:pt x="72" y="72"/>
                  </a:lnTo>
                  <a:lnTo>
                    <a:pt x="68" y="75"/>
                  </a:lnTo>
                  <a:lnTo>
                    <a:pt x="63" y="77"/>
                  </a:lnTo>
                  <a:lnTo>
                    <a:pt x="59" y="79"/>
                  </a:lnTo>
                  <a:lnTo>
                    <a:pt x="54" y="79"/>
                  </a:lnTo>
                  <a:lnTo>
                    <a:pt x="49" y="79"/>
                  </a:lnTo>
                  <a:lnTo>
                    <a:pt x="44" y="77"/>
                  </a:lnTo>
                  <a:lnTo>
                    <a:pt x="40" y="75"/>
                  </a:lnTo>
                  <a:lnTo>
                    <a:pt x="36" y="72"/>
                  </a:lnTo>
                  <a:lnTo>
                    <a:pt x="32" y="68"/>
                  </a:lnTo>
                  <a:lnTo>
                    <a:pt x="30" y="63"/>
                  </a:lnTo>
                  <a:lnTo>
                    <a:pt x="28" y="59"/>
                  </a:lnTo>
                  <a:lnTo>
                    <a:pt x="28" y="54"/>
                  </a:lnTo>
                  <a:lnTo>
                    <a:pt x="28" y="49"/>
                  </a:lnTo>
                  <a:lnTo>
                    <a:pt x="30" y="44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4"/>
                  </a:lnTo>
                  <a:lnTo>
                    <a:pt x="44" y="31"/>
                  </a:lnTo>
                  <a:lnTo>
                    <a:pt x="49" y="30"/>
                  </a:lnTo>
                  <a:lnTo>
                    <a:pt x="54" y="2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315">
              <a:extLst>
                <a:ext uri="{FF2B5EF4-FFF2-40B4-BE49-F238E27FC236}">
                  <a16:creationId xmlns:a16="http://schemas.microsoft.com/office/drawing/2014/main" id="{FBEBF783-A8BB-4926-895E-1DC2A4A0E6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63907" y="5373918"/>
              <a:ext cx="14288" cy="1301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 309">
              <a:extLst>
                <a:ext uri="{FF2B5EF4-FFF2-40B4-BE49-F238E27FC236}">
                  <a16:creationId xmlns:a16="http://schemas.microsoft.com/office/drawing/2014/main" id="{3F3EF86B-5051-4B3D-BEBE-84586F39DB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8532" y="5175480"/>
              <a:ext cx="55563" cy="55563"/>
            </a:xfrm>
            <a:custGeom>
              <a:avLst/>
              <a:gdLst>
                <a:gd name="T0" fmla="*/ 64 w 107"/>
                <a:gd name="T1" fmla="*/ 1 h 106"/>
                <a:gd name="T2" fmla="*/ 82 w 107"/>
                <a:gd name="T3" fmla="*/ 8 h 106"/>
                <a:gd name="T4" fmla="*/ 98 w 107"/>
                <a:gd name="T5" fmla="*/ 23 h 106"/>
                <a:gd name="T6" fmla="*/ 105 w 107"/>
                <a:gd name="T7" fmla="*/ 42 h 106"/>
                <a:gd name="T8" fmla="*/ 105 w 107"/>
                <a:gd name="T9" fmla="*/ 64 h 106"/>
                <a:gd name="T10" fmla="*/ 98 w 107"/>
                <a:gd name="T11" fmla="*/ 83 h 106"/>
                <a:gd name="T12" fmla="*/ 82 w 107"/>
                <a:gd name="T13" fmla="*/ 97 h 106"/>
                <a:gd name="T14" fmla="*/ 64 w 107"/>
                <a:gd name="T15" fmla="*/ 105 h 106"/>
                <a:gd name="T16" fmla="*/ 43 w 107"/>
                <a:gd name="T17" fmla="*/ 105 h 106"/>
                <a:gd name="T18" fmla="*/ 23 w 107"/>
                <a:gd name="T19" fmla="*/ 97 h 106"/>
                <a:gd name="T20" fmla="*/ 9 w 107"/>
                <a:gd name="T21" fmla="*/ 83 h 106"/>
                <a:gd name="T22" fmla="*/ 2 w 107"/>
                <a:gd name="T23" fmla="*/ 64 h 106"/>
                <a:gd name="T24" fmla="*/ 2 w 107"/>
                <a:gd name="T25" fmla="*/ 42 h 106"/>
                <a:gd name="T26" fmla="*/ 9 w 107"/>
                <a:gd name="T27" fmla="*/ 23 h 106"/>
                <a:gd name="T28" fmla="*/ 23 w 107"/>
                <a:gd name="T29" fmla="*/ 8 h 106"/>
                <a:gd name="T30" fmla="*/ 43 w 107"/>
                <a:gd name="T31" fmla="*/ 1 h 106"/>
                <a:gd name="T32" fmla="*/ 53 w 107"/>
                <a:gd name="T33" fmla="*/ 28 h 106"/>
                <a:gd name="T34" fmla="*/ 63 w 107"/>
                <a:gd name="T35" fmla="*/ 29 h 106"/>
                <a:gd name="T36" fmla="*/ 71 w 107"/>
                <a:gd name="T37" fmla="*/ 35 h 106"/>
                <a:gd name="T38" fmla="*/ 76 w 107"/>
                <a:gd name="T39" fmla="*/ 43 h 106"/>
                <a:gd name="T40" fmla="*/ 78 w 107"/>
                <a:gd name="T41" fmla="*/ 52 h 106"/>
                <a:gd name="T42" fmla="*/ 76 w 107"/>
                <a:gd name="T43" fmla="*/ 62 h 106"/>
                <a:gd name="T44" fmla="*/ 71 w 107"/>
                <a:gd name="T45" fmla="*/ 70 h 106"/>
                <a:gd name="T46" fmla="*/ 63 w 107"/>
                <a:gd name="T47" fmla="*/ 76 h 106"/>
                <a:gd name="T48" fmla="*/ 53 w 107"/>
                <a:gd name="T49" fmla="*/ 78 h 106"/>
                <a:gd name="T50" fmla="*/ 44 w 107"/>
                <a:gd name="T51" fmla="*/ 76 h 106"/>
                <a:gd name="T52" fmla="*/ 35 w 107"/>
                <a:gd name="T53" fmla="*/ 70 h 106"/>
                <a:gd name="T54" fmla="*/ 30 w 107"/>
                <a:gd name="T55" fmla="*/ 62 h 106"/>
                <a:gd name="T56" fmla="*/ 27 w 107"/>
                <a:gd name="T57" fmla="*/ 52 h 106"/>
                <a:gd name="T58" fmla="*/ 30 w 107"/>
                <a:gd name="T59" fmla="*/ 43 h 106"/>
                <a:gd name="T60" fmla="*/ 35 w 107"/>
                <a:gd name="T61" fmla="*/ 35 h 106"/>
                <a:gd name="T62" fmla="*/ 44 w 107"/>
                <a:gd name="T63" fmla="*/ 29 h 106"/>
                <a:gd name="T64" fmla="*/ 53 w 107"/>
                <a:gd name="T65" fmla="*/ 2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7" h="106">
                  <a:moveTo>
                    <a:pt x="53" y="0"/>
                  </a:moveTo>
                  <a:lnTo>
                    <a:pt x="64" y="1"/>
                  </a:lnTo>
                  <a:lnTo>
                    <a:pt x="73" y="3"/>
                  </a:lnTo>
                  <a:lnTo>
                    <a:pt x="82" y="8"/>
                  </a:lnTo>
                  <a:lnTo>
                    <a:pt x="90" y="15"/>
                  </a:lnTo>
                  <a:lnTo>
                    <a:pt x="98" y="23"/>
                  </a:lnTo>
                  <a:lnTo>
                    <a:pt x="102" y="32"/>
                  </a:lnTo>
                  <a:lnTo>
                    <a:pt x="105" y="42"/>
                  </a:lnTo>
                  <a:lnTo>
                    <a:pt x="107" y="52"/>
                  </a:lnTo>
                  <a:lnTo>
                    <a:pt x="105" y="64"/>
                  </a:lnTo>
                  <a:lnTo>
                    <a:pt x="102" y="74"/>
                  </a:lnTo>
                  <a:lnTo>
                    <a:pt x="98" y="83"/>
                  </a:lnTo>
                  <a:lnTo>
                    <a:pt x="90" y="91"/>
                  </a:lnTo>
                  <a:lnTo>
                    <a:pt x="82" y="97"/>
                  </a:lnTo>
                  <a:lnTo>
                    <a:pt x="73" y="102"/>
                  </a:lnTo>
                  <a:lnTo>
                    <a:pt x="64" y="105"/>
                  </a:lnTo>
                  <a:lnTo>
                    <a:pt x="53" y="106"/>
                  </a:lnTo>
                  <a:lnTo>
                    <a:pt x="43" y="105"/>
                  </a:lnTo>
                  <a:lnTo>
                    <a:pt x="32" y="102"/>
                  </a:lnTo>
                  <a:lnTo>
                    <a:pt x="23" y="97"/>
                  </a:lnTo>
                  <a:lnTo>
                    <a:pt x="16" y="91"/>
                  </a:lnTo>
                  <a:lnTo>
                    <a:pt x="9" y="83"/>
                  </a:lnTo>
                  <a:lnTo>
                    <a:pt x="4" y="74"/>
                  </a:lnTo>
                  <a:lnTo>
                    <a:pt x="2" y="64"/>
                  </a:lnTo>
                  <a:lnTo>
                    <a:pt x="0" y="52"/>
                  </a:lnTo>
                  <a:lnTo>
                    <a:pt x="2" y="42"/>
                  </a:lnTo>
                  <a:lnTo>
                    <a:pt x="4" y="32"/>
                  </a:lnTo>
                  <a:lnTo>
                    <a:pt x="9" y="23"/>
                  </a:lnTo>
                  <a:lnTo>
                    <a:pt x="16" y="15"/>
                  </a:lnTo>
                  <a:lnTo>
                    <a:pt x="23" y="8"/>
                  </a:lnTo>
                  <a:lnTo>
                    <a:pt x="32" y="3"/>
                  </a:lnTo>
                  <a:lnTo>
                    <a:pt x="43" y="1"/>
                  </a:lnTo>
                  <a:lnTo>
                    <a:pt x="53" y="0"/>
                  </a:lnTo>
                  <a:close/>
                  <a:moveTo>
                    <a:pt x="53" y="28"/>
                  </a:moveTo>
                  <a:lnTo>
                    <a:pt x="58" y="28"/>
                  </a:lnTo>
                  <a:lnTo>
                    <a:pt x="63" y="29"/>
                  </a:lnTo>
                  <a:lnTo>
                    <a:pt x="67" y="32"/>
                  </a:lnTo>
                  <a:lnTo>
                    <a:pt x="71" y="35"/>
                  </a:lnTo>
                  <a:lnTo>
                    <a:pt x="73" y="38"/>
                  </a:lnTo>
                  <a:lnTo>
                    <a:pt x="76" y="43"/>
                  </a:lnTo>
                  <a:lnTo>
                    <a:pt x="77" y="47"/>
                  </a:lnTo>
                  <a:lnTo>
                    <a:pt x="78" y="52"/>
                  </a:lnTo>
                  <a:lnTo>
                    <a:pt x="77" y="57"/>
                  </a:lnTo>
                  <a:lnTo>
                    <a:pt x="76" y="62"/>
                  </a:lnTo>
                  <a:lnTo>
                    <a:pt x="73" y="66"/>
                  </a:lnTo>
                  <a:lnTo>
                    <a:pt x="71" y="70"/>
                  </a:lnTo>
                  <a:lnTo>
                    <a:pt x="67" y="74"/>
                  </a:lnTo>
                  <a:lnTo>
                    <a:pt x="63" y="76"/>
                  </a:lnTo>
                  <a:lnTo>
                    <a:pt x="58" y="78"/>
                  </a:lnTo>
                  <a:lnTo>
                    <a:pt x="53" y="78"/>
                  </a:lnTo>
                  <a:lnTo>
                    <a:pt x="48" y="78"/>
                  </a:lnTo>
                  <a:lnTo>
                    <a:pt x="44" y="76"/>
                  </a:lnTo>
                  <a:lnTo>
                    <a:pt x="39" y="74"/>
                  </a:lnTo>
                  <a:lnTo>
                    <a:pt x="35" y="70"/>
                  </a:lnTo>
                  <a:lnTo>
                    <a:pt x="32" y="66"/>
                  </a:lnTo>
                  <a:lnTo>
                    <a:pt x="30" y="62"/>
                  </a:lnTo>
                  <a:lnTo>
                    <a:pt x="28" y="57"/>
                  </a:lnTo>
                  <a:lnTo>
                    <a:pt x="27" y="52"/>
                  </a:lnTo>
                  <a:lnTo>
                    <a:pt x="28" y="47"/>
                  </a:lnTo>
                  <a:lnTo>
                    <a:pt x="30" y="43"/>
                  </a:lnTo>
                  <a:lnTo>
                    <a:pt x="32" y="38"/>
                  </a:lnTo>
                  <a:lnTo>
                    <a:pt x="35" y="35"/>
                  </a:lnTo>
                  <a:lnTo>
                    <a:pt x="39" y="32"/>
                  </a:lnTo>
                  <a:lnTo>
                    <a:pt x="44" y="29"/>
                  </a:lnTo>
                  <a:lnTo>
                    <a:pt x="48" y="28"/>
                  </a:lnTo>
                  <a:lnTo>
                    <a:pt x="53" y="2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Freeform 312">
              <a:extLst>
                <a:ext uri="{FF2B5EF4-FFF2-40B4-BE49-F238E27FC236}">
                  <a16:creationId xmlns:a16="http://schemas.microsoft.com/office/drawing/2014/main" id="{FE78A32E-07FD-410F-97C1-16C84D1B20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33744" y="5291368"/>
              <a:ext cx="55563" cy="57150"/>
            </a:xfrm>
            <a:custGeom>
              <a:avLst/>
              <a:gdLst>
                <a:gd name="T0" fmla="*/ 63 w 105"/>
                <a:gd name="T1" fmla="*/ 2 h 107"/>
                <a:gd name="T2" fmla="*/ 82 w 105"/>
                <a:gd name="T3" fmla="*/ 9 h 107"/>
                <a:gd name="T4" fmla="*/ 96 w 105"/>
                <a:gd name="T5" fmla="*/ 25 h 107"/>
                <a:gd name="T6" fmla="*/ 105 w 105"/>
                <a:gd name="T7" fmla="*/ 43 h 107"/>
                <a:gd name="T8" fmla="*/ 105 w 105"/>
                <a:gd name="T9" fmla="*/ 64 h 107"/>
                <a:gd name="T10" fmla="*/ 96 w 105"/>
                <a:gd name="T11" fmla="*/ 84 h 107"/>
                <a:gd name="T12" fmla="*/ 82 w 105"/>
                <a:gd name="T13" fmla="*/ 98 h 107"/>
                <a:gd name="T14" fmla="*/ 63 w 105"/>
                <a:gd name="T15" fmla="*/ 105 h 107"/>
                <a:gd name="T16" fmla="*/ 43 w 105"/>
                <a:gd name="T17" fmla="*/ 105 h 107"/>
                <a:gd name="T18" fmla="*/ 23 w 105"/>
                <a:gd name="T19" fmla="*/ 98 h 107"/>
                <a:gd name="T20" fmla="*/ 9 w 105"/>
                <a:gd name="T21" fmla="*/ 84 h 107"/>
                <a:gd name="T22" fmla="*/ 0 w 105"/>
                <a:gd name="T23" fmla="*/ 64 h 107"/>
                <a:gd name="T24" fmla="*/ 0 w 105"/>
                <a:gd name="T25" fmla="*/ 43 h 107"/>
                <a:gd name="T26" fmla="*/ 9 w 105"/>
                <a:gd name="T27" fmla="*/ 25 h 107"/>
                <a:gd name="T28" fmla="*/ 23 w 105"/>
                <a:gd name="T29" fmla="*/ 9 h 107"/>
                <a:gd name="T30" fmla="*/ 43 w 105"/>
                <a:gd name="T31" fmla="*/ 2 h 107"/>
                <a:gd name="T32" fmla="*/ 53 w 105"/>
                <a:gd name="T33" fmla="*/ 28 h 107"/>
                <a:gd name="T34" fmla="*/ 63 w 105"/>
                <a:gd name="T35" fmla="*/ 31 h 107"/>
                <a:gd name="T36" fmla="*/ 71 w 105"/>
                <a:gd name="T37" fmla="*/ 36 h 107"/>
                <a:gd name="T38" fmla="*/ 76 w 105"/>
                <a:gd name="T39" fmla="*/ 44 h 107"/>
                <a:gd name="T40" fmla="*/ 78 w 105"/>
                <a:gd name="T41" fmla="*/ 54 h 107"/>
                <a:gd name="T42" fmla="*/ 76 w 105"/>
                <a:gd name="T43" fmla="*/ 63 h 107"/>
                <a:gd name="T44" fmla="*/ 71 w 105"/>
                <a:gd name="T45" fmla="*/ 72 h 107"/>
                <a:gd name="T46" fmla="*/ 63 w 105"/>
                <a:gd name="T47" fmla="*/ 77 h 107"/>
                <a:gd name="T48" fmla="*/ 53 w 105"/>
                <a:gd name="T49" fmla="*/ 78 h 107"/>
                <a:gd name="T50" fmla="*/ 43 w 105"/>
                <a:gd name="T51" fmla="*/ 77 h 107"/>
                <a:gd name="T52" fmla="*/ 35 w 105"/>
                <a:gd name="T53" fmla="*/ 72 h 107"/>
                <a:gd name="T54" fmla="*/ 30 w 105"/>
                <a:gd name="T55" fmla="*/ 63 h 107"/>
                <a:gd name="T56" fmla="*/ 27 w 105"/>
                <a:gd name="T57" fmla="*/ 54 h 107"/>
                <a:gd name="T58" fmla="*/ 30 w 105"/>
                <a:gd name="T59" fmla="*/ 44 h 107"/>
                <a:gd name="T60" fmla="*/ 35 w 105"/>
                <a:gd name="T61" fmla="*/ 36 h 107"/>
                <a:gd name="T62" fmla="*/ 43 w 105"/>
                <a:gd name="T63" fmla="*/ 31 h 107"/>
                <a:gd name="T64" fmla="*/ 53 w 105"/>
                <a:gd name="T65" fmla="*/ 2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107">
                  <a:moveTo>
                    <a:pt x="53" y="0"/>
                  </a:moveTo>
                  <a:lnTo>
                    <a:pt x="63" y="2"/>
                  </a:lnTo>
                  <a:lnTo>
                    <a:pt x="73" y="5"/>
                  </a:lnTo>
                  <a:lnTo>
                    <a:pt x="82" y="9"/>
                  </a:lnTo>
                  <a:lnTo>
                    <a:pt x="90" y="16"/>
                  </a:lnTo>
                  <a:lnTo>
                    <a:pt x="96" y="25"/>
                  </a:lnTo>
                  <a:lnTo>
                    <a:pt x="102" y="34"/>
                  </a:lnTo>
                  <a:lnTo>
                    <a:pt x="105" y="43"/>
                  </a:lnTo>
                  <a:lnTo>
                    <a:pt x="105" y="54"/>
                  </a:lnTo>
                  <a:lnTo>
                    <a:pt x="105" y="64"/>
                  </a:lnTo>
                  <a:lnTo>
                    <a:pt x="102" y="75"/>
                  </a:lnTo>
                  <a:lnTo>
                    <a:pt x="96" y="84"/>
                  </a:lnTo>
                  <a:lnTo>
                    <a:pt x="90" y="91"/>
                  </a:lnTo>
                  <a:lnTo>
                    <a:pt x="82" y="98"/>
                  </a:lnTo>
                  <a:lnTo>
                    <a:pt x="73" y="103"/>
                  </a:lnTo>
                  <a:lnTo>
                    <a:pt x="63" y="105"/>
                  </a:lnTo>
                  <a:lnTo>
                    <a:pt x="53" y="107"/>
                  </a:lnTo>
                  <a:lnTo>
                    <a:pt x="43" y="105"/>
                  </a:lnTo>
                  <a:lnTo>
                    <a:pt x="32" y="103"/>
                  </a:lnTo>
                  <a:lnTo>
                    <a:pt x="23" y="98"/>
                  </a:lnTo>
                  <a:lnTo>
                    <a:pt x="16" y="91"/>
                  </a:lnTo>
                  <a:lnTo>
                    <a:pt x="9" y="84"/>
                  </a:lnTo>
                  <a:lnTo>
                    <a:pt x="4" y="75"/>
                  </a:lnTo>
                  <a:lnTo>
                    <a:pt x="0" y="64"/>
                  </a:lnTo>
                  <a:lnTo>
                    <a:pt x="0" y="54"/>
                  </a:lnTo>
                  <a:lnTo>
                    <a:pt x="0" y="43"/>
                  </a:lnTo>
                  <a:lnTo>
                    <a:pt x="4" y="34"/>
                  </a:lnTo>
                  <a:lnTo>
                    <a:pt x="9" y="25"/>
                  </a:lnTo>
                  <a:lnTo>
                    <a:pt x="16" y="16"/>
                  </a:lnTo>
                  <a:lnTo>
                    <a:pt x="23" y="9"/>
                  </a:lnTo>
                  <a:lnTo>
                    <a:pt x="32" y="5"/>
                  </a:lnTo>
                  <a:lnTo>
                    <a:pt x="43" y="2"/>
                  </a:lnTo>
                  <a:lnTo>
                    <a:pt x="53" y="0"/>
                  </a:lnTo>
                  <a:close/>
                  <a:moveTo>
                    <a:pt x="53" y="28"/>
                  </a:moveTo>
                  <a:lnTo>
                    <a:pt x="58" y="28"/>
                  </a:lnTo>
                  <a:lnTo>
                    <a:pt x="63" y="31"/>
                  </a:lnTo>
                  <a:lnTo>
                    <a:pt x="67" y="32"/>
                  </a:lnTo>
                  <a:lnTo>
                    <a:pt x="71" y="36"/>
                  </a:lnTo>
                  <a:lnTo>
                    <a:pt x="73" y="40"/>
                  </a:lnTo>
                  <a:lnTo>
                    <a:pt x="76" y="44"/>
                  </a:lnTo>
                  <a:lnTo>
                    <a:pt x="77" y="49"/>
                  </a:lnTo>
                  <a:lnTo>
                    <a:pt x="78" y="54"/>
                  </a:lnTo>
                  <a:lnTo>
                    <a:pt x="77" y="59"/>
                  </a:lnTo>
                  <a:lnTo>
                    <a:pt x="76" y="63"/>
                  </a:lnTo>
                  <a:lnTo>
                    <a:pt x="73" y="68"/>
                  </a:lnTo>
                  <a:lnTo>
                    <a:pt x="71" y="72"/>
                  </a:lnTo>
                  <a:lnTo>
                    <a:pt x="67" y="75"/>
                  </a:lnTo>
                  <a:lnTo>
                    <a:pt x="63" y="77"/>
                  </a:lnTo>
                  <a:lnTo>
                    <a:pt x="58" y="78"/>
                  </a:lnTo>
                  <a:lnTo>
                    <a:pt x="53" y="78"/>
                  </a:lnTo>
                  <a:lnTo>
                    <a:pt x="48" y="78"/>
                  </a:lnTo>
                  <a:lnTo>
                    <a:pt x="43" y="77"/>
                  </a:lnTo>
                  <a:lnTo>
                    <a:pt x="39" y="75"/>
                  </a:lnTo>
                  <a:lnTo>
                    <a:pt x="35" y="72"/>
                  </a:lnTo>
                  <a:lnTo>
                    <a:pt x="32" y="68"/>
                  </a:lnTo>
                  <a:lnTo>
                    <a:pt x="30" y="63"/>
                  </a:lnTo>
                  <a:lnTo>
                    <a:pt x="29" y="59"/>
                  </a:lnTo>
                  <a:lnTo>
                    <a:pt x="27" y="54"/>
                  </a:lnTo>
                  <a:lnTo>
                    <a:pt x="29" y="49"/>
                  </a:lnTo>
                  <a:lnTo>
                    <a:pt x="30" y="44"/>
                  </a:lnTo>
                  <a:lnTo>
                    <a:pt x="32" y="40"/>
                  </a:lnTo>
                  <a:lnTo>
                    <a:pt x="35" y="36"/>
                  </a:lnTo>
                  <a:lnTo>
                    <a:pt x="39" y="32"/>
                  </a:lnTo>
                  <a:lnTo>
                    <a:pt x="43" y="31"/>
                  </a:lnTo>
                  <a:lnTo>
                    <a:pt x="48" y="28"/>
                  </a:lnTo>
                  <a:lnTo>
                    <a:pt x="53" y="2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Freeform 316">
              <a:extLst>
                <a:ext uri="{FF2B5EF4-FFF2-40B4-BE49-F238E27FC236}">
                  <a16:creationId xmlns:a16="http://schemas.microsoft.com/office/drawing/2014/main" id="{FDEBAA57-0DA9-4BB4-A4DE-666D87B09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9944" y="5218343"/>
              <a:ext cx="107950" cy="85725"/>
            </a:xfrm>
            <a:custGeom>
              <a:avLst/>
              <a:gdLst>
                <a:gd name="T0" fmla="*/ 0 w 206"/>
                <a:gd name="T1" fmla="*/ 142 h 162"/>
                <a:gd name="T2" fmla="*/ 191 w 206"/>
                <a:gd name="T3" fmla="*/ 0 h 162"/>
                <a:gd name="T4" fmla="*/ 206 w 206"/>
                <a:gd name="T5" fmla="*/ 20 h 162"/>
                <a:gd name="T6" fmla="*/ 15 w 206"/>
                <a:gd name="T7" fmla="*/ 162 h 162"/>
                <a:gd name="T8" fmla="*/ 0 w 206"/>
                <a:gd name="T9" fmla="*/ 14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162">
                  <a:moveTo>
                    <a:pt x="0" y="142"/>
                  </a:moveTo>
                  <a:lnTo>
                    <a:pt x="191" y="0"/>
                  </a:lnTo>
                  <a:lnTo>
                    <a:pt x="206" y="20"/>
                  </a:lnTo>
                  <a:lnTo>
                    <a:pt x="15" y="162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Freeform 317">
              <a:extLst>
                <a:ext uri="{FF2B5EF4-FFF2-40B4-BE49-F238E27FC236}">
                  <a16:creationId xmlns:a16="http://schemas.microsoft.com/office/drawing/2014/main" id="{742830E0-A339-4B40-BDB1-6B0D6FA83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8382" y="5221518"/>
              <a:ext cx="112713" cy="84138"/>
            </a:xfrm>
            <a:custGeom>
              <a:avLst/>
              <a:gdLst>
                <a:gd name="T0" fmla="*/ 196 w 211"/>
                <a:gd name="T1" fmla="*/ 160 h 160"/>
                <a:gd name="T2" fmla="*/ 0 w 211"/>
                <a:gd name="T3" fmla="*/ 22 h 160"/>
                <a:gd name="T4" fmla="*/ 15 w 211"/>
                <a:gd name="T5" fmla="*/ 0 h 160"/>
                <a:gd name="T6" fmla="*/ 211 w 211"/>
                <a:gd name="T7" fmla="*/ 138 h 160"/>
                <a:gd name="T8" fmla="*/ 196 w 211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160">
                  <a:moveTo>
                    <a:pt x="196" y="160"/>
                  </a:moveTo>
                  <a:lnTo>
                    <a:pt x="0" y="22"/>
                  </a:lnTo>
                  <a:lnTo>
                    <a:pt x="15" y="0"/>
                  </a:lnTo>
                  <a:lnTo>
                    <a:pt x="211" y="138"/>
                  </a:lnTo>
                  <a:lnTo>
                    <a:pt x="196" y="16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Freeform 318">
              <a:extLst>
                <a:ext uri="{FF2B5EF4-FFF2-40B4-BE49-F238E27FC236}">
                  <a16:creationId xmlns:a16="http://schemas.microsoft.com/office/drawing/2014/main" id="{4586F016-457C-4707-B0D6-F3CF8B6BC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5182" y="5575530"/>
              <a:ext cx="111125" cy="77788"/>
            </a:xfrm>
            <a:custGeom>
              <a:avLst/>
              <a:gdLst>
                <a:gd name="T0" fmla="*/ 15 w 209"/>
                <a:gd name="T1" fmla="*/ 0 h 147"/>
                <a:gd name="T2" fmla="*/ 209 w 209"/>
                <a:gd name="T3" fmla="*/ 125 h 147"/>
                <a:gd name="T4" fmla="*/ 195 w 209"/>
                <a:gd name="T5" fmla="*/ 147 h 147"/>
                <a:gd name="T6" fmla="*/ 0 w 209"/>
                <a:gd name="T7" fmla="*/ 21 h 147"/>
                <a:gd name="T8" fmla="*/ 15 w 209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147">
                  <a:moveTo>
                    <a:pt x="15" y="0"/>
                  </a:moveTo>
                  <a:lnTo>
                    <a:pt x="209" y="125"/>
                  </a:lnTo>
                  <a:lnTo>
                    <a:pt x="195" y="147"/>
                  </a:lnTo>
                  <a:lnTo>
                    <a:pt x="0" y="21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Freeform 319">
              <a:extLst>
                <a:ext uri="{FF2B5EF4-FFF2-40B4-BE49-F238E27FC236}">
                  <a16:creationId xmlns:a16="http://schemas.microsoft.com/office/drawing/2014/main" id="{99475797-0E87-4311-AF67-35937EADB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5207" y="5578705"/>
              <a:ext cx="106363" cy="76200"/>
            </a:xfrm>
            <a:custGeom>
              <a:avLst/>
              <a:gdLst>
                <a:gd name="T0" fmla="*/ 0 w 201"/>
                <a:gd name="T1" fmla="*/ 125 h 145"/>
                <a:gd name="T2" fmla="*/ 187 w 201"/>
                <a:gd name="T3" fmla="*/ 0 h 145"/>
                <a:gd name="T4" fmla="*/ 201 w 201"/>
                <a:gd name="T5" fmla="*/ 21 h 145"/>
                <a:gd name="T6" fmla="*/ 14 w 201"/>
                <a:gd name="T7" fmla="*/ 145 h 145"/>
                <a:gd name="T8" fmla="*/ 0 w 201"/>
                <a:gd name="T9" fmla="*/ 12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145">
                  <a:moveTo>
                    <a:pt x="0" y="125"/>
                  </a:moveTo>
                  <a:lnTo>
                    <a:pt x="187" y="0"/>
                  </a:lnTo>
                  <a:lnTo>
                    <a:pt x="201" y="21"/>
                  </a:lnTo>
                  <a:lnTo>
                    <a:pt x="14" y="145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Rectangle 320">
              <a:extLst>
                <a:ext uri="{FF2B5EF4-FFF2-40B4-BE49-F238E27FC236}">
                  <a16:creationId xmlns:a16="http://schemas.microsoft.com/office/drawing/2014/main" id="{0673DFB4-7DD3-4E86-9463-9A80B9ED58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46494" y="5385030"/>
              <a:ext cx="14288" cy="1111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307">
              <a:extLst>
                <a:ext uri="{FF2B5EF4-FFF2-40B4-BE49-F238E27FC236}">
                  <a16:creationId xmlns:a16="http://schemas.microsoft.com/office/drawing/2014/main" id="{ED2FFC3F-2348-47CF-A2DF-CA0E50626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9782" y="5327880"/>
              <a:ext cx="50800" cy="38100"/>
            </a:xfrm>
            <a:custGeom>
              <a:avLst/>
              <a:gdLst>
                <a:gd name="T0" fmla="*/ 14 w 96"/>
                <a:gd name="T1" fmla="*/ 0 h 72"/>
                <a:gd name="T2" fmla="*/ 96 w 96"/>
                <a:gd name="T3" fmla="*/ 50 h 72"/>
                <a:gd name="T4" fmla="*/ 82 w 96"/>
                <a:gd name="T5" fmla="*/ 72 h 72"/>
                <a:gd name="T6" fmla="*/ 0 w 96"/>
                <a:gd name="T7" fmla="*/ 23 h 72"/>
                <a:gd name="T8" fmla="*/ 14 w 96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72">
                  <a:moveTo>
                    <a:pt x="14" y="0"/>
                  </a:moveTo>
                  <a:lnTo>
                    <a:pt x="96" y="50"/>
                  </a:lnTo>
                  <a:lnTo>
                    <a:pt x="82" y="72"/>
                  </a:lnTo>
                  <a:lnTo>
                    <a:pt x="0" y="2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308">
              <a:extLst>
                <a:ext uri="{FF2B5EF4-FFF2-40B4-BE49-F238E27FC236}">
                  <a16:creationId xmlns:a16="http://schemas.microsoft.com/office/drawing/2014/main" id="{AE96F6A7-F166-4C8F-87FF-A0117261B7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4107" y="5334230"/>
              <a:ext cx="50800" cy="38100"/>
            </a:xfrm>
            <a:custGeom>
              <a:avLst/>
              <a:gdLst>
                <a:gd name="T0" fmla="*/ 0 w 97"/>
                <a:gd name="T1" fmla="*/ 50 h 71"/>
                <a:gd name="T2" fmla="*/ 85 w 97"/>
                <a:gd name="T3" fmla="*/ 0 h 71"/>
                <a:gd name="T4" fmla="*/ 97 w 97"/>
                <a:gd name="T5" fmla="*/ 21 h 71"/>
                <a:gd name="T6" fmla="*/ 13 w 97"/>
                <a:gd name="T7" fmla="*/ 71 h 71"/>
                <a:gd name="T8" fmla="*/ 0 w 97"/>
                <a:gd name="T9" fmla="*/ 5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71">
                  <a:moveTo>
                    <a:pt x="0" y="50"/>
                  </a:moveTo>
                  <a:lnTo>
                    <a:pt x="85" y="0"/>
                  </a:lnTo>
                  <a:lnTo>
                    <a:pt x="97" y="21"/>
                  </a:lnTo>
                  <a:lnTo>
                    <a:pt x="13" y="71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Freeform 310">
              <a:extLst>
                <a:ext uri="{FF2B5EF4-FFF2-40B4-BE49-F238E27FC236}">
                  <a16:creationId xmlns:a16="http://schemas.microsoft.com/office/drawing/2014/main" id="{38944AB8-2705-415A-98A0-9EE3521FD0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33794" y="5300893"/>
              <a:ext cx="57150" cy="55563"/>
            </a:xfrm>
            <a:custGeom>
              <a:avLst/>
              <a:gdLst>
                <a:gd name="T0" fmla="*/ 64 w 106"/>
                <a:gd name="T1" fmla="*/ 1 h 106"/>
                <a:gd name="T2" fmla="*/ 83 w 106"/>
                <a:gd name="T3" fmla="*/ 10 h 106"/>
                <a:gd name="T4" fmla="*/ 97 w 106"/>
                <a:gd name="T5" fmla="*/ 24 h 106"/>
                <a:gd name="T6" fmla="*/ 105 w 106"/>
                <a:gd name="T7" fmla="*/ 43 h 106"/>
                <a:gd name="T8" fmla="*/ 105 w 106"/>
                <a:gd name="T9" fmla="*/ 64 h 106"/>
                <a:gd name="T10" fmla="*/ 97 w 106"/>
                <a:gd name="T11" fmla="*/ 83 h 106"/>
                <a:gd name="T12" fmla="*/ 83 w 106"/>
                <a:gd name="T13" fmla="*/ 97 h 106"/>
                <a:gd name="T14" fmla="*/ 64 w 106"/>
                <a:gd name="T15" fmla="*/ 105 h 106"/>
                <a:gd name="T16" fmla="*/ 42 w 106"/>
                <a:gd name="T17" fmla="*/ 105 h 106"/>
                <a:gd name="T18" fmla="*/ 23 w 106"/>
                <a:gd name="T19" fmla="*/ 97 h 106"/>
                <a:gd name="T20" fmla="*/ 9 w 106"/>
                <a:gd name="T21" fmla="*/ 83 h 106"/>
                <a:gd name="T22" fmla="*/ 1 w 106"/>
                <a:gd name="T23" fmla="*/ 64 h 106"/>
                <a:gd name="T24" fmla="*/ 1 w 106"/>
                <a:gd name="T25" fmla="*/ 43 h 106"/>
                <a:gd name="T26" fmla="*/ 9 w 106"/>
                <a:gd name="T27" fmla="*/ 24 h 106"/>
                <a:gd name="T28" fmla="*/ 23 w 106"/>
                <a:gd name="T29" fmla="*/ 10 h 106"/>
                <a:gd name="T30" fmla="*/ 42 w 106"/>
                <a:gd name="T31" fmla="*/ 1 h 106"/>
                <a:gd name="T32" fmla="*/ 53 w 106"/>
                <a:gd name="T33" fmla="*/ 28 h 106"/>
                <a:gd name="T34" fmla="*/ 62 w 106"/>
                <a:gd name="T35" fmla="*/ 30 h 106"/>
                <a:gd name="T36" fmla="*/ 70 w 106"/>
                <a:gd name="T37" fmla="*/ 36 h 106"/>
                <a:gd name="T38" fmla="*/ 77 w 106"/>
                <a:gd name="T39" fmla="*/ 43 h 106"/>
                <a:gd name="T40" fmla="*/ 78 w 106"/>
                <a:gd name="T41" fmla="*/ 53 h 106"/>
                <a:gd name="T42" fmla="*/ 77 w 106"/>
                <a:gd name="T43" fmla="*/ 64 h 106"/>
                <a:gd name="T44" fmla="*/ 70 w 106"/>
                <a:gd name="T45" fmla="*/ 71 h 106"/>
                <a:gd name="T46" fmla="*/ 62 w 106"/>
                <a:gd name="T47" fmla="*/ 77 h 106"/>
                <a:gd name="T48" fmla="*/ 53 w 106"/>
                <a:gd name="T49" fmla="*/ 79 h 106"/>
                <a:gd name="T50" fmla="*/ 43 w 106"/>
                <a:gd name="T51" fmla="*/ 77 h 106"/>
                <a:gd name="T52" fmla="*/ 36 w 106"/>
                <a:gd name="T53" fmla="*/ 71 h 106"/>
                <a:gd name="T54" fmla="*/ 29 w 106"/>
                <a:gd name="T55" fmla="*/ 64 h 106"/>
                <a:gd name="T56" fmla="*/ 28 w 106"/>
                <a:gd name="T57" fmla="*/ 53 h 106"/>
                <a:gd name="T58" fmla="*/ 29 w 106"/>
                <a:gd name="T59" fmla="*/ 43 h 106"/>
                <a:gd name="T60" fmla="*/ 36 w 106"/>
                <a:gd name="T61" fmla="*/ 36 h 106"/>
                <a:gd name="T62" fmla="*/ 43 w 106"/>
                <a:gd name="T63" fmla="*/ 30 h 106"/>
                <a:gd name="T64" fmla="*/ 53 w 106"/>
                <a:gd name="T65" fmla="*/ 2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" h="106">
                  <a:moveTo>
                    <a:pt x="53" y="0"/>
                  </a:moveTo>
                  <a:lnTo>
                    <a:pt x="64" y="1"/>
                  </a:lnTo>
                  <a:lnTo>
                    <a:pt x="74" y="5"/>
                  </a:lnTo>
                  <a:lnTo>
                    <a:pt x="83" y="10"/>
                  </a:lnTo>
                  <a:lnTo>
                    <a:pt x="91" y="16"/>
                  </a:lnTo>
                  <a:lnTo>
                    <a:pt x="97" y="24"/>
                  </a:lnTo>
                  <a:lnTo>
                    <a:pt x="102" y="33"/>
                  </a:lnTo>
                  <a:lnTo>
                    <a:pt x="105" y="43"/>
                  </a:lnTo>
                  <a:lnTo>
                    <a:pt x="106" y="53"/>
                  </a:lnTo>
                  <a:lnTo>
                    <a:pt x="105" y="64"/>
                  </a:lnTo>
                  <a:lnTo>
                    <a:pt x="102" y="74"/>
                  </a:lnTo>
                  <a:lnTo>
                    <a:pt x="97" y="83"/>
                  </a:lnTo>
                  <a:lnTo>
                    <a:pt x="91" y="91"/>
                  </a:lnTo>
                  <a:lnTo>
                    <a:pt x="83" y="97"/>
                  </a:lnTo>
                  <a:lnTo>
                    <a:pt x="74" y="102"/>
                  </a:lnTo>
                  <a:lnTo>
                    <a:pt x="64" y="105"/>
                  </a:lnTo>
                  <a:lnTo>
                    <a:pt x="53" y="106"/>
                  </a:lnTo>
                  <a:lnTo>
                    <a:pt x="42" y="105"/>
                  </a:lnTo>
                  <a:lnTo>
                    <a:pt x="32" y="102"/>
                  </a:lnTo>
                  <a:lnTo>
                    <a:pt x="23" y="97"/>
                  </a:lnTo>
                  <a:lnTo>
                    <a:pt x="15" y="91"/>
                  </a:lnTo>
                  <a:lnTo>
                    <a:pt x="9" y="83"/>
                  </a:lnTo>
                  <a:lnTo>
                    <a:pt x="3" y="74"/>
                  </a:lnTo>
                  <a:lnTo>
                    <a:pt x="1" y="64"/>
                  </a:lnTo>
                  <a:lnTo>
                    <a:pt x="0" y="53"/>
                  </a:lnTo>
                  <a:lnTo>
                    <a:pt x="1" y="43"/>
                  </a:lnTo>
                  <a:lnTo>
                    <a:pt x="3" y="33"/>
                  </a:lnTo>
                  <a:lnTo>
                    <a:pt x="9" y="24"/>
                  </a:lnTo>
                  <a:lnTo>
                    <a:pt x="15" y="16"/>
                  </a:lnTo>
                  <a:lnTo>
                    <a:pt x="23" y="10"/>
                  </a:lnTo>
                  <a:lnTo>
                    <a:pt x="32" y="5"/>
                  </a:lnTo>
                  <a:lnTo>
                    <a:pt x="42" y="1"/>
                  </a:lnTo>
                  <a:lnTo>
                    <a:pt x="53" y="0"/>
                  </a:lnTo>
                  <a:close/>
                  <a:moveTo>
                    <a:pt x="53" y="28"/>
                  </a:moveTo>
                  <a:lnTo>
                    <a:pt x="57" y="29"/>
                  </a:lnTo>
                  <a:lnTo>
                    <a:pt x="62" y="30"/>
                  </a:lnTo>
                  <a:lnTo>
                    <a:pt x="68" y="33"/>
                  </a:lnTo>
                  <a:lnTo>
                    <a:pt x="70" y="36"/>
                  </a:lnTo>
                  <a:lnTo>
                    <a:pt x="74" y="39"/>
                  </a:lnTo>
                  <a:lnTo>
                    <a:pt x="77" y="43"/>
                  </a:lnTo>
                  <a:lnTo>
                    <a:pt x="78" y="48"/>
                  </a:lnTo>
                  <a:lnTo>
                    <a:pt x="78" y="53"/>
                  </a:lnTo>
                  <a:lnTo>
                    <a:pt x="78" y="59"/>
                  </a:lnTo>
                  <a:lnTo>
                    <a:pt x="77" y="64"/>
                  </a:lnTo>
                  <a:lnTo>
                    <a:pt x="74" y="68"/>
                  </a:lnTo>
                  <a:lnTo>
                    <a:pt x="70" y="71"/>
                  </a:lnTo>
                  <a:lnTo>
                    <a:pt x="68" y="74"/>
                  </a:lnTo>
                  <a:lnTo>
                    <a:pt x="62" y="77"/>
                  </a:lnTo>
                  <a:lnTo>
                    <a:pt x="57" y="78"/>
                  </a:lnTo>
                  <a:lnTo>
                    <a:pt x="53" y="79"/>
                  </a:lnTo>
                  <a:lnTo>
                    <a:pt x="48" y="78"/>
                  </a:lnTo>
                  <a:lnTo>
                    <a:pt x="43" y="77"/>
                  </a:lnTo>
                  <a:lnTo>
                    <a:pt x="39" y="74"/>
                  </a:lnTo>
                  <a:lnTo>
                    <a:pt x="36" y="71"/>
                  </a:lnTo>
                  <a:lnTo>
                    <a:pt x="32" y="68"/>
                  </a:lnTo>
                  <a:lnTo>
                    <a:pt x="29" y="64"/>
                  </a:lnTo>
                  <a:lnTo>
                    <a:pt x="28" y="59"/>
                  </a:lnTo>
                  <a:lnTo>
                    <a:pt x="28" y="53"/>
                  </a:lnTo>
                  <a:lnTo>
                    <a:pt x="28" y="48"/>
                  </a:lnTo>
                  <a:lnTo>
                    <a:pt x="29" y="43"/>
                  </a:lnTo>
                  <a:lnTo>
                    <a:pt x="32" y="39"/>
                  </a:lnTo>
                  <a:lnTo>
                    <a:pt x="36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8" y="29"/>
                  </a:lnTo>
                  <a:lnTo>
                    <a:pt x="53" y="2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5317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bjectives</a:t>
            </a:r>
            <a:endParaRPr lang="en-IN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00DC51E-A1FE-4F42-84C3-18B4AA049A0D}"/>
              </a:ext>
            </a:extLst>
          </p:cNvPr>
          <p:cNvSpPr/>
          <p:nvPr/>
        </p:nvSpPr>
        <p:spPr>
          <a:xfrm>
            <a:off x="609600" y="1890539"/>
            <a:ext cx="10774680" cy="529200"/>
          </a:xfrm>
          <a:prstGeom prst="rect">
            <a:avLst/>
          </a:prstGeom>
          <a:scene3d>
            <a:camera prst="orthographicFront"/>
            <a:lightRig rig="flat" dir="t"/>
          </a:scene3d>
          <a:sp3d z="190500" extrusionH="12700" prstMaterial="plastic">
            <a:bevelT w="50800" h="50800"/>
          </a:sp3d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CA714B2-3EE9-47D9-98EC-FEDAC1432D85}"/>
              </a:ext>
            </a:extLst>
          </p:cNvPr>
          <p:cNvSpPr/>
          <p:nvPr/>
        </p:nvSpPr>
        <p:spPr>
          <a:xfrm>
            <a:off x="1148334" y="1580579"/>
            <a:ext cx="7542276" cy="619920"/>
          </a:xfrm>
          <a:custGeom>
            <a:avLst/>
            <a:gdLst>
              <a:gd name="connsiteX0" fmla="*/ 0 w 7542276"/>
              <a:gd name="connsiteY0" fmla="*/ 103322 h 619920"/>
              <a:gd name="connsiteX1" fmla="*/ 103322 w 7542276"/>
              <a:gd name="connsiteY1" fmla="*/ 0 h 619920"/>
              <a:gd name="connsiteX2" fmla="*/ 7438954 w 7542276"/>
              <a:gd name="connsiteY2" fmla="*/ 0 h 619920"/>
              <a:gd name="connsiteX3" fmla="*/ 7542276 w 7542276"/>
              <a:gd name="connsiteY3" fmla="*/ 103322 h 619920"/>
              <a:gd name="connsiteX4" fmla="*/ 7542276 w 7542276"/>
              <a:gd name="connsiteY4" fmla="*/ 516598 h 619920"/>
              <a:gd name="connsiteX5" fmla="*/ 7438954 w 7542276"/>
              <a:gd name="connsiteY5" fmla="*/ 619920 h 619920"/>
              <a:gd name="connsiteX6" fmla="*/ 103322 w 7542276"/>
              <a:gd name="connsiteY6" fmla="*/ 619920 h 619920"/>
              <a:gd name="connsiteX7" fmla="*/ 0 w 7542276"/>
              <a:gd name="connsiteY7" fmla="*/ 516598 h 619920"/>
              <a:gd name="connsiteX8" fmla="*/ 0 w 7542276"/>
              <a:gd name="connsiteY8" fmla="*/ 103322 h 61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542276" h="619920">
                <a:moveTo>
                  <a:pt x="0" y="103322"/>
                </a:moveTo>
                <a:cubicBezTo>
                  <a:pt x="0" y="46259"/>
                  <a:pt x="46259" y="0"/>
                  <a:pt x="103322" y="0"/>
                </a:cubicBezTo>
                <a:lnTo>
                  <a:pt x="7438954" y="0"/>
                </a:lnTo>
                <a:cubicBezTo>
                  <a:pt x="7496017" y="0"/>
                  <a:pt x="7542276" y="46259"/>
                  <a:pt x="7542276" y="103322"/>
                </a:cubicBezTo>
                <a:lnTo>
                  <a:pt x="7542276" y="516598"/>
                </a:lnTo>
                <a:cubicBezTo>
                  <a:pt x="7542276" y="573661"/>
                  <a:pt x="7496017" y="619920"/>
                  <a:pt x="7438954" y="619920"/>
                </a:cubicBezTo>
                <a:lnTo>
                  <a:pt x="103322" y="619920"/>
                </a:lnTo>
                <a:cubicBezTo>
                  <a:pt x="46259" y="619920"/>
                  <a:pt x="0" y="573661"/>
                  <a:pt x="0" y="516598"/>
                </a:cubicBezTo>
                <a:lnTo>
                  <a:pt x="0" y="103322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15342" tIns="30262" rIns="315342" bIns="30262" numCol="1" spcCol="1270" anchor="ctr" anchorCtr="0">
            <a:noAutofit/>
          </a:bodyPr>
          <a:lstStyle/>
          <a:p>
            <a:pPr marL="0" lvl="0" indent="0" algn="l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100" kern="1200"/>
              <a:t>Effective Energy Monitor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64A890-4785-4FF2-9878-1FF9914FC283}"/>
              </a:ext>
            </a:extLst>
          </p:cNvPr>
          <p:cNvSpPr/>
          <p:nvPr/>
        </p:nvSpPr>
        <p:spPr>
          <a:xfrm>
            <a:off x="609600" y="2843099"/>
            <a:ext cx="10774680" cy="529200"/>
          </a:xfrm>
          <a:prstGeom prst="rect">
            <a:avLst/>
          </a:prstGeom>
          <a:scene3d>
            <a:camera prst="orthographicFront"/>
            <a:lightRig rig="flat" dir="t"/>
          </a:scene3d>
          <a:sp3d z="190500" extrusionH="12700" prstMaterial="plastic">
            <a:bevelT w="50800" h="50800"/>
          </a:sp3d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DC06C98-53A7-4489-B522-6720C1140DBF}"/>
              </a:ext>
            </a:extLst>
          </p:cNvPr>
          <p:cNvSpPr/>
          <p:nvPr/>
        </p:nvSpPr>
        <p:spPr>
          <a:xfrm>
            <a:off x="1148334" y="2533139"/>
            <a:ext cx="7542276" cy="619920"/>
          </a:xfrm>
          <a:custGeom>
            <a:avLst/>
            <a:gdLst>
              <a:gd name="connsiteX0" fmla="*/ 0 w 7542276"/>
              <a:gd name="connsiteY0" fmla="*/ 103322 h 619920"/>
              <a:gd name="connsiteX1" fmla="*/ 103322 w 7542276"/>
              <a:gd name="connsiteY1" fmla="*/ 0 h 619920"/>
              <a:gd name="connsiteX2" fmla="*/ 7438954 w 7542276"/>
              <a:gd name="connsiteY2" fmla="*/ 0 h 619920"/>
              <a:gd name="connsiteX3" fmla="*/ 7542276 w 7542276"/>
              <a:gd name="connsiteY3" fmla="*/ 103322 h 619920"/>
              <a:gd name="connsiteX4" fmla="*/ 7542276 w 7542276"/>
              <a:gd name="connsiteY4" fmla="*/ 516598 h 619920"/>
              <a:gd name="connsiteX5" fmla="*/ 7438954 w 7542276"/>
              <a:gd name="connsiteY5" fmla="*/ 619920 h 619920"/>
              <a:gd name="connsiteX6" fmla="*/ 103322 w 7542276"/>
              <a:gd name="connsiteY6" fmla="*/ 619920 h 619920"/>
              <a:gd name="connsiteX7" fmla="*/ 0 w 7542276"/>
              <a:gd name="connsiteY7" fmla="*/ 516598 h 619920"/>
              <a:gd name="connsiteX8" fmla="*/ 0 w 7542276"/>
              <a:gd name="connsiteY8" fmla="*/ 103322 h 61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542276" h="619920">
                <a:moveTo>
                  <a:pt x="0" y="103322"/>
                </a:moveTo>
                <a:cubicBezTo>
                  <a:pt x="0" y="46259"/>
                  <a:pt x="46259" y="0"/>
                  <a:pt x="103322" y="0"/>
                </a:cubicBezTo>
                <a:lnTo>
                  <a:pt x="7438954" y="0"/>
                </a:lnTo>
                <a:cubicBezTo>
                  <a:pt x="7496017" y="0"/>
                  <a:pt x="7542276" y="46259"/>
                  <a:pt x="7542276" y="103322"/>
                </a:cubicBezTo>
                <a:lnTo>
                  <a:pt x="7542276" y="516598"/>
                </a:lnTo>
                <a:cubicBezTo>
                  <a:pt x="7542276" y="573661"/>
                  <a:pt x="7496017" y="619920"/>
                  <a:pt x="7438954" y="619920"/>
                </a:cubicBezTo>
                <a:lnTo>
                  <a:pt x="103322" y="619920"/>
                </a:lnTo>
                <a:cubicBezTo>
                  <a:pt x="46259" y="619920"/>
                  <a:pt x="0" y="573661"/>
                  <a:pt x="0" y="516598"/>
                </a:cubicBezTo>
                <a:lnTo>
                  <a:pt x="0" y="103322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15342" tIns="30262" rIns="315342" bIns="30262" numCol="1" spcCol="1270" anchor="ctr" anchorCtr="0">
            <a:noAutofit/>
          </a:bodyPr>
          <a:lstStyle/>
          <a:p>
            <a:pPr marL="0" lvl="0" indent="0" algn="l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100" kern="1200"/>
              <a:t>Evolve Towards Industry 4.0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B5B715-7589-42D1-B3A2-9C7F300F6156}"/>
              </a:ext>
            </a:extLst>
          </p:cNvPr>
          <p:cNvSpPr/>
          <p:nvPr/>
        </p:nvSpPr>
        <p:spPr>
          <a:xfrm>
            <a:off x="609600" y="3795660"/>
            <a:ext cx="10774680" cy="529200"/>
          </a:xfrm>
          <a:prstGeom prst="rect">
            <a:avLst/>
          </a:prstGeom>
          <a:scene3d>
            <a:camera prst="orthographicFront"/>
            <a:lightRig rig="flat" dir="t"/>
          </a:scene3d>
          <a:sp3d z="190500" extrusionH="12700" prstMaterial="plastic">
            <a:bevelT w="50800" h="50800"/>
          </a:sp3d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89B774E-461E-4597-9779-275838F4922F}"/>
              </a:ext>
            </a:extLst>
          </p:cNvPr>
          <p:cNvSpPr/>
          <p:nvPr/>
        </p:nvSpPr>
        <p:spPr>
          <a:xfrm>
            <a:off x="1148334" y="3485699"/>
            <a:ext cx="7542276" cy="619920"/>
          </a:xfrm>
          <a:custGeom>
            <a:avLst/>
            <a:gdLst>
              <a:gd name="connsiteX0" fmla="*/ 0 w 7542276"/>
              <a:gd name="connsiteY0" fmla="*/ 103322 h 619920"/>
              <a:gd name="connsiteX1" fmla="*/ 103322 w 7542276"/>
              <a:gd name="connsiteY1" fmla="*/ 0 h 619920"/>
              <a:gd name="connsiteX2" fmla="*/ 7438954 w 7542276"/>
              <a:gd name="connsiteY2" fmla="*/ 0 h 619920"/>
              <a:gd name="connsiteX3" fmla="*/ 7542276 w 7542276"/>
              <a:gd name="connsiteY3" fmla="*/ 103322 h 619920"/>
              <a:gd name="connsiteX4" fmla="*/ 7542276 w 7542276"/>
              <a:gd name="connsiteY4" fmla="*/ 516598 h 619920"/>
              <a:gd name="connsiteX5" fmla="*/ 7438954 w 7542276"/>
              <a:gd name="connsiteY5" fmla="*/ 619920 h 619920"/>
              <a:gd name="connsiteX6" fmla="*/ 103322 w 7542276"/>
              <a:gd name="connsiteY6" fmla="*/ 619920 h 619920"/>
              <a:gd name="connsiteX7" fmla="*/ 0 w 7542276"/>
              <a:gd name="connsiteY7" fmla="*/ 516598 h 619920"/>
              <a:gd name="connsiteX8" fmla="*/ 0 w 7542276"/>
              <a:gd name="connsiteY8" fmla="*/ 103322 h 61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542276" h="619920">
                <a:moveTo>
                  <a:pt x="0" y="103322"/>
                </a:moveTo>
                <a:cubicBezTo>
                  <a:pt x="0" y="46259"/>
                  <a:pt x="46259" y="0"/>
                  <a:pt x="103322" y="0"/>
                </a:cubicBezTo>
                <a:lnTo>
                  <a:pt x="7438954" y="0"/>
                </a:lnTo>
                <a:cubicBezTo>
                  <a:pt x="7496017" y="0"/>
                  <a:pt x="7542276" y="46259"/>
                  <a:pt x="7542276" y="103322"/>
                </a:cubicBezTo>
                <a:lnTo>
                  <a:pt x="7542276" y="516598"/>
                </a:lnTo>
                <a:cubicBezTo>
                  <a:pt x="7542276" y="573661"/>
                  <a:pt x="7496017" y="619920"/>
                  <a:pt x="7438954" y="619920"/>
                </a:cubicBezTo>
                <a:lnTo>
                  <a:pt x="103322" y="619920"/>
                </a:lnTo>
                <a:cubicBezTo>
                  <a:pt x="46259" y="619920"/>
                  <a:pt x="0" y="573661"/>
                  <a:pt x="0" y="516598"/>
                </a:cubicBezTo>
                <a:lnTo>
                  <a:pt x="0" y="103322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15342" tIns="30262" rIns="315342" bIns="30262" numCol="1" spcCol="1270" anchor="ctr" anchorCtr="0">
            <a:noAutofit/>
          </a:bodyPr>
          <a:lstStyle/>
          <a:p>
            <a:pPr marL="0" lvl="0" indent="0" algn="l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100" kern="1200"/>
              <a:t>Improve Time Effectiveness and Increase Productivit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EF89-EB9C-4D35-AC3F-16318255B94B}"/>
              </a:ext>
            </a:extLst>
          </p:cNvPr>
          <p:cNvSpPr/>
          <p:nvPr/>
        </p:nvSpPr>
        <p:spPr>
          <a:xfrm>
            <a:off x="609600" y="4748220"/>
            <a:ext cx="10774680" cy="529200"/>
          </a:xfrm>
          <a:prstGeom prst="rect">
            <a:avLst/>
          </a:prstGeom>
          <a:scene3d>
            <a:camera prst="orthographicFront"/>
            <a:lightRig rig="flat" dir="t"/>
          </a:scene3d>
          <a:sp3d z="190500" extrusionH="12700" prstMaterial="plastic">
            <a:bevelT w="50800" h="50800"/>
          </a:sp3d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5FEC837-42CA-4E29-92CD-DD6CC36787B0}"/>
              </a:ext>
            </a:extLst>
          </p:cNvPr>
          <p:cNvSpPr/>
          <p:nvPr/>
        </p:nvSpPr>
        <p:spPr>
          <a:xfrm>
            <a:off x="1148334" y="4438260"/>
            <a:ext cx="7542276" cy="619920"/>
          </a:xfrm>
          <a:custGeom>
            <a:avLst/>
            <a:gdLst>
              <a:gd name="connsiteX0" fmla="*/ 0 w 7542276"/>
              <a:gd name="connsiteY0" fmla="*/ 103322 h 619920"/>
              <a:gd name="connsiteX1" fmla="*/ 103322 w 7542276"/>
              <a:gd name="connsiteY1" fmla="*/ 0 h 619920"/>
              <a:gd name="connsiteX2" fmla="*/ 7438954 w 7542276"/>
              <a:gd name="connsiteY2" fmla="*/ 0 h 619920"/>
              <a:gd name="connsiteX3" fmla="*/ 7542276 w 7542276"/>
              <a:gd name="connsiteY3" fmla="*/ 103322 h 619920"/>
              <a:gd name="connsiteX4" fmla="*/ 7542276 w 7542276"/>
              <a:gd name="connsiteY4" fmla="*/ 516598 h 619920"/>
              <a:gd name="connsiteX5" fmla="*/ 7438954 w 7542276"/>
              <a:gd name="connsiteY5" fmla="*/ 619920 h 619920"/>
              <a:gd name="connsiteX6" fmla="*/ 103322 w 7542276"/>
              <a:gd name="connsiteY6" fmla="*/ 619920 h 619920"/>
              <a:gd name="connsiteX7" fmla="*/ 0 w 7542276"/>
              <a:gd name="connsiteY7" fmla="*/ 516598 h 619920"/>
              <a:gd name="connsiteX8" fmla="*/ 0 w 7542276"/>
              <a:gd name="connsiteY8" fmla="*/ 103322 h 61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542276" h="619920">
                <a:moveTo>
                  <a:pt x="0" y="103322"/>
                </a:moveTo>
                <a:cubicBezTo>
                  <a:pt x="0" y="46259"/>
                  <a:pt x="46259" y="0"/>
                  <a:pt x="103322" y="0"/>
                </a:cubicBezTo>
                <a:lnTo>
                  <a:pt x="7438954" y="0"/>
                </a:lnTo>
                <a:cubicBezTo>
                  <a:pt x="7496017" y="0"/>
                  <a:pt x="7542276" y="46259"/>
                  <a:pt x="7542276" y="103322"/>
                </a:cubicBezTo>
                <a:lnTo>
                  <a:pt x="7542276" y="516598"/>
                </a:lnTo>
                <a:cubicBezTo>
                  <a:pt x="7542276" y="573661"/>
                  <a:pt x="7496017" y="619920"/>
                  <a:pt x="7438954" y="619920"/>
                </a:cubicBezTo>
                <a:lnTo>
                  <a:pt x="103322" y="619920"/>
                </a:lnTo>
                <a:cubicBezTo>
                  <a:pt x="46259" y="619920"/>
                  <a:pt x="0" y="573661"/>
                  <a:pt x="0" y="516598"/>
                </a:cubicBezTo>
                <a:lnTo>
                  <a:pt x="0" y="103322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15342" tIns="30262" rIns="315342" bIns="30262" numCol="1" spcCol="1270" anchor="ctr" anchorCtr="0">
            <a:noAutofit/>
          </a:bodyPr>
          <a:lstStyle/>
          <a:p>
            <a:pPr marL="0" lvl="0" indent="0" algn="l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100" kern="1200" dirty="0"/>
              <a:t>Accurate and Flawless</a:t>
            </a:r>
          </a:p>
        </p:txBody>
      </p:sp>
    </p:spTree>
    <p:extLst>
      <p:ext uri="{BB962C8B-B14F-4D97-AF65-F5344CB8AC3E}">
        <p14:creationId xmlns:p14="http://schemas.microsoft.com/office/powerpoint/2010/main" val="249719877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10" grpId="0" animBg="1"/>
      <p:bldP spid="1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AB0EB323-76C7-48E0-A83B-4993A7466597}"/>
              </a:ext>
            </a:extLst>
          </p:cNvPr>
          <p:cNvGrpSpPr/>
          <p:nvPr/>
        </p:nvGrpSpPr>
        <p:grpSpPr>
          <a:xfrm>
            <a:off x="2985792" y="1695601"/>
            <a:ext cx="6326188" cy="4017963"/>
            <a:chOff x="2985792" y="1695601"/>
            <a:chExt cx="6326188" cy="4017963"/>
          </a:xfrm>
        </p:grpSpPr>
        <p:sp>
          <p:nvSpPr>
            <p:cNvPr id="372" name="Freeform 5">
              <a:extLst>
                <a:ext uri="{FF2B5EF4-FFF2-40B4-BE49-F238E27FC236}">
                  <a16:creationId xmlns:a16="http://schemas.microsoft.com/office/drawing/2014/main" id="{AA3B9167-38EA-49C3-B26D-A81D2BD30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5792" y="1970239"/>
              <a:ext cx="6326188" cy="3508375"/>
            </a:xfrm>
            <a:custGeom>
              <a:avLst/>
              <a:gdLst>
                <a:gd name="T0" fmla="*/ 0 w 11955"/>
                <a:gd name="T1" fmla="*/ 2814 h 6631"/>
                <a:gd name="T2" fmla="*/ 0 w 11955"/>
                <a:gd name="T3" fmla="*/ 5362 h 6631"/>
                <a:gd name="T4" fmla="*/ 108 w 11955"/>
                <a:gd name="T5" fmla="*/ 6359 h 6631"/>
                <a:gd name="T6" fmla="*/ 474 w 11955"/>
                <a:gd name="T7" fmla="*/ 5841 h 6631"/>
                <a:gd name="T8" fmla="*/ 903 w 11955"/>
                <a:gd name="T9" fmla="*/ 5385 h 6631"/>
                <a:gd name="T10" fmla="*/ 1388 w 11955"/>
                <a:gd name="T11" fmla="*/ 4989 h 6631"/>
                <a:gd name="T12" fmla="*/ 1921 w 11955"/>
                <a:gd name="T13" fmla="*/ 4652 h 6631"/>
                <a:gd name="T14" fmla="*/ 2494 w 11955"/>
                <a:gd name="T15" fmla="*/ 4371 h 6631"/>
                <a:gd name="T16" fmla="*/ 3101 w 11955"/>
                <a:gd name="T17" fmla="*/ 4146 h 6631"/>
                <a:gd name="T18" fmla="*/ 3734 w 11955"/>
                <a:gd name="T19" fmla="*/ 3972 h 6631"/>
                <a:gd name="T20" fmla="*/ 4386 w 11955"/>
                <a:gd name="T21" fmla="*/ 3847 h 6631"/>
                <a:gd name="T22" fmla="*/ 5051 w 11955"/>
                <a:gd name="T23" fmla="*/ 3770 h 6631"/>
                <a:gd name="T24" fmla="*/ 5720 w 11955"/>
                <a:gd name="T25" fmla="*/ 3741 h 6631"/>
                <a:gd name="T26" fmla="*/ 6357 w 11955"/>
                <a:gd name="T27" fmla="*/ 3752 h 6631"/>
                <a:gd name="T28" fmla="*/ 6999 w 11955"/>
                <a:gd name="T29" fmla="*/ 3805 h 6631"/>
                <a:gd name="T30" fmla="*/ 7658 w 11955"/>
                <a:gd name="T31" fmla="*/ 3900 h 6631"/>
                <a:gd name="T32" fmla="*/ 8319 w 11955"/>
                <a:gd name="T33" fmla="*/ 4041 h 6631"/>
                <a:gd name="T34" fmla="*/ 8970 w 11955"/>
                <a:gd name="T35" fmla="*/ 4233 h 6631"/>
                <a:gd name="T36" fmla="*/ 9598 w 11955"/>
                <a:gd name="T37" fmla="*/ 4478 h 6631"/>
                <a:gd name="T38" fmla="*/ 10191 w 11955"/>
                <a:gd name="T39" fmla="*/ 4780 h 6631"/>
                <a:gd name="T40" fmla="*/ 10735 w 11955"/>
                <a:gd name="T41" fmla="*/ 5143 h 6631"/>
                <a:gd name="T42" fmla="*/ 11220 w 11955"/>
                <a:gd name="T43" fmla="*/ 5570 h 6631"/>
                <a:gd name="T44" fmla="*/ 11631 w 11955"/>
                <a:gd name="T45" fmla="*/ 6064 h 6631"/>
                <a:gd name="T46" fmla="*/ 11955 w 11955"/>
                <a:gd name="T47" fmla="*/ 6631 h 6631"/>
                <a:gd name="T48" fmla="*/ 11841 w 11955"/>
                <a:gd name="T49" fmla="*/ 260 h 6631"/>
                <a:gd name="T50" fmla="*/ 11450 w 11955"/>
                <a:gd name="T51" fmla="*/ 779 h 6631"/>
                <a:gd name="T52" fmla="*/ 10994 w 11955"/>
                <a:gd name="T53" fmla="*/ 1227 h 6631"/>
                <a:gd name="T54" fmla="*/ 10480 w 11955"/>
                <a:gd name="T55" fmla="*/ 1611 h 6631"/>
                <a:gd name="T56" fmla="*/ 9921 w 11955"/>
                <a:gd name="T57" fmla="*/ 1931 h 6631"/>
                <a:gd name="T58" fmla="*/ 9325 w 11955"/>
                <a:gd name="T59" fmla="*/ 2194 h 6631"/>
                <a:gd name="T60" fmla="*/ 8702 w 11955"/>
                <a:gd name="T61" fmla="*/ 2403 h 6631"/>
                <a:gd name="T62" fmla="*/ 8063 w 11955"/>
                <a:gd name="T63" fmla="*/ 2562 h 6631"/>
                <a:gd name="T64" fmla="*/ 7417 w 11955"/>
                <a:gd name="T65" fmla="*/ 2674 h 6631"/>
                <a:gd name="T66" fmla="*/ 6776 w 11955"/>
                <a:gd name="T67" fmla="*/ 2746 h 6631"/>
                <a:gd name="T68" fmla="*/ 6148 w 11955"/>
                <a:gd name="T69" fmla="*/ 2781 h 6631"/>
                <a:gd name="T70" fmla="*/ 5497 w 11955"/>
                <a:gd name="T71" fmla="*/ 2780 h 6631"/>
                <a:gd name="T72" fmla="*/ 4831 w 11955"/>
                <a:gd name="T73" fmla="*/ 2732 h 6631"/>
                <a:gd name="T74" fmla="*/ 4172 w 11955"/>
                <a:gd name="T75" fmla="*/ 2639 h 6631"/>
                <a:gd name="T76" fmla="*/ 3529 w 11955"/>
                <a:gd name="T77" fmla="*/ 2495 h 6631"/>
                <a:gd name="T78" fmla="*/ 2908 w 11955"/>
                <a:gd name="T79" fmla="*/ 2302 h 6631"/>
                <a:gd name="T80" fmla="*/ 2313 w 11955"/>
                <a:gd name="T81" fmla="*/ 2055 h 6631"/>
                <a:gd name="T82" fmla="*/ 1754 w 11955"/>
                <a:gd name="T83" fmla="*/ 1757 h 6631"/>
                <a:gd name="T84" fmla="*/ 1237 w 11955"/>
                <a:gd name="T85" fmla="*/ 1403 h 6631"/>
                <a:gd name="T86" fmla="*/ 768 w 11955"/>
                <a:gd name="T87" fmla="*/ 993 h 6631"/>
                <a:gd name="T88" fmla="*/ 352 w 11955"/>
                <a:gd name="T89" fmla="*/ 526 h 6631"/>
                <a:gd name="T90" fmla="*/ 0 w 11955"/>
                <a:gd name="T91" fmla="*/ 0 h 6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55" h="6631">
                  <a:moveTo>
                    <a:pt x="0" y="0"/>
                  </a:moveTo>
                  <a:lnTo>
                    <a:pt x="0" y="1968"/>
                  </a:lnTo>
                  <a:lnTo>
                    <a:pt x="0" y="2814"/>
                  </a:lnTo>
                  <a:lnTo>
                    <a:pt x="0" y="3661"/>
                  </a:lnTo>
                  <a:lnTo>
                    <a:pt x="0" y="4484"/>
                  </a:lnTo>
                  <a:lnTo>
                    <a:pt x="0" y="5362"/>
                  </a:lnTo>
                  <a:lnTo>
                    <a:pt x="0" y="6204"/>
                  </a:lnTo>
                  <a:lnTo>
                    <a:pt x="0" y="6546"/>
                  </a:lnTo>
                  <a:lnTo>
                    <a:pt x="108" y="6359"/>
                  </a:lnTo>
                  <a:lnTo>
                    <a:pt x="222" y="6180"/>
                  </a:lnTo>
                  <a:lnTo>
                    <a:pt x="345" y="6007"/>
                  </a:lnTo>
                  <a:lnTo>
                    <a:pt x="474" y="5841"/>
                  </a:lnTo>
                  <a:lnTo>
                    <a:pt x="611" y="5683"/>
                  </a:lnTo>
                  <a:lnTo>
                    <a:pt x="754" y="5530"/>
                  </a:lnTo>
                  <a:lnTo>
                    <a:pt x="903" y="5385"/>
                  </a:lnTo>
                  <a:lnTo>
                    <a:pt x="1060" y="5247"/>
                  </a:lnTo>
                  <a:lnTo>
                    <a:pt x="1221" y="5115"/>
                  </a:lnTo>
                  <a:lnTo>
                    <a:pt x="1388" y="4989"/>
                  </a:lnTo>
                  <a:lnTo>
                    <a:pt x="1561" y="4871"/>
                  </a:lnTo>
                  <a:lnTo>
                    <a:pt x="1739" y="4758"/>
                  </a:lnTo>
                  <a:lnTo>
                    <a:pt x="1921" y="4652"/>
                  </a:lnTo>
                  <a:lnTo>
                    <a:pt x="2108" y="4553"/>
                  </a:lnTo>
                  <a:lnTo>
                    <a:pt x="2299" y="4460"/>
                  </a:lnTo>
                  <a:lnTo>
                    <a:pt x="2494" y="4371"/>
                  </a:lnTo>
                  <a:lnTo>
                    <a:pt x="2694" y="4291"/>
                  </a:lnTo>
                  <a:lnTo>
                    <a:pt x="2896" y="4215"/>
                  </a:lnTo>
                  <a:lnTo>
                    <a:pt x="3101" y="4146"/>
                  </a:lnTo>
                  <a:lnTo>
                    <a:pt x="3310" y="4082"/>
                  </a:lnTo>
                  <a:lnTo>
                    <a:pt x="3521" y="4023"/>
                  </a:lnTo>
                  <a:lnTo>
                    <a:pt x="3734" y="3972"/>
                  </a:lnTo>
                  <a:lnTo>
                    <a:pt x="3951" y="3924"/>
                  </a:lnTo>
                  <a:lnTo>
                    <a:pt x="4167" y="3883"/>
                  </a:lnTo>
                  <a:lnTo>
                    <a:pt x="4386" y="3847"/>
                  </a:lnTo>
                  <a:lnTo>
                    <a:pt x="4607" y="3816"/>
                  </a:lnTo>
                  <a:lnTo>
                    <a:pt x="4828" y="3791"/>
                  </a:lnTo>
                  <a:lnTo>
                    <a:pt x="5051" y="3770"/>
                  </a:lnTo>
                  <a:lnTo>
                    <a:pt x="5274" y="3755"/>
                  </a:lnTo>
                  <a:lnTo>
                    <a:pt x="5497" y="3746"/>
                  </a:lnTo>
                  <a:lnTo>
                    <a:pt x="5720" y="3741"/>
                  </a:lnTo>
                  <a:lnTo>
                    <a:pt x="5943" y="3740"/>
                  </a:lnTo>
                  <a:lnTo>
                    <a:pt x="6148" y="3745"/>
                  </a:lnTo>
                  <a:lnTo>
                    <a:pt x="6357" y="3752"/>
                  </a:lnTo>
                  <a:lnTo>
                    <a:pt x="6568" y="3765"/>
                  </a:lnTo>
                  <a:lnTo>
                    <a:pt x="6782" y="3783"/>
                  </a:lnTo>
                  <a:lnTo>
                    <a:pt x="6999" y="3805"/>
                  </a:lnTo>
                  <a:lnTo>
                    <a:pt x="7218" y="3831"/>
                  </a:lnTo>
                  <a:lnTo>
                    <a:pt x="7437" y="3863"/>
                  </a:lnTo>
                  <a:lnTo>
                    <a:pt x="7658" y="3900"/>
                  </a:lnTo>
                  <a:lnTo>
                    <a:pt x="7878" y="3941"/>
                  </a:lnTo>
                  <a:lnTo>
                    <a:pt x="8098" y="3988"/>
                  </a:lnTo>
                  <a:lnTo>
                    <a:pt x="8319" y="4041"/>
                  </a:lnTo>
                  <a:lnTo>
                    <a:pt x="8538" y="4098"/>
                  </a:lnTo>
                  <a:lnTo>
                    <a:pt x="8754" y="4162"/>
                  </a:lnTo>
                  <a:lnTo>
                    <a:pt x="8970" y="4233"/>
                  </a:lnTo>
                  <a:lnTo>
                    <a:pt x="9182" y="4307"/>
                  </a:lnTo>
                  <a:lnTo>
                    <a:pt x="9391" y="4389"/>
                  </a:lnTo>
                  <a:lnTo>
                    <a:pt x="9598" y="4478"/>
                  </a:lnTo>
                  <a:lnTo>
                    <a:pt x="9800" y="4571"/>
                  </a:lnTo>
                  <a:lnTo>
                    <a:pt x="9997" y="4673"/>
                  </a:lnTo>
                  <a:lnTo>
                    <a:pt x="10191" y="4780"/>
                  </a:lnTo>
                  <a:lnTo>
                    <a:pt x="10378" y="4894"/>
                  </a:lnTo>
                  <a:lnTo>
                    <a:pt x="10560" y="5015"/>
                  </a:lnTo>
                  <a:lnTo>
                    <a:pt x="10735" y="5143"/>
                  </a:lnTo>
                  <a:lnTo>
                    <a:pt x="10905" y="5278"/>
                  </a:lnTo>
                  <a:lnTo>
                    <a:pt x="11066" y="5420"/>
                  </a:lnTo>
                  <a:lnTo>
                    <a:pt x="11220" y="5570"/>
                  </a:lnTo>
                  <a:lnTo>
                    <a:pt x="11366" y="5727"/>
                  </a:lnTo>
                  <a:lnTo>
                    <a:pt x="11503" y="5893"/>
                  </a:lnTo>
                  <a:lnTo>
                    <a:pt x="11631" y="6064"/>
                  </a:lnTo>
                  <a:lnTo>
                    <a:pt x="11749" y="6245"/>
                  </a:lnTo>
                  <a:lnTo>
                    <a:pt x="11858" y="6434"/>
                  </a:lnTo>
                  <a:lnTo>
                    <a:pt x="11955" y="6631"/>
                  </a:lnTo>
                  <a:lnTo>
                    <a:pt x="11955" y="1417"/>
                  </a:lnTo>
                  <a:lnTo>
                    <a:pt x="11955" y="71"/>
                  </a:lnTo>
                  <a:lnTo>
                    <a:pt x="11841" y="260"/>
                  </a:lnTo>
                  <a:lnTo>
                    <a:pt x="11720" y="442"/>
                  </a:lnTo>
                  <a:lnTo>
                    <a:pt x="11589" y="614"/>
                  </a:lnTo>
                  <a:lnTo>
                    <a:pt x="11450" y="779"/>
                  </a:lnTo>
                  <a:lnTo>
                    <a:pt x="11306" y="937"/>
                  </a:lnTo>
                  <a:lnTo>
                    <a:pt x="11153" y="1085"/>
                  </a:lnTo>
                  <a:lnTo>
                    <a:pt x="10994" y="1227"/>
                  </a:lnTo>
                  <a:lnTo>
                    <a:pt x="10829" y="1362"/>
                  </a:lnTo>
                  <a:lnTo>
                    <a:pt x="10657" y="1490"/>
                  </a:lnTo>
                  <a:lnTo>
                    <a:pt x="10480" y="1611"/>
                  </a:lnTo>
                  <a:lnTo>
                    <a:pt x="10299" y="1723"/>
                  </a:lnTo>
                  <a:lnTo>
                    <a:pt x="10111" y="1831"/>
                  </a:lnTo>
                  <a:lnTo>
                    <a:pt x="9921" y="1931"/>
                  </a:lnTo>
                  <a:lnTo>
                    <a:pt x="9726" y="2025"/>
                  </a:lnTo>
                  <a:lnTo>
                    <a:pt x="9526" y="2112"/>
                  </a:lnTo>
                  <a:lnTo>
                    <a:pt x="9325" y="2194"/>
                  </a:lnTo>
                  <a:lnTo>
                    <a:pt x="9120" y="2269"/>
                  </a:lnTo>
                  <a:lnTo>
                    <a:pt x="8911" y="2339"/>
                  </a:lnTo>
                  <a:lnTo>
                    <a:pt x="8702" y="2403"/>
                  </a:lnTo>
                  <a:lnTo>
                    <a:pt x="8489" y="2460"/>
                  </a:lnTo>
                  <a:lnTo>
                    <a:pt x="8277" y="2514"/>
                  </a:lnTo>
                  <a:lnTo>
                    <a:pt x="8063" y="2562"/>
                  </a:lnTo>
                  <a:lnTo>
                    <a:pt x="7847" y="2604"/>
                  </a:lnTo>
                  <a:lnTo>
                    <a:pt x="7632" y="2642"/>
                  </a:lnTo>
                  <a:lnTo>
                    <a:pt x="7417" y="2674"/>
                  </a:lnTo>
                  <a:lnTo>
                    <a:pt x="7203" y="2703"/>
                  </a:lnTo>
                  <a:lnTo>
                    <a:pt x="6989" y="2727"/>
                  </a:lnTo>
                  <a:lnTo>
                    <a:pt x="6776" y="2746"/>
                  </a:lnTo>
                  <a:lnTo>
                    <a:pt x="6565" y="2762"/>
                  </a:lnTo>
                  <a:lnTo>
                    <a:pt x="6354" y="2773"/>
                  </a:lnTo>
                  <a:lnTo>
                    <a:pt x="6148" y="2781"/>
                  </a:lnTo>
                  <a:lnTo>
                    <a:pt x="5943" y="2785"/>
                  </a:lnTo>
                  <a:lnTo>
                    <a:pt x="5720" y="2785"/>
                  </a:lnTo>
                  <a:lnTo>
                    <a:pt x="5497" y="2780"/>
                  </a:lnTo>
                  <a:lnTo>
                    <a:pt x="5274" y="2769"/>
                  </a:lnTo>
                  <a:lnTo>
                    <a:pt x="5053" y="2753"/>
                  </a:lnTo>
                  <a:lnTo>
                    <a:pt x="4831" y="2732"/>
                  </a:lnTo>
                  <a:lnTo>
                    <a:pt x="4610" y="2707"/>
                  </a:lnTo>
                  <a:lnTo>
                    <a:pt x="4391" y="2674"/>
                  </a:lnTo>
                  <a:lnTo>
                    <a:pt x="4172" y="2639"/>
                  </a:lnTo>
                  <a:lnTo>
                    <a:pt x="3956" y="2596"/>
                  </a:lnTo>
                  <a:lnTo>
                    <a:pt x="3742" y="2548"/>
                  </a:lnTo>
                  <a:lnTo>
                    <a:pt x="3529" y="2495"/>
                  </a:lnTo>
                  <a:lnTo>
                    <a:pt x="3319" y="2436"/>
                  </a:lnTo>
                  <a:lnTo>
                    <a:pt x="3111" y="2371"/>
                  </a:lnTo>
                  <a:lnTo>
                    <a:pt x="2908" y="2302"/>
                  </a:lnTo>
                  <a:lnTo>
                    <a:pt x="2705" y="2225"/>
                  </a:lnTo>
                  <a:lnTo>
                    <a:pt x="2508" y="2143"/>
                  </a:lnTo>
                  <a:lnTo>
                    <a:pt x="2313" y="2055"/>
                  </a:lnTo>
                  <a:lnTo>
                    <a:pt x="2123" y="1962"/>
                  </a:lnTo>
                  <a:lnTo>
                    <a:pt x="1936" y="1862"/>
                  </a:lnTo>
                  <a:lnTo>
                    <a:pt x="1754" y="1757"/>
                  </a:lnTo>
                  <a:lnTo>
                    <a:pt x="1577" y="1645"/>
                  </a:lnTo>
                  <a:lnTo>
                    <a:pt x="1404" y="1527"/>
                  </a:lnTo>
                  <a:lnTo>
                    <a:pt x="1237" y="1403"/>
                  </a:lnTo>
                  <a:lnTo>
                    <a:pt x="1075" y="1272"/>
                  </a:lnTo>
                  <a:lnTo>
                    <a:pt x="919" y="1136"/>
                  </a:lnTo>
                  <a:lnTo>
                    <a:pt x="768" y="993"/>
                  </a:lnTo>
                  <a:lnTo>
                    <a:pt x="623" y="844"/>
                  </a:lnTo>
                  <a:lnTo>
                    <a:pt x="484" y="688"/>
                  </a:lnTo>
                  <a:lnTo>
                    <a:pt x="352" y="526"/>
                  </a:lnTo>
                  <a:lnTo>
                    <a:pt x="228" y="357"/>
                  </a:lnTo>
                  <a:lnTo>
                    <a:pt x="110" y="1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25400">
              <a:solidFill>
                <a:schemeClr val="accent1">
                  <a:lumMod val="20000"/>
                  <a:lumOff val="8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3" name="Freeform 26">
              <a:extLst>
                <a:ext uri="{FF2B5EF4-FFF2-40B4-BE49-F238E27FC236}">
                  <a16:creationId xmlns:a16="http://schemas.microsoft.com/office/drawing/2014/main" id="{444437C6-C4C4-4DA3-B4DC-25A33CF7A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5792" y="2776688"/>
              <a:ext cx="1354418" cy="1911350"/>
            </a:xfrm>
            <a:custGeom>
              <a:avLst/>
              <a:gdLst>
                <a:gd name="T0" fmla="*/ 0 w 2498"/>
                <a:gd name="T1" fmla="*/ 3613 h 3613"/>
                <a:gd name="T2" fmla="*/ 68 w 2498"/>
                <a:gd name="T3" fmla="*/ 3516 h 3613"/>
                <a:gd name="T4" fmla="*/ 137 w 2498"/>
                <a:gd name="T5" fmla="*/ 3423 h 3613"/>
                <a:gd name="T6" fmla="*/ 210 w 2498"/>
                <a:gd name="T7" fmla="*/ 3333 h 3613"/>
                <a:gd name="T8" fmla="*/ 286 w 2498"/>
                <a:gd name="T9" fmla="*/ 3247 h 3613"/>
                <a:gd name="T10" fmla="*/ 365 w 2498"/>
                <a:gd name="T11" fmla="*/ 3164 h 3613"/>
                <a:gd name="T12" fmla="*/ 449 w 2498"/>
                <a:gd name="T13" fmla="*/ 3085 h 3613"/>
                <a:gd name="T14" fmla="*/ 534 w 2498"/>
                <a:gd name="T15" fmla="*/ 3008 h 3613"/>
                <a:gd name="T16" fmla="*/ 624 w 2498"/>
                <a:gd name="T17" fmla="*/ 2933 h 3613"/>
                <a:gd name="T18" fmla="*/ 719 w 2498"/>
                <a:gd name="T19" fmla="*/ 2863 h 3613"/>
                <a:gd name="T20" fmla="*/ 819 w 2498"/>
                <a:gd name="T21" fmla="*/ 2794 h 3613"/>
                <a:gd name="T22" fmla="*/ 923 w 2498"/>
                <a:gd name="T23" fmla="*/ 2728 h 3613"/>
                <a:gd name="T24" fmla="*/ 1032 w 2498"/>
                <a:gd name="T25" fmla="*/ 2665 h 3613"/>
                <a:gd name="T26" fmla="*/ 1147 w 2498"/>
                <a:gd name="T27" fmla="*/ 2605 h 3613"/>
                <a:gd name="T28" fmla="*/ 1267 w 2498"/>
                <a:gd name="T29" fmla="*/ 2547 h 3613"/>
                <a:gd name="T30" fmla="*/ 1393 w 2498"/>
                <a:gd name="T31" fmla="*/ 2492 h 3613"/>
                <a:gd name="T32" fmla="*/ 1526 w 2498"/>
                <a:gd name="T33" fmla="*/ 2439 h 3613"/>
                <a:gd name="T34" fmla="*/ 2498 w 2498"/>
                <a:gd name="T35" fmla="*/ 1785 h 3613"/>
                <a:gd name="T36" fmla="*/ 1526 w 2498"/>
                <a:gd name="T37" fmla="*/ 1233 h 3613"/>
                <a:gd name="T38" fmla="*/ 1403 w 2498"/>
                <a:gd name="T39" fmla="*/ 1176 h 3613"/>
                <a:gd name="T40" fmla="*/ 1281 w 2498"/>
                <a:gd name="T41" fmla="*/ 1117 h 3613"/>
                <a:gd name="T42" fmla="*/ 1165 w 2498"/>
                <a:gd name="T43" fmla="*/ 1057 h 3613"/>
                <a:gd name="T44" fmla="*/ 1051 w 2498"/>
                <a:gd name="T45" fmla="*/ 993 h 3613"/>
                <a:gd name="T46" fmla="*/ 941 w 2498"/>
                <a:gd name="T47" fmla="*/ 926 h 3613"/>
                <a:gd name="T48" fmla="*/ 833 w 2498"/>
                <a:gd name="T49" fmla="*/ 858 h 3613"/>
                <a:gd name="T50" fmla="*/ 730 w 2498"/>
                <a:gd name="T51" fmla="*/ 786 h 3613"/>
                <a:gd name="T52" fmla="*/ 631 w 2498"/>
                <a:gd name="T53" fmla="*/ 712 h 3613"/>
                <a:gd name="T54" fmla="*/ 536 w 2498"/>
                <a:gd name="T55" fmla="*/ 635 h 3613"/>
                <a:gd name="T56" fmla="*/ 445 w 2498"/>
                <a:gd name="T57" fmla="*/ 555 h 3613"/>
                <a:gd name="T58" fmla="*/ 359 w 2498"/>
                <a:gd name="T59" fmla="*/ 470 h 3613"/>
                <a:gd name="T60" fmla="*/ 277 w 2498"/>
                <a:gd name="T61" fmla="*/ 383 h 3613"/>
                <a:gd name="T62" fmla="*/ 200 w 2498"/>
                <a:gd name="T63" fmla="*/ 293 h 3613"/>
                <a:gd name="T64" fmla="*/ 128 w 2498"/>
                <a:gd name="T65" fmla="*/ 198 h 3613"/>
                <a:gd name="T66" fmla="*/ 62 w 2498"/>
                <a:gd name="T67" fmla="*/ 101 h 3613"/>
                <a:gd name="T68" fmla="*/ 0 w 2498"/>
                <a:gd name="T69" fmla="*/ 0 h 3613"/>
                <a:gd name="T70" fmla="*/ 0 w 2498"/>
                <a:gd name="T71" fmla="*/ 1290 h 3613"/>
                <a:gd name="T72" fmla="*/ 0 w 2498"/>
                <a:gd name="T73" fmla="*/ 2960 h 3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98" h="3613">
                  <a:moveTo>
                    <a:pt x="0" y="2960"/>
                  </a:moveTo>
                  <a:lnTo>
                    <a:pt x="0" y="3613"/>
                  </a:lnTo>
                  <a:lnTo>
                    <a:pt x="33" y="3564"/>
                  </a:lnTo>
                  <a:lnTo>
                    <a:pt x="68" y="3516"/>
                  </a:lnTo>
                  <a:lnTo>
                    <a:pt x="103" y="3469"/>
                  </a:lnTo>
                  <a:lnTo>
                    <a:pt x="137" y="3423"/>
                  </a:lnTo>
                  <a:lnTo>
                    <a:pt x="174" y="3378"/>
                  </a:lnTo>
                  <a:lnTo>
                    <a:pt x="210" y="3333"/>
                  </a:lnTo>
                  <a:lnTo>
                    <a:pt x="249" y="3290"/>
                  </a:lnTo>
                  <a:lnTo>
                    <a:pt x="286" y="3247"/>
                  </a:lnTo>
                  <a:lnTo>
                    <a:pt x="326" y="3205"/>
                  </a:lnTo>
                  <a:lnTo>
                    <a:pt x="365" y="3164"/>
                  </a:lnTo>
                  <a:lnTo>
                    <a:pt x="406" y="3124"/>
                  </a:lnTo>
                  <a:lnTo>
                    <a:pt x="449" y="3085"/>
                  </a:lnTo>
                  <a:lnTo>
                    <a:pt x="491" y="3045"/>
                  </a:lnTo>
                  <a:lnTo>
                    <a:pt x="534" y="3008"/>
                  </a:lnTo>
                  <a:lnTo>
                    <a:pt x="579" y="2970"/>
                  </a:lnTo>
                  <a:lnTo>
                    <a:pt x="624" y="2933"/>
                  </a:lnTo>
                  <a:lnTo>
                    <a:pt x="672" y="2897"/>
                  </a:lnTo>
                  <a:lnTo>
                    <a:pt x="719" y="2863"/>
                  </a:lnTo>
                  <a:lnTo>
                    <a:pt x="769" y="2828"/>
                  </a:lnTo>
                  <a:lnTo>
                    <a:pt x="819" y="2794"/>
                  </a:lnTo>
                  <a:lnTo>
                    <a:pt x="870" y="2760"/>
                  </a:lnTo>
                  <a:lnTo>
                    <a:pt x="923" y="2728"/>
                  </a:lnTo>
                  <a:lnTo>
                    <a:pt x="977" y="2696"/>
                  </a:lnTo>
                  <a:lnTo>
                    <a:pt x="1032" y="2665"/>
                  </a:lnTo>
                  <a:lnTo>
                    <a:pt x="1089" y="2635"/>
                  </a:lnTo>
                  <a:lnTo>
                    <a:pt x="1147" y="2605"/>
                  </a:lnTo>
                  <a:lnTo>
                    <a:pt x="1206" y="2576"/>
                  </a:lnTo>
                  <a:lnTo>
                    <a:pt x="1267" y="2547"/>
                  </a:lnTo>
                  <a:lnTo>
                    <a:pt x="1330" y="2519"/>
                  </a:lnTo>
                  <a:lnTo>
                    <a:pt x="1393" y="2492"/>
                  </a:lnTo>
                  <a:lnTo>
                    <a:pt x="1460" y="2465"/>
                  </a:lnTo>
                  <a:lnTo>
                    <a:pt x="1526" y="2439"/>
                  </a:lnTo>
                  <a:lnTo>
                    <a:pt x="1526" y="2901"/>
                  </a:lnTo>
                  <a:lnTo>
                    <a:pt x="2498" y="1785"/>
                  </a:lnTo>
                  <a:lnTo>
                    <a:pt x="1526" y="642"/>
                  </a:lnTo>
                  <a:lnTo>
                    <a:pt x="1526" y="1233"/>
                  </a:lnTo>
                  <a:lnTo>
                    <a:pt x="1463" y="1206"/>
                  </a:lnTo>
                  <a:lnTo>
                    <a:pt x="1403" y="1176"/>
                  </a:lnTo>
                  <a:lnTo>
                    <a:pt x="1342" y="1147"/>
                  </a:lnTo>
                  <a:lnTo>
                    <a:pt x="1281" y="1117"/>
                  </a:lnTo>
                  <a:lnTo>
                    <a:pt x="1223" y="1088"/>
                  </a:lnTo>
                  <a:lnTo>
                    <a:pt x="1165" y="1057"/>
                  </a:lnTo>
                  <a:lnTo>
                    <a:pt x="1107" y="1025"/>
                  </a:lnTo>
                  <a:lnTo>
                    <a:pt x="1051" y="993"/>
                  </a:lnTo>
                  <a:lnTo>
                    <a:pt x="994" y="960"/>
                  </a:lnTo>
                  <a:lnTo>
                    <a:pt x="941" y="926"/>
                  </a:lnTo>
                  <a:lnTo>
                    <a:pt x="887" y="893"/>
                  </a:lnTo>
                  <a:lnTo>
                    <a:pt x="833" y="858"/>
                  </a:lnTo>
                  <a:lnTo>
                    <a:pt x="782" y="822"/>
                  </a:lnTo>
                  <a:lnTo>
                    <a:pt x="730" y="786"/>
                  </a:lnTo>
                  <a:lnTo>
                    <a:pt x="681" y="749"/>
                  </a:lnTo>
                  <a:lnTo>
                    <a:pt x="631" y="712"/>
                  </a:lnTo>
                  <a:lnTo>
                    <a:pt x="583" y="674"/>
                  </a:lnTo>
                  <a:lnTo>
                    <a:pt x="536" y="635"/>
                  </a:lnTo>
                  <a:lnTo>
                    <a:pt x="490" y="594"/>
                  </a:lnTo>
                  <a:lnTo>
                    <a:pt x="445" y="555"/>
                  </a:lnTo>
                  <a:lnTo>
                    <a:pt x="401" y="512"/>
                  </a:lnTo>
                  <a:lnTo>
                    <a:pt x="359" y="470"/>
                  </a:lnTo>
                  <a:lnTo>
                    <a:pt x="318" y="428"/>
                  </a:lnTo>
                  <a:lnTo>
                    <a:pt x="277" y="383"/>
                  </a:lnTo>
                  <a:lnTo>
                    <a:pt x="238" y="338"/>
                  </a:lnTo>
                  <a:lnTo>
                    <a:pt x="200" y="293"/>
                  </a:lnTo>
                  <a:lnTo>
                    <a:pt x="164" y="246"/>
                  </a:lnTo>
                  <a:lnTo>
                    <a:pt x="128" y="198"/>
                  </a:lnTo>
                  <a:lnTo>
                    <a:pt x="95" y="151"/>
                  </a:lnTo>
                  <a:lnTo>
                    <a:pt x="62" y="101"/>
                  </a:lnTo>
                  <a:lnTo>
                    <a:pt x="30" y="51"/>
                  </a:lnTo>
                  <a:lnTo>
                    <a:pt x="0" y="0"/>
                  </a:lnTo>
                  <a:lnTo>
                    <a:pt x="0" y="444"/>
                  </a:lnTo>
                  <a:lnTo>
                    <a:pt x="0" y="1290"/>
                  </a:lnTo>
                  <a:lnTo>
                    <a:pt x="0" y="2137"/>
                  </a:lnTo>
                  <a:lnTo>
                    <a:pt x="0" y="2960"/>
                  </a:lnTo>
                  <a:close/>
                </a:path>
              </a:pathLst>
            </a:custGeom>
            <a:solidFill>
              <a:schemeClr val="accent4">
                <a:alpha val="78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3" name="Freeform 38">
              <a:extLst>
                <a:ext uri="{FF2B5EF4-FFF2-40B4-BE49-F238E27FC236}">
                  <a16:creationId xmlns:a16="http://schemas.microsoft.com/office/drawing/2014/main" id="{8438ED06-A5C9-42F3-9C37-3034BD4EA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2743" y="2857650"/>
              <a:ext cx="2747963" cy="1771650"/>
            </a:xfrm>
            <a:custGeom>
              <a:avLst/>
              <a:gdLst>
                <a:gd name="T0" fmla="*/ 0 w 5193"/>
                <a:gd name="T1" fmla="*/ 1711 h 3349"/>
                <a:gd name="T2" fmla="*/ 246 w 5193"/>
                <a:gd name="T3" fmla="*/ 1669 h 3349"/>
                <a:gd name="T4" fmla="*/ 497 w 5193"/>
                <a:gd name="T5" fmla="*/ 1624 h 3349"/>
                <a:gd name="T6" fmla="*/ 755 w 5193"/>
                <a:gd name="T7" fmla="*/ 1578 h 3349"/>
                <a:gd name="T8" fmla="*/ 1015 w 5193"/>
                <a:gd name="T9" fmla="*/ 1529 h 3349"/>
                <a:gd name="T10" fmla="*/ 1279 w 5193"/>
                <a:gd name="T11" fmla="*/ 1478 h 3349"/>
                <a:gd name="T12" fmla="*/ 1547 w 5193"/>
                <a:gd name="T13" fmla="*/ 1424 h 3349"/>
                <a:gd name="T14" fmla="*/ 1680 w 5193"/>
                <a:gd name="T15" fmla="*/ 1396 h 3349"/>
                <a:gd name="T16" fmla="*/ 1814 w 5193"/>
                <a:gd name="T17" fmla="*/ 1367 h 3349"/>
                <a:gd name="T18" fmla="*/ 1949 w 5193"/>
                <a:gd name="T19" fmla="*/ 1337 h 3349"/>
                <a:gd name="T20" fmla="*/ 2084 w 5193"/>
                <a:gd name="T21" fmla="*/ 1306 h 3349"/>
                <a:gd name="T22" fmla="*/ 2218 w 5193"/>
                <a:gd name="T23" fmla="*/ 1274 h 3349"/>
                <a:gd name="T24" fmla="*/ 2353 w 5193"/>
                <a:gd name="T25" fmla="*/ 1242 h 3349"/>
                <a:gd name="T26" fmla="*/ 2487 w 5193"/>
                <a:gd name="T27" fmla="*/ 1209 h 3349"/>
                <a:gd name="T28" fmla="*/ 2622 w 5193"/>
                <a:gd name="T29" fmla="*/ 1174 h 3349"/>
                <a:gd name="T30" fmla="*/ 2755 w 5193"/>
                <a:gd name="T31" fmla="*/ 1138 h 3349"/>
                <a:gd name="T32" fmla="*/ 2888 w 5193"/>
                <a:gd name="T33" fmla="*/ 1101 h 3349"/>
                <a:gd name="T34" fmla="*/ 3020 w 5193"/>
                <a:gd name="T35" fmla="*/ 1064 h 3349"/>
                <a:gd name="T36" fmla="*/ 3152 w 5193"/>
                <a:gd name="T37" fmla="*/ 1024 h 3349"/>
                <a:gd name="T38" fmla="*/ 3283 w 5193"/>
                <a:gd name="T39" fmla="*/ 985 h 3349"/>
                <a:gd name="T40" fmla="*/ 3414 w 5193"/>
                <a:gd name="T41" fmla="*/ 944 h 3349"/>
                <a:gd name="T42" fmla="*/ 3542 w 5193"/>
                <a:gd name="T43" fmla="*/ 900 h 3349"/>
                <a:gd name="T44" fmla="*/ 3670 w 5193"/>
                <a:gd name="T45" fmla="*/ 856 h 3349"/>
                <a:gd name="T46" fmla="*/ 3797 w 5193"/>
                <a:gd name="T47" fmla="*/ 812 h 3349"/>
                <a:gd name="T48" fmla="*/ 3921 w 5193"/>
                <a:gd name="T49" fmla="*/ 764 h 3349"/>
                <a:gd name="T50" fmla="*/ 4045 w 5193"/>
                <a:gd name="T51" fmla="*/ 717 h 3349"/>
                <a:gd name="T52" fmla="*/ 4167 w 5193"/>
                <a:gd name="T53" fmla="*/ 667 h 3349"/>
                <a:gd name="T54" fmla="*/ 4167 w 5193"/>
                <a:gd name="T55" fmla="*/ 0 h 3349"/>
                <a:gd name="T56" fmla="*/ 5193 w 5193"/>
                <a:gd name="T57" fmla="*/ 1643 h 3349"/>
                <a:gd name="T58" fmla="*/ 4154 w 5193"/>
                <a:gd name="T59" fmla="*/ 3349 h 3349"/>
                <a:gd name="T60" fmla="*/ 4135 w 5193"/>
                <a:gd name="T61" fmla="*/ 2661 h 3349"/>
                <a:gd name="T62" fmla="*/ 4022 w 5193"/>
                <a:gd name="T63" fmla="*/ 2614 h 3349"/>
                <a:gd name="T64" fmla="*/ 3908 w 5193"/>
                <a:gd name="T65" fmla="*/ 2566 h 3349"/>
                <a:gd name="T66" fmla="*/ 3790 w 5193"/>
                <a:gd name="T67" fmla="*/ 2521 h 3349"/>
                <a:gd name="T68" fmla="*/ 3672 w 5193"/>
                <a:gd name="T69" fmla="*/ 2478 h 3349"/>
                <a:gd name="T70" fmla="*/ 3551 w 5193"/>
                <a:gd name="T71" fmla="*/ 2436 h 3349"/>
                <a:gd name="T72" fmla="*/ 3428 w 5193"/>
                <a:gd name="T73" fmla="*/ 2394 h 3349"/>
                <a:gd name="T74" fmla="*/ 3303 w 5193"/>
                <a:gd name="T75" fmla="*/ 2355 h 3349"/>
                <a:gd name="T76" fmla="*/ 3178 w 5193"/>
                <a:gd name="T77" fmla="*/ 2316 h 3349"/>
                <a:gd name="T78" fmla="*/ 3051 w 5193"/>
                <a:gd name="T79" fmla="*/ 2279 h 3349"/>
                <a:gd name="T80" fmla="*/ 2923 w 5193"/>
                <a:gd name="T81" fmla="*/ 2243 h 3349"/>
                <a:gd name="T82" fmla="*/ 2793 w 5193"/>
                <a:gd name="T83" fmla="*/ 2209 h 3349"/>
                <a:gd name="T84" fmla="*/ 2663 w 5193"/>
                <a:gd name="T85" fmla="*/ 2174 h 3349"/>
                <a:gd name="T86" fmla="*/ 2531 w 5193"/>
                <a:gd name="T87" fmla="*/ 2142 h 3349"/>
                <a:gd name="T88" fmla="*/ 2397 w 5193"/>
                <a:gd name="T89" fmla="*/ 2110 h 3349"/>
                <a:gd name="T90" fmla="*/ 2266 w 5193"/>
                <a:gd name="T91" fmla="*/ 2080 h 3349"/>
                <a:gd name="T92" fmla="*/ 2131 w 5193"/>
                <a:gd name="T93" fmla="*/ 2051 h 3349"/>
                <a:gd name="T94" fmla="*/ 1996 w 5193"/>
                <a:gd name="T95" fmla="*/ 2023 h 3349"/>
                <a:gd name="T96" fmla="*/ 1862 w 5193"/>
                <a:gd name="T97" fmla="*/ 1996 h 3349"/>
                <a:gd name="T98" fmla="*/ 1727 w 5193"/>
                <a:gd name="T99" fmla="*/ 1969 h 3349"/>
                <a:gd name="T100" fmla="*/ 1592 w 5193"/>
                <a:gd name="T101" fmla="*/ 1945 h 3349"/>
                <a:gd name="T102" fmla="*/ 1457 w 5193"/>
                <a:gd name="T103" fmla="*/ 1920 h 3349"/>
                <a:gd name="T104" fmla="*/ 1322 w 5193"/>
                <a:gd name="T105" fmla="*/ 1896 h 3349"/>
                <a:gd name="T106" fmla="*/ 1187 w 5193"/>
                <a:gd name="T107" fmla="*/ 1874 h 3349"/>
                <a:gd name="T108" fmla="*/ 1052 w 5193"/>
                <a:gd name="T109" fmla="*/ 1852 h 3349"/>
                <a:gd name="T110" fmla="*/ 919 w 5193"/>
                <a:gd name="T111" fmla="*/ 1832 h 3349"/>
                <a:gd name="T112" fmla="*/ 784 w 5193"/>
                <a:gd name="T113" fmla="*/ 1813 h 3349"/>
                <a:gd name="T114" fmla="*/ 652 w 5193"/>
                <a:gd name="T115" fmla="*/ 1793 h 3349"/>
                <a:gd name="T116" fmla="*/ 519 w 5193"/>
                <a:gd name="T117" fmla="*/ 1775 h 3349"/>
                <a:gd name="T118" fmla="*/ 258 w 5193"/>
                <a:gd name="T119" fmla="*/ 1742 h 3349"/>
                <a:gd name="T120" fmla="*/ 0 w 5193"/>
                <a:gd name="T121" fmla="*/ 1711 h 3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93" h="3349">
                  <a:moveTo>
                    <a:pt x="0" y="1711"/>
                  </a:moveTo>
                  <a:lnTo>
                    <a:pt x="246" y="1669"/>
                  </a:lnTo>
                  <a:lnTo>
                    <a:pt x="497" y="1624"/>
                  </a:lnTo>
                  <a:lnTo>
                    <a:pt x="755" y="1578"/>
                  </a:lnTo>
                  <a:lnTo>
                    <a:pt x="1015" y="1529"/>
                  </a:lnTo>
                  <a:lnTo>
                    <a:pt x="1279" y="1478"/>
                  </a:lnTo>
                  <a:lnTo>
                    <a:pt x="1547" y="1424"/>
                  </a:lnTo>
                  <a:lnTo>
                    <a:pt x="1680" y="1396"/>
                  </a:lnTo>
                  <a:lnTo>
                    <a:pt x="1814" y="1367"/>
                  </a:lnTo>
                  <a:lnTo>
                    <a:pt x="1949" y="1337"/>
                  </a:lnTo>
                  <a:lnTo>
                    <a:pt x="2084" y="1306"/>
                  </a:lnTo>
                  <a:lnTo>
                    <a:pt x="2218" y="1274"/>
                  </a:lnTo>
                  <a:lnTo>
                    <a:pt x="2353" y="1242"/>
                  </a:lnTo>
                  <a:lnTo>
                    <a:pt x="2487" y="1209"/>
                  </a:lnTo>
                  <a:lnTo>
                    <a:pt x="2622" y="1174"/>
                  </a:lnTo>
                  <a:lnTo>
                    <a:pt x="2755" y="1138"/>
                  </a:lnTo>
                  <a:lnTo>
                    <a:pt x="2888" y="1101"/>
                  </a:lnTo>
                  <a:lnTo>
                    <a:pt x="3020" y="1064"/>
                  </a:lnTo>
                  <a:lnTo>
                    <a:pt x="3152" y="1024"/>
                  </a:lnTo>
                  <a:lnTo>
                    <a:pt x="3283" y="985"/>
                  </a:lnTo>
                  <a:lnTo>
                    <a:pt x="3414" y="944"/>
                  </a:lnTo>
                  <a:lnTo>
                    <a:pt x="3542" y="900"/>
                  </a:lnTo>
                  <a:lnTo>
                    <a:pt x="3670" y="856"/>
                  </a:lnTo>
                  <a:lnTo>
                    <a:pt x="3797" y="812"/>
                  </a:lnTo>
                  <a:lnTo>
                    <a:pt x="3921" y="764"/>
                  </a:lnTo>
                  <a:lnTo>
                    <a:pt x="4045" y="717"/>
                  </a:lnTo>
                  <a:lnTo>
                    <a:pt x="4167" y="667"/>
                  </a:lnTo>
                  <a:lnTo>
                    <a:pt x="4167" y="0"/>
                  </a:lnTo>
                  <a:lnTo>
                    <a:pt x="5193" y="1643"/>
                  </a:lnTo>
                  <a:lnTo>
                    <a:pt x="4154" y="3349"/>
                  </a:lnTo>
                  <a:lnTo>
                    <a:pt x="4135" y="2661"/>
                  </a:lnTo>
                  <a:lnTo>
                    <a:pt x="4022" y="2614"/>
                  </a:lnTo>
                  <a:lnTo>
                    <a:pt x="3908" y="2566"/>
                  </a:lnTo>
                  <a:lnTo>
                    <a:pt x="3790" y="2521"/>
                  </a:lnTo>
                  <a:lnTo>
                    <a:pt x="3672" y="2478"/>
                  </a:lnTo>
                  <a:lnTo>
                    <a:pt x="3551" y="2436"/>
                  </a:lnTo>
                  <a:lnTo>
                    <a:pt x="3428" y="2394"/>
                  </a:lnTo>
                  <a:lnTo>
                    <a:pt x="3303" y="2355"/>
                  </a:lnTo>
                  <a:lnTo>
                    <a:pt x="3178" y="2316"/>
                  </a:lnTo>
                  <a:lnTo>
                    <a:pt x="3051" y="2279"/>
                  </a:lnTo>
                  <a:lnTo>
                    <a:pt x="2923" y="2243"/>
                  </a:lnTo>
                  <a:lnTo>
                    <a:pt x="2793" y="2209"/>
                  </a:lnTo>
                  <a:lnTo>
                    <a:pt x="2663" y="2174"/>
                  </a:lnTo>
                  <a:lnTo>
                    <a:pt x="2531" y="2142"/>
                  </a:lnTo>
                  <a:lnTo>
                    <a:pt x="2397" y="2110"/>
                  </a:lnTo>
                  <a:lnTo>
                    <a:pt x="2266" y="2080"/>
                  </a:lnTo>
                  <a:lnTo>
                    <a:pt x="2131" y="2051"/>
                  </a:lnTo>
                  <a:lnTo>
                    <a:pt x="1996" y="2023"/>
                  </a:lnTo>
                  <a:lnTo>
                    <a:pt x="1862" y="1996"/>
                  </a:lnTo>
                  <a:lnTo>
                    <a:pt x="1727" y="1969"/>
                  </a:lnTo>
                  <a:lnTo>
                    <a:pt x="1592" y="1945"/>
                  </a:lnTo>
                  <a:lnTo>
                    <a:pt x="1457" y="1920"/>
                  </a:lnTo>
                  <a:lnTo>
                    <a:pt x="1322" y="1896"/>
                  </a:lnTo>
                  <a:lnTo>
                    <a:pt x="1187" y="1874"/>
                  </a:lnTo>
                  <a:lnTo>
                    <a:pt x="1052" y="1852"/>
                  </a:lnTo>
                  <a:lnTo>
                    <a:pt x="919" y="1832"/>
                  </a:lnTo>
                  <a:lnTo>
                    <a:pt x="784" y="1813"/>
                  </a:lnTo>
                  <a:lnTo>
                    <a:pt x="652" y="1793"/>
                  </a:lnTo>
                  <a:lnTo>
                    <a:pt x="519" y="1775"/>
                  </a:lnTo>
                  <a:lnTo>
                    <a:pt x="258" y="1742"/>
                  </a:lnTo>
                  <a:lnTo>
                    <a:pt x="0" y="1711"/>
                  </a:lnTo>
                  <a:close/>
                </a:path>
              </a:pathLst>
            </a:custGeom>
            <a:gradFill>
              <a:gsLst>
                <a:gs pos="18000">
                  <a:srgbClr val="184D72"/>
                </a:gs>
                <a:gs pos="78000">
                  <a:schemeClr val="accent4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7" name="Freeform 62">
              <a:extLst>
                <a:ext uri="{FF2B5EF4-FFF2-40B4-BE49-F238E27FC236}">
                  <a16:creationId xmlns:a16="http://schemas.microsoft.com/office/drawing/2014/main" id="{7C538B8E-81E3-487B-B4F6-6A28BBA3AC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2292" y="1695601"/>
              <a:ext cx="3911600" cy="4017963"/>
            </a:xfrm>
            <a:custGeom>
              <a:avLst/>
              <a:gdLst>
                <a:gd name="T0" fmla="*/ 4074 w 7393"/>
                <a:gd name="T1" fmla="*/ 19 h 7593"/>
                <a:gd name="T2" fmla="*/ 4620 w 7393"/>
                <a:gd name="T3" fmla="*/ 119 h 7593"/>
                <a:gd name="T4" fmla="*/ 5135 w 7393"/>
                <a:gd name="T5" fmla="*/ 298 h 7593"/>
                <a:gd name="T6" fmla="*/ 5613 w 7393"/>
                <a:gd name="T7" fmla="*/ 549 h 7593"/>
                <a:gd name="T8" fmla="*/ 6048 w 7393"/>
                <a:gd name="T9" fmla="*/ 867 h 7593"/>
                <a:gd name="T10" fmla="*/ 6432 w 7393"/>
                <a:gd name="T11" fmla="*/ 1244 h 7593"/>
                <a:gd name="T12" fmla="*/ 6761 w 7393"/>
                <a:gd name="T13" fmla="*/ 1673 h 7593"/>
                <a:gd name="T14" fmla="*/ 7028 w 7393"/>
                <a:gd name="T15" fmla="*/ 2150 h 7593"/>
                <a:gd name="T16" fmla="*/ 7227 w 7393"/>
                <a:gd name="T17" fmla="*/ 2668 h 7593"/>
                <a:gd name="T18" fmla="*/ 7350 w 7393"/>
                <a:gd name="T19" fmla="*/ 3218 h 7593"/>
                <a:gd name="T20" fmla="*/ 7393 w 7393"/>
                <a:gd name="T21" fmla="*/ 3796 h 7593"/>
                <a:gd name="T22" fmla="*/ 7350 w 7393"/>
                <a:gd name="T23" fmla="*/ 4375 h 7593"/>
                <a:gd name="T24" fmla="*/ 7227 w 7393"/>
                <a:gd name="T25" fmla="*/ 4925 h 7593"/>
                <a:gd name="T26" fmla="*/ 7028 w 7393"/>
                <a:gd name="T27" fmla="*/ 5443 h 7593"/>
                <a:gd name="T28" fmla="*/ 6761 w 7393"/>
                <a:gd name="T29" fmla="*/ 5920 h 7593"/>
                <a:gd name="T30" fmla="*/ 6432 w 7393"/>
                <a:gd name="T31" fmla="*/ 6349 h 7593"/>
                <a:gd name="T32" fmla="*/ 6048 w 7393"/>
                <a:gd name="T33" fmla="*/ 6726 h 7593"/>
                <a:gd name="T34" fmla="*/ 5613 w 7393"/>
                <a:gd name="T35" fmla="*/ 7044 h 7593"/>
                <a:gd name="T36" fmla="*/ 5135 w 7393"/>
                <a:gd name="T37" fmla="*/ 7295 h 7593"/>
                <a:gd name="T38" fmla="*/ 4620 w 7393"/>
                <a:gd name="T39" fmla="*/ 7474 h 7593"/>
                <a:gd name="T40" fmla="*/ 4074 w 7393"/>
                <a:gd name="T41" fmla="*/ 7574 h 7593"/>
                <a:gd name="T42" fmla="*/ 3507 w 7393"/>
                <a:gd name="T43" fmla="*/ 7588 h 7593"/>
                <a:gd name="T44" fmla="*/ 2952 w 7393"/>
                <a:gd name="T45" fmla="*/ 7517 h 7593"/>
                <a:gd name="T46" fmla="*/ 2425 w 7393"/>
                <a:gd name="T47" fmla="*/ 7363 h 7593"/>
                <a:gd name="T48" fmla="*/ 1935 w 7393"/>
                <a:gd name="T49" fmla="*/ 7135 h 7593"/>
                <a:gd name="T50" fmla="*/ 1485 w 7393"/>
                <a:gd name="T51" fmla="*/ 6839 h 7593"/>
                <a:gd name="T52" fmla="*/ 1082 w 7393"/>
                <a:gd name="T53" fmla="*/ 6481 h 7593"/>
                <a:gd name="T54" fmla="*/ 734 w 7393"/>
                <a:gd name="T55" fmla="*/ 6068 h 7593"/>
                <a:gd name="T56" fmla="*/ 446 w 7393"/>
                <a:gd name="T57" fmla="*/ 5607 h 7593"/>
                <a:gd name="T58" fmla="*/ 224 w 7393"/>
                <a:gd name="T59" fmla="*/ 5102 h 7593"/>
                <a:gd name="T60" fmla="*/ 75 w 7393"/>
                <a:gd name="T61" fmla="*/ 4562 h 7593"/>
                <a:gd name="T62" fmla="*/ 5 w 7393"/>
                <a:gd name="T63" fmla="*/ 3992 h 7593"/>
                <a:gd name="T64" fmla="*/ 19 w 7393"/>
                <a:gd name="T65" fmla="*/ 3409 h 7593"/>
                <a:gd name="T66" fmla="*/ 116 w 7393"/>
                <a:gd name="T67" fmla="*/ 2847 h 7593"/>
                <a:gd name="T68" fmla="*/ 291 w 7393"/>
                <a:gd name="T69" fmla="*/ 2318 h 7593"/>
                <a:gd name="T70" fmla="*/ 535 w 7393"/>
                <a:gd name="T71" fmla="*/ 1827 h 7593"/>
                <a:gd name="T72" fmla="*/ 844 w 7393"/>
                <a:gd name="T73" fmla="*/ 1381 h 7593"/>
                <a:gd name="T74" fmla="*/ 1211 w 7393"/>
                <a:gd name="T75" fmla="*/ 986 h 7593"/>
                <a:gd name="T76" fmla="*/ 1630 w 7393"/>
                <a:gd name="T77" fmla="*/ 648 h 7593"/>
                <a:gd name="T78" fmla="*/ 2093 w 7393"/>
                <a:gd name="T79" fmla="*/ 374 h 7593"/>
                <a:gd name="T80" fmla="*/ 2597 w 7393"/>
                <a:gd name="T81" fmla="*/ 170 h 7593"/>
                <a:gd name="T82" fmla="*/ 3134 w 7393"/>
                <a:gd name="T83" fmla="*/ 43 h 7593"/>
                <a:gd name="T84" fmla="*/ 3696 w 7393"/>
                <a:gd name="T85" fmla="*/ 0 h 7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93" h="7593">
                  <a:moveTo>
                    <a:pt x="3696" y="0"/>
                  </a:moveTo>
                  <a:lnTo>
                    <a:pt x="3886" y="5"/>
                  </a:lnTo>
                  <a:lnTo>
                    <a:pt x="4074" y="19"/>
                  </a:lnTo>
                  <a:lnTo>
                    <a:pt x="4259" y="43"/>
                  </a:lnTo>
                  <a:lnTo>
                    <a:pt x="4441" y="76"/>
                  </a:lnTo>
                  <a:lnTo>
                    <a:pt x="4620" y="119"/>
                  </a:lnTo>
                  <a:lnTo>
                    <a:pt x="4796" y="170"/>
                  </a:lnTo>
                  <a:lnTo>
                    <a:pt x="4968" y="230"/>
                  </a:lnTo>
                  <a:lnTo>
                    <a:pt x="5135" y="298"/>
                  </a:lnTo>
                  <a:lnTo>
                    <a:pt x="5299" y="374"/>
                  </a:lnTo>
                  <a:lnTo>
                    <a:pt x="5458" y="458"/>
                  </a:lnTo>
                  <a:lnTo>
                    <a:pt x="5613" y="549"/>
                  </a:lnTo>
                  <a:lnTo>
                    <a:pt x="5763" y="648"/>
                  </a:lnTo>
                  <a:lnTo>
                    <a:pt x="5908" y="754"/>
                  </a:lnTo>
                  <a:lnTo>
                    <a:pt x="6048" y="867"/>
                  </a:lnTo>
                  <a:lnTo>
                    <a:pt x="6182" y="986"/>
                  </a:lnTo>
                  <a:lnTo>
                    <a:pt x="6310" y="1112"/>
                  </a:lnTo>
                  <a:lnTo>
                    <a:pt x="6432" y="1244"/>
                  </a:lnTo>
                  <a:lnTo>
                    <a:pt x="6549" y="1381"/>
                  </a:lnTo>
                  <a:lnTo>
                    <a:pt x="6659" y="1525"/>
                  </a:lnTo>
                  <a:lnTo>
                    <a:pt x="6761" y="1673"/>
                  </a:lnTo>
                  <a:lnTo>
                    <a:pt x="6858" y="1827"/>
                  </a:lnTo>
                  <a:lnTo>
                    <a:pt x="6947" y="1986"/>
                  </a:lnTo>
                  <a:lnTo>
                    <a:pt x="7028" y="2150"/>
                  </a:lnTo>
                  <a:lnTo>
                    <a:pt x="7102" y="2318"/>
                  </a:lnTo>
                  <a:lnTo>
                    <a:pt x="7169" y="2491"/>
                  </a:lnTo>
                  <a:lnTo>
                    <a:pt x="7227" y="2668"/>
                  </a:lnTo>
                  <a:lnTo>
                    <a:pt x="7277" y="2847"/>
                  </a:lnTo>
                  <a:lnTo>
                    <a:pt x="7318" y="3031"/>
                  </a:lnTo>
                  <a:lnTo>
                    <a:pt x="7350" y="3218"/>
                  </a:lnTo>
                  <a:lnTo>
                    <a:pt x="7374" y="3409"/>
                  </a:lnTo>
                  <a:lnTo>
                    <a:pt x="7388" y="3601"/>
                  </a:lnTo>
                  <a:lnTo>
                    <a:pt x="7393" y="3796"/>
                  </a:lnTo>
                  <a:lnTo>
                    <a:pt x="7388" y="3992"/>
                  </a:lnTo>
                  <a:lnTo>
                    <a:pt x="7374" y="4184"/>
                  </a:lnTo>
                  <a:lnTo>
                    <a:pt x="7350" y="4375"/>
                  </a:lnTo>
                  <a:lnTo>
                    <a:pt x="7318" y="4562"/>
                  </a:lnTo>
                  <a:lnTo>
                    <a:pt x="7277" y="4746"/>
                  </a:lnTo>
                  <a:lnTo>
                    <a:pt x="7227" y="4925"/>
                  </a:lnTo>
                  <a:lnTo>
                    <a:pt x="7169" y="5102"/>
                  </a:lnTo>
                  <a:lnTo>
                    <a:pt x="7102" y="5275"/>
                  </a:lnTo>
                  <a:lnTo>
                    <a:pt x="7028" y="5443"/>
                  </a:lnTo>
                  <a:lnTo>
                    <a:pt x="6947" y="5607"/>
                  </a:lnTo>
                  <a:lnTo>
                    <a:pt x="6858" y="5766"/>
                  </a:lnTo>
                  <a:lnTo>
                    <a:pt x="6761" y="5920"/>
                  </a:lnTo>
                  <a:lnTo>
                    <a:pt x="6659" y="6068"/>
                  </a:lnTo>
                  <a:lnTo>
                    <a:pt x="6549" y="6212"/>
                  </a:lnTo>
                  <a:lnTo>
                    <a:pt x="6432" y="6349"/>
                  </a:lnTo>
                  <a:lnTo>
                    <a:pt x="6310" y="6481"/>
                  </a:lnTo>
                  <a:lnTo>
                    <a:pt x="6182" y="6607"/>
                  </a:lnTo>
                  <a:lnTo>
                    <a:pt x="6048" y="6726"/>
                  </a:lnTo>
                  <a:lnTo>
                    <a:pt x="5908" y="6839"/>
                  </a:lnTo>
                  <a:lnTo>
                    <a:pt x="5763" y="6945"/>
                  </a:lnTo>
                  <a:lnTo>
                    <a:pt x="5613" y="7044"/>
                  </a:lnTo>
                  <a:lnTo>
                    <a:pt x="5458" y="7135"/>
                  </a:lnTo>
                  <a:lnTo>
                    <a:pt x="5299" y="7219"/>
                  </a:lnTo>
                  <a:lnTo>
                    <a:pt x="5135" y="7295"/>
                  </a:lnTo>
                  <a:lnTo>
                    <a:pt x="4968" y="7363"/>
                  </a:lnTo>
                  <a:lnTo>
                    <a:pt x="4796" y="7423"/>
                  </a:lnTo>
                  <a:lnTo>
                    <a:pt x="4620" y="7474"/>
                  </a:lnTo>
                  <a:lnTo>
                    <a:pt x="4441" y="7517"/>
                  </a:lnTo>
                  <a:lnTo>
                    <a:pt x="4259" y="7550"/>
                  </a:lnTo>
                  <a:lnTo>
                    <a:pt x="4074" y="7574"/>
                  </a:lnTo>
                  <a:lnTo>
                    <a:pt x="3886" y="7588"/>
                  </a:lnTo>
                  <a:lnTo>
                    <a:pt x="3696" y="7593"/>
                  </a:lnTo>
                  <a:lnTo>
                    <a:pt x="3507" y="7588"/>
                  </a:lnTo>
                  <a:lnTo>
                    <a:pt x="3318" y="7574"/>
                  </a:lnTo>
                  <a:lnTo>
                    <a:pt x="3134" y="7550"/>
                  </a:lnTo>
                  <a:lnTo>
                    <a:pt x="2952" y="7517"/>
                  </a:lnTo>
                  <a:lnTo>
                    <a:pt x="2773" y="7474"/>
                  </a:lnTo>
                  <a:lnTo>
                    <a:pt x="2597" y="7423"/>
                  </a:lnTo>
                  <a:lnTo>
                    <a:pt x="2425" y="7363"/>
                  </a:lnTo>
                  <a:lnTo>
                    <a:pt x="2257" y="7295"/>
                  </a:lnTo>
                  <a:lnTo>
                    <a:pt x="2093" y="7219"/>
                  </a:lnTo>
                  <a:lnTo>
                    <a:pt x="1935" y="7135"/>
                  </a:lnTo>
                  <a:lnTo>
                    <a:pt x="1780" y="7044"/>
                  </a:lnTo>
                  <a:lnTo>
                    <a:pt x="1630" y="6945"/>
                  </a:lnTo>
                  <a:lnTo>
                    <a:pt x="1485" y="6839"/>
                  </a:lnTo>
                  <a:lnTo>
                    <a:pt x="1345" y="6726"/>
                  </a:lnTo>
                  <a:lnTo>
                    <a:pt x="1211" y="6607"/>
                  </a:lnTo>
                  <a:lnTo>
                    <a:pt x="1082" y="6481"/>
                  </a:lnTo>
                  <a:lnTo>
                    <a:pt x="961" y="6349"/>
                  </a:lnTo>
                  <a:lnTo>
                    <a:pt x="844" y="6212"/>
                  </a:lnTo>
                  <a:lnTo>
                    <a:pt x="734" y="6068"/>
                  </a:lnTo>
                  <a:lnTo>
                    <a:pt x="631" y="5920"/>
                  </a:lnTo>
                  <a:lnTo>
                    <a:pt x="535" y="5766"/>
                  </a:lnTo>
                  <a:lnTo>
                    <a:pt x="446" y="5607"/>
                  </a:lnTo>
                  <a:lnTo>
                    <a:pt x="365" y="5443"/>
                  </a:lnTo>
                  <a:lnTo>
                    <a:pt x="291" y="5275"/>
                  </a:lnTo>
                  <a:lnTo>
                    <a:pt x="224" y="5102"/>
                  </a:lnTo>
                  <a:lnTo>
                    <a:pt x="166" y="4925"/>
                  </a:lnTo>
                  <a:lnTo>
                    <a:pt x="116" y="4746"/>
                  </a:lnTo>
                  <a:lnTo>
                    <a:pt x="75" y="4562"/>
                  </a:lnTo>
                  <a:lnTo>
                    <a:pt x="42" y="4375"/>
                  </a:lnTo>
                  <a:lnTo>
                    <a:pt x="19" y="4184"/>
                  </a:lnTo>
                  <a:lnTo>
                    <a:pt x="5" y="3992"/>
                  </a:lnTo>
                  <a:lnTo>
                    <a:pt x="0" y="3796"/>
                  </a:lnTo>
                  <a:lnTo>
                    <a:pt x="5" y="3601"/>
                  </a:lnTo>
                  <a:lnTo>
                    <a:pt x="19" y="3409"/>
                  </a:lnTo>
                  <a:lnTo>
                    <a:pt x="42" y="3218"/>
                  </a:lnTo>
                  <a:lnTo>
                    <a:pt x="75" y="3031"/>
                  </a:lnTo>
                  <a:lnTo>
                    <a:pt x="116" y="2847"/>
                  </a:lnTo>
                  <a:lnTo>
                    <a:pt x="166" y="2668"/>
                  </a:lnTo>
                  <a:lnTo>
                    <a:pt x="224" y="2491"/>
                  </a:lnTo>
                  <a:lnTo>
                    <a:pt x="291" y="2318"/>
                  </a:lnTo>
                  <a:lnTo>
                    <a:pt x="365" y="2150"/>
                  </a:lnTo>
                  <a:lnTo>
                    <a:pt x="446" y="1986"/>
                  </a:lnTo>
                  <a:lnTo>
                    <a:pt x="535" y="1827"/>
                  </a:lnTo>
                  <a:lnTo>
                    <a:pt x="631" y="1673"/>
                  </a:lnTo>
                  <a:lnTo>
                    <a:pt x="734" y="1525"/>
                  </a:lnTo>
                  <a:lnTo>
                    <a:pt x="844" y="1381"/>
                  </a:lnTo>
                  <a:lnTo>
                    <a:pt x="961" y="1244"/>
                  </a:lnTo>
                  <a:lnTo>
                    <a:pt x="1082" y="1112"/>
                  </a:lnTo>
                  <a:lnTo>
                    <a:pt x="1211" y="986"/>
                  </a:lnTo>
                  <a:lnTo>
                    <a:pt x="1345" y="867"/>
                  </a:lnTo>
                  <a:lnTo>
                    <a:pt x="1485" y="754"/>
                  </a:lnTo>
                  <a:lnTo>
                    <a:pt x="1630" y="648"/>
                  </a:lnTo>
                  <a:lnTo>
                    <a:pt x="1780" y="549"/>
                  </a:lnTo>
                  <a:lnTo>
                    <a:pt x="1935" y="458"/>
                  </a:lnTo>
                  <a:lnTo>
                    <a:pt x="2093" y="374"/>
                  </a:lnTo>
                  <a:lnTo>
                    <a:pt x="2257" y="298"/>
                  </a:lnTo>
                  <a:lnTo>
                    <a:pt x="2425" y="230"/>
                  </a:lnTo>
                  <a:lnTo>
                    <a:pt x="2597" y="170"/>
                  </a:lnTo>
                  <a:lnTo>
                    <a:pt x="2773" y="119"/>
                  </a:lnTo>
                  <a:lnTo>
                    <a:pt x="2952" y="76"/>
                  </a:lnTo>
                  <a:lnTo>
                    <a:pt x="3134" y="43"/>
                  </a:lnTo>
                  <a:lnTo>
                    <a:pt x="3318" y="19"/>
                  </a:lnTo>
                  <a:lnTo>
                    <a:pt x="3507" y="5"/>
                  </a:lnTo>
                  <a:lnTo>
                    <a:pt x="3696" y="0"/>
                  </a:lnTo>
                  <a:close/>
                </a:path>
              </a:pathLst>
            </a:custGeom>
            <a:solidFill>
              <a:schemeClr val="accent4">
                <a:alpha val="16000"/>
              </a:schemeClr>
            </a:solidFill>
            <a:ln w="254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4" name="TextBox 363">
              <a:extLst>
                <a:ext uri="{FF2B5EF4-FFF2-40B4-BE49-F238E27FC236}">
                  <a16:creationId xmlns:a16="http://schemas.microsoft.com/office/drawing/2014/main" id="{A78B07E9-306D-4BA8-B3E9-BA1B85D0294D}"/>
                </a:ext>
              </a:extLst>
            </p:cNvPr>
            <p:cNvSpPr txBox="1"/>
            <p:nvPr/>
          </p:nvSpPr>
          <p:spPr>
            <a:xfrm>
              <a:off x="5413401" y="3341978"/>
              <a:ext cx="152971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987"/>
              <a:r>
                <a:rPr lang="en-US" sz="2000" b="1" kern="0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SMS Message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3889" y="276299"/>
            <a:ext cx="10969943" cy="711081"/>
          </a:xfrm>
        </p:spPr>
        <p:txBody>
          <a:bodyPr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IN" sz="4000" dirty="0">
                <a:ln w="0"/>
                <a:gradFill>
                  <a:gsLst>
                    <a:gs pos="21000">
                      <a:srgbClr val="00B0F0"/>
                    </a:gs>
                    <a:gs pos="88000">
                      <a:schemeClr val="tx2">
                        <a:lumMod val="50000"/>
                      </a:schemeClr>
                    </a:gs>
                  </a:gsLst>
                  <a:lin ang="540000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IOT System</a:t>
            </a:r>
            <a:endParaRPr lang="en-US" sz="4000" dirty="0">
              <a:ln w="0"/>
              <a:gradFill>
                <a:gsLst>
                  <a:gs pos="21000">
                    <a:srgbClr val="00B0F0"/>
                  </a:gs>
                  <a:gs pos="88000">
                    <a:schemeClr val="tx2">
                      <a:lumMod val="50000"/>
                    </a:schemeClr>
                  </a:gs>
                </a:gsLst>
                <a:lin ang="5400000"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CC00749D-513D-4145-BD5C-AD0F81A3BD80}"/>
              </a:ext>
            </a:extLst>
          </p:cNvPr>
          <p:cNvGrpSpPr/>
          <p:nvPr/>
        </p:nvGrpSpPr>
        <p:grpSpPr>
          <a:xfrm>
            <a:off x="668633" y="1751164"/>
            <a:ext cx="2000250" cy="234950"/>
            <a:chOff x="671513" y="1701801"/>
            <a:chExt cx="2000250" cy="234950"/>
          </a:xfrm>
          <a:solidFill>
            <a:schemeClr val="accent1">
              <a:lumMod val="75000"/>
            </a:schemeClr>
          </a:solidFill>
        </p:grpSpPr>
        <p:sp>
          <p:nvSpPr>
            <p:cNvPr id="1015" name="Freeform 6">
              <a:extLst>
                <a:ext uri="{FF2B5EF4-FFF2-40B4-BE49-F238E27FC236}">
                  <a16:creationId xmlns:a16="http://schemas.microsoft.com/office/drawing/2014/main" id="{D21EB4DD-3730-41CE-A248-A4AD75F0F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513" y="1701801"/>
              <a:ext cx="254000" cy="169863"/>
            </a:xfrm>
            <a:custGeom>
              <a:avLst/>
              <a:gdLst>
                <a:gd name="T0" fmla="*/ 115 w 479"/>
                <a:gd name="T1" fmla="*/ 97 h 319"/>
                <a:gd name="T2" fmla="*/ 234 w 479"/>
                <a:gd name="T3" fmla="*/ 97 h 319"/>
                <a:gd name="T4" fmla="*/ 234 w 479"/>
                <a:gd name="T5" fmla="*/ 0 h 319"/>
                <a:gd name="T6" fmla="*/ 361 w 479"/>
                <a:gd name="T7" fmla="*/ 0 h 319"/>
                <a:gd name="T8" fmla="*/ 361 w 479"/>
                <a:gd name="T9" fmla="*/ 97 h 319"/>
                <a:gd name="T10" fmla="*/ 479 w 479"/>
                <a:gd name="T11" fmla="*/ 97 h 319"/>
                <a:gd name="T12" fmla="*/ 477 w 479"/>
                <a:gd name="T13" fmla="*/ 319 h 319"/>
                <a:gd name="T14" fmla="*/ 0 w 479"/>
                <a:gd name="T15" fmla="*/ 319 h 319"/>
                <a:gd name="T16" fmla="*/ 0 w 479"/>
                <a:gd name="T17" fmla="*/ 224 h 319"/>
                <a:gd name="T18" fmla="*/ 115 w 479"/>
                <a:gd name="T19" fmla="*/ 224 h 319"/>
                <a:gd name="T20" fmla="*/ 115 w 479"/>
                <a:gd name="T21" fmla="*/ 97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9" h="319">
                  <a:moveTo>
                    <a:pt x="115" y="97"/>
                  </a:moveTo>
                  <a:lnTo>
                    <a:pt x="234" y="97"/>
                  </a:lnTo>
                  <a:lnTo>
                    <a:pt x="234" y="0"/>
                  </a:lnTo>
                  <a:lnTo>
                    <a:pt x="361" y="0"/>
                  </a:lnTo>
                  <a:lnTo>
                    <a:pt x="361" y="97"/>
                  </a:lnTo>
                  <a:lnTo>
                    <a:pt x="479" y="97"/>
                  </a:lnTo>
                  <a:lnTo>
                    <a:pt x="477" y="319"/>
                  </a:lnTo>
                  <a:lnTo>
                    <a:pt x="0" y="319"/>
                  </a:lnTo>
                  <a:lnTo>
                    <a:pt x="0" y="224"/>
                  </a:lnTo>
                  <a:lnTo>
                    <a:pt x="115" y="224"/>
                  </a:lnTo>
                  <a:lnTo>
                    <a:pt x="115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6" name="Freeform 7">
              <a:extLst>
                <a:ext uri="{FF2B5EF4-FFF2-40B4-BE49-F238E27FC236}">
                  <a16:creationId xmlns:a16="http://schemas.microsoft.com/office/drawing/2014/main" id="{F06B34E2-2086-43D4-83F5-33527E0F0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601" y="1755776"/>
              <a:ext cx="125413" cy="115888"/>
            </a:xfrm>
            <a:custGeom>
              <a:avLst/>
              <a:gdLst>
                <a:gd name="T0" fmla="*/ 107 w 238"/>
                <a:gd name="T1" fmla="*/ 0 h 217"/>
                <a:gd name="T2" fmla="*/ 233 w 238"/>
                <a:gd name="T3" fmla="*/ 0 h 217"/>
                <a:gd name="T4" fmla="*/ 238 w 238"/>
                <a:gd name="T5" fmla="*/ 217 h 217"/>
                <a:gd name="T6" fmla="*/ 0 w 238"/>
                <a:gd name="T7" fmla="*/ 217 h 217"/>
                <a:gd name="T8" fmla="*/ 0 w 238"/>
                <a:gd name="T9" fmla="*/ 122 h 217"/>
                <a:gd name="T10" fmla="*/ 107 w 238"/>
                <a:gd name="T11" fmla="*/ 122 h 217"/>
                <a:gd name="T12" fmla="*/ 107 w 238"/>
                <a:gd name="T13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8" h="217">
                  <a:moveTo>
                    <a:pt x="107" y="0"/>
                  </a:moveTo>
                  <a:lnTo>
                    <a:pt x="233" y="0"/>
                  </a:lnTo>
                  <a:lnTo>
                    <a:pt x="238" y="217"/>
                  </a:lnTo>
                  <a:lnTo>
                    <a:pt x="0" y="217"/>
                  </a:lnTo>
                  <a:lnTo>
                    <a:pt x="0" y="122"/>
                  </a:lnTo>
                  <a:lnTo>
                    <a:pt x="107" y="122"/>
                  </a:lnTo>
                  <a:lnTo>
                    <a:pt x="1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7" name="Freeform 8">
              <a:extLst>
                <a:ext uri="{FF2B5EF4-FFF2-40B4-BE49-F238E27FC236}">
                  <a16:creationId xmlns:a16="http://schemas.microsoft.com/office/drawing/2014/main" id="{D30A3E99-73B9-468E-A7F6-C7FF7ADF0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226" y="1755776"/>
              <a:ext cx="185738" cy="115888"/>
            </a:xfrm>
            <a:custGeom>
              <a:avLst/>
              <a:gdLst>
                <a:gd name="T0" fmla="*/ 110 w 351"/>
                <a:gd name="T1" fmla="*/ 0 h 217"/>
                <a:gd name="T2" fmla="*/ 237 w 351"/>
                <a:gd name="T3" fmla="*/ 0 h 217"/>
                <a:gd name="T4" fmla="*/ 237 w 351"/>
                <a:gd name="T5" fmla="*/ 122 h 217"/>
                <a:gd name="T6" fmla="*/ 351 w 351"/>
                <a:gd name="T7" fmla="*/ 122 h 217"/>
                <a:gd name="T8" fmla="*/ 351 w 351"/>
                <a:gd name="T9" fmla="*/ 217 h 217"/>
                <a:gd name="T10" fmla="*/ 0 w 351"/>
                <a:gd name="T11" fmla="*/ 217 h 217"/>
                <a:gd name="T12" fmla="*/ 0 w 351"/>
                <a:gd name="T13" fmla="*/ 122 h 217"/>
                <a:gd name="T14" fmla="*/ 110 w 351"/>
                <a:gd name="T15" fmla="*/ 122 h 217"/>
                <a:gd name="T16" fmla="*/ 110 w 351"/>
                <a:gd name="T17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1" h="217">
                  <a:moveTo>
                    <a:pt x="110" y="0"/>
                  </a:moveTo>
                  <a:lnTo>
                    <a:pt x="237" y="0"/>
                  </a:lnTo>
                  <a:lnTo>
                    <a:pt x="237" y="122"/>
                  </a:lnTo>
                  <a:lnTo>
                    <a:pt x="351" y="122"/>
                  </a:lnTo>
                  <a:lnTo>
                    <a:pt x="351" y="217"/>
                  </a:lnTo>
                  <a:lnTo>
                    <a:pt x="0" y="217"/>
                  </a:lnTo>
                  <a:lnTo>
                    <a:pt x="0" y="122"/>
                  </a:lnTo>
                  <a:lnTo>
                    <a:pt x="110" y="122"/>
                  </a:lnTo>
                  <a:lnTo>
                    <a:pt x="1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8" name="Freeform 9">
              <a:extLst>
                <a:ext uri="{FF2B5EF4-FFF2-40B4-BE49-F238E27FC236}">
                  <a16:creationId xmlns:a16="http://schemas.microsoft.com/office/drawing/2014/main" id="{EC8F6724-8BD2-4941-8C6D-25D2632FC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1638" y="1706563"/>
              <a:ext cx="303213" cy="165100"/>
            </a:xfrm>
            <a:custGeom>
              <a:avLst/>
              <a:gdLst>
                <a:gd name="T0" fmla="*/ 357 w 573"/>
                <a:gd name="T1" fmla="*/ 0 h 310"/>
                <a:gd name="T2" fmla="*/ 483 w 573"/>
                <a:gd name="T3" fmla="*/ 0 h 310"/>
                <a:gd name="T4" fmla="*/ 483 w 573"/>
                <a:gd name="T5" fmla="*/ 98 h 310"/>
                <a:gd name="T6" fmla="*/ 573 w 573"/>
                <a:gd name="T7" fmla="*/ 98 h 310"/>
                <a:gd name="T8" fmla="*/ 573 w 573"/>
                <a:gd name="T9" fmla="*/ 215 h 310"/>
                <a:gd name="T10" fmla="*/ 573 w 573"/>
                <a:gd name="T11" fmla="*/ 310 h 310"/>
                <a:gd name="T12" fmla="*/ 236 w 573"/>
                <a:gd name="T13" fmla="*/ 310 h 310"/>
                <a:gd name="T14" fmla="*/ 116 w 573"/>
                <a:gd name="T15" fmla="*/ 310 h 310"/>
                <a:gd name="T16" fmla="*/ 0 w 573"/>
                <a:gd name="T17" fmla="*/ 310 h 310"/>
                <a:gd name="T18" fmla="*/ 0 w 573"/>
                <a:gd name="T19" fmla="*/ 215 h 310"/>
                <a:gd name="T20" fmla="*/ 0 w 573"/>
                <a:gd name="T21" fmla="*/ 1 h 310"/>
                <a:gd name="T22" fmla="*/ 116 w 573"/>
                <a:gd name="T23" fmla="*/ 1 h 310"/>
                <a:gd name="T24" fmla="*/ 116 w 573"/>
                <a:gd name="T25" fmla="*/ 215 h 310"/>
                <a:gd name="T26" fmla="*/ 236 w 573"/>
                <a:gd name="T27" fmla="*/ 215 h 310"/>
                <a:gd name="T28" fmla="*/ 236 w 573"/>
                <a:gd name="T29" fmla="*/ 98 h 310"/>
                <a:gd name="T30" fmla="*/ 357 w 573"/>
                <a:gd name="T31" fmla="*/ 98 h 310"/>
                <a:gd name="T32" fmla="*/ 357 w 573"/>
                <a:gd name="T33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3" h="310">
                  <a:moveTo>
                    <a:pt x="357" y="0"/>
                  </a:moveTo>
                  <a:lnTo>
                    <a:pt x="483" y="0"/>
                  </a:lnTo>
                  <a:lnTo>
                    <a:pt x="483" y="98"/>
                  </a:lnTo>
                  <a:lnTo>
                    <a:pt x="573" y="98"/>
                  </a:lnTo>
                  <a:lnTo>
                    <a:pt x="573" y="215"/>
                  </a:lnTo>
                  <a:lnTo>
                    <a:pt x="573" y="310"/>
                  </a:lnTo>
                  <a:lnTo>
                    <a:pt x="236" y="310"/>
                  </a:lnTo>
                  <a:lnTo>
                    <a:pt x="116" y="310"/>
                  </a:lnTo>
                  <a:lnTo>
                    <a:pt x="0" y="310"/>
                  </a:lnTo>
                  <a:lnTo>
                    <a:pt x="0" y="215"/>
                  </a:lnTo>
                  <a:lnTo>
                    <a:pt x="0" y="1"/>
                  </a:lnTo>
                  <a:lnTo>
                    <a:pt x="116" y="1"/>
                  </a:lnTo>
                  <a:lnTo>
                    <a:pt x="116" y="215"/>
                  </a:lnTo>
                  <a:lnTo>
                    <a:pt x="236" y="215"/>
                  </a:lnTo>
                  <a:lnTo>
                    <a:pt x="236" y="98"/>
                  </a:lnTo>
                  <a:lnTo>
                    <a:pt x="357" y="98"/>
                  </a:lnTo>
                  <a:lnTo>
                    <a:pt x="3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9" name="Freeform 10">
              <a:extLst>
                <a:ext uri="{FF2B5EF4-FFF2-40B4-BE49-F238E27FC236}">
                  <a16:creationId xmlns:a16="http://schemas.microsoft.com/office/drawing/2014/main" id="{06732805-5B56-4F55-980C-D1DB09126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763" y="1709738"/>
              <a:ext cx="381000" cy="161925"/>
            </a:xfrm>
            <a:custGeom>
              <a:avLst/>
              <a:gdLst>
                <a:gd name="T0" fmla="*/ 107 w 720"/>
                <a:gd name="T1" fmla="*/ 74 h 304"/>
                <a:gd name="T2" fmla="*/ 236 w 720"/>
                <a:gd name="T3" fmla="*/ 74 h 304"/>
                <a:gd name="T4" fmla="*/ 236 w 720"/>
                <a:gd name="T5" fmla="*/ 0 h 304"/>
                <a:gd name="T6" fmla="*/ 378 w 720"/>
                <a:gd name="T7" fmla="*/ 0 h 304"/>
                <a:gd name="T8" fmla="*/ 378 w 720"/>
                <a:gd name="T9" fmla="*/ 74 h 304"/>
                <a:gd name="T10" fmla="*/ 378 w 720"/>
                <a:gd name="T11" fmla="*/ 136 h 304"/>
                <a:gd name="T12" fmla="*/ 378 w 720"/>
                <a:gd name="T13" fmla="*/ 209 h 304"/>
                <a:gd name="T14" fmla="*/ 479 w 720"/>
                <a:gd name="T15" fmla="*/ 209 h 304"/>
                <a:gd name="T16" fmla="*/ 479 w 720"/>
                <a:gd name="T17" fmla="*/ 74 h 304"/>
                <a:gd name="T18" fmla="*/ 614 w 720"/>
                <a:gd name="T19" fmla="*/ 74 h 304"/>
                <a:gd name="T20" fmla="*/ 614 w 720"/>
                <a:gd name="T21" fmla="*/ 209 h 304"/>
                <a:gd name="T22" fmla="*/ 720 w 720"/>
                <a:gd name="T23" fmla="*/ 209 h 304"/>
                <a:gd name="T24" fmla="*/ 720 w 720"/>
                <a:gd name="T25" fmla="*/ 304 h 304"/>
                <a:gd name="T26" fmla="*/ 0 w 720"/>
                <a:gd name="T27" fmla="*/ 304 h 304"/>
                <a:gd name="T28" fmla="*/ 0 w 720"/>
                <a:gd name="T29" fmla="*/ 209 h 304"/>
                <a:gd name="T30" fmla="*/ 107 w 720"/>
                <a:gd name="T31" fmla="*/ 209 h 304"/>
                <a:gd name="T32" fmla="*/ 107 w 720"/>
                <a:gd name="T33" fmla="*/ 7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0" h="304">
                  <a:moveTo>
                    <a:pt x="107" y="74"/>
                  </a:moveTo>
                  <a:lnTo>
                    <a:pt x="236" y="74"/>
                  </a:lnTo>
                  <a:lnTo>
                    <a:pt x="236" y="0"/>
                  </a:lnTo>
                  <a:lnTo>
                    <a:pt x="378" y="0"/>
                  </a:lnTo>
                  <a:lnTo>
                    <a:pt x="378" y="74"/>
                  </a:lnTo>
                  <a:lnTo>
                    <a:pt x="378" y="136"/>
                  </a:lnTo>
                  <a:lnTo>
                    <a:pt x="378" y="209"/>
                  </a:lnTo>
                  <a:lnTo>
                    <a:pt x="479" y="209"/>
                  </a:lnTo>
                  <a:lnTo>
                    <a:pt x="479" y="74"/>
                  </a:lnTo>
                  <a:lnTo>
                    <a:pt x="614" y="74"/>
                  </a:lnTo>
                  <a:lnTo>
                    <a:pt x="614" y="209"/>
                  </a:lnTo>
                  <a:lnTo>
                    <a:pt x="720" y="209"/>
                  </a:lnTo>
                  <a:lnTo>
                    <a:pt x="720" y="304"/>
                  </a:lnTo>
                  <a:lnTo>
                    <a:pt x="0" y="304"/>
                  </a:lnTo>
                  <a:lnTo>
                    <a:pt x="0" y="209"/>
                  </a:lnTo>
                  <a:lnTo>
                    <a:pt x="107" y="209"/>
                  </a:lnTo>
                  <a:lnTo>
                    <a:pt x="107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0" name="Rectangle 11">
              <a:extLst>
                <a:ext uri="{FF2B5EF4-FFF2-40B4-BE49-F238E27FC236}">
                  <a16:creationId xmlns:a16="http://schemas.microsoft.com/office/drawing/2014/main" id="{CAC79F67-FD6D-4504-9F86-2D05F6E62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9163" y="1887538"/>
              <a:ext cx="482600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1" name="Rectangle 12">
              <a:extLst>
                <a:ext uri="{FF2B5EF4-FFF2-40B4-BE49-F238E27FC236}">
                  <a16:creationId xmlns:a16="http://schemas.microsoft.com/office/drawing/2014/main" id="{CE03EE80-815A-46A3-B6FC-E816B449B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9163" y="1820863"/>
              <a:ext cx="38100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2" name="Freeform 13">
              <a:extLst>
                <a:ext uri="{FF2B5EF4-FFF2-40B4-BE49-F238E27FC236}">
                  <a16:creationId xmlns:a16="http://schemas.microsoft.com/office/drawing/2014/main" id="{2B4CF433-ECDA-4041-A3CB-6AE714A4E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0901" y="1757363"/>
              <a:ext cx="42863" cy="114300"/>
            </a:xfrm>
            <a:custGeom>
              <a:avLst/>
              <a:gdLst>
                <a:gd name="T0" fmla="*/ 81 w 81"/>
                <a:gd name="T1" fmla="*/ 119 h 214"/>
                <a:gd name="T2" fmla="*/ 81 w 81"/>
                <a:gd name="T3" fmla="*/ 0 h 214"/>
                <a:gd name="T4" fmla="*/ 0 w 81"/>
                <a:gd name="T5" fmla="*/ 0 h 214"/>
                <a:gd name="T6" fmla="*/ 0 w 81"/>
                <a:gd name="T7" fmla="*/ 119 h 214"/>
                <a:gd name="T8" fmla="*/ 0 w 81"/>
                <a:gd name="T9" fmla="*/ 214 h 214"/>
                <a:gd name="T10" fmla="*/ 81 w 81"/>
                <a:gd name="T11" fmla="*/ 214 h 214"/>
                <a:gd name="T12" fmla="*/ 81 w 81"/>
                <a:gd name="T13" fmla="*/ 119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214">
                  <a:moveTo>
                    <a:pt x="81" y="119"/>
                  </a:moveTo>
                  <a:lnTo>
                    <a:pt x="81" y="0"/>
                  </a:lnTo>
                  <a:lnTo>
                    <a:pt x="0" y="0"/>
                  </a:lnTo>
                  <a:lnTo>
                    <a:pt x="0" y="119"/>
                  </a:lnTo>
                  <a:lnTo>
                    <a:pt x="0" y="214"/>
                  </a:lnTo>
                  <a:lnTo>
                    <a:pt x="81" y="214"/>
                  </a:lnTo>
                  <a:lnTo>
                    <a:pt x="81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3" name="Rectangle 14">
              <a:extLst>
                <a:ext uri="{FF2B5EF4-FFF2-40B4-BE49-F238E27FC236}">
                  <a16:creationId xmlns:a16="http://schemas.microsoft.com/office/drawing/2014/main" id="{60E3E747-F8DC-4CC4-A0B8-35F20E9C50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0901" y="1887538"/>
              <a:ext cx="42863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4" name="Rectangle 15">
              <a:extLst>
                <a:ext uri="{FF2B5EF4-FFF2-40B4-BE49-F238E27FC236}">
                  <a16:creationId xmlns:a16="http://schemas.microsoft.com/office/drawing/2014/main" id="{B0DB39E1-2ECC-4A72-8F79-617F548C75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0576" y="1887538"/>
              <a:ext cx="38100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5" name="Rectangle 16">
              <a:extLst>
                <a:ext uri="{FF2B5EF4-FFF2-40B4-BE49-F238E27FC236}">
                  <a16:creationId xmlns:a16="http://schemas.microsoft.com/office/drawing/2014/main" id="{C0749B2B-2AD6-40B5-AC8A-EABF7EB457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5488" y="1887538"/>
              <a:ext cx="39688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6" name="Rectangle 17">
              <a:extLst>
                <a:ext uri="{FF2B5EF4-FFF2-40B4-BE49-F238E27FC236}">
                  <a16:creationId xmlns:a16="http://schemas.microsoft.com/office/drawing/2014/main" id="{D00CFCB2-F91D-4981-A747-F53D761CC1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5488" y="1820863"/>
              <a:ext cx="39688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7" name="Rectangle 18">
              <a:extLst>
                <a:ext uri="{FF2B5EF4-FFF2-40B4-BE49-F238E27FC236}">
                  <a16:creationId xmlns:a16="http://schemas.microsoft.com/office/drawing/2014/main" id="{DA4AD25D-BCB0-4E8A-B7FB-07DD51FDB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3188" y="1887538"/>
              <a:ext cx="601663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8" name="Rectangle 19">
              <a:extLst>
                <a:ext uri="{FF2B5EF4-FFF2-40B4-BE49-F238E27FC236}">
                  <a16:creationId xmlns:a16="http://schemas.microsoft.com/office/drawing/2014/main" id="{CA2B8C1C-652B-4841-A2E3-17719237FA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513" y="1887538"/>
              <a:ext cx="487363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9" name="Rectangle 20">
              <a:extLst>
                <a:ext uri="{FF2B5EF4-FFF2-40B4-BE49-F238E27FC236}">
                  <a16:creationId xmlns:a16="http://schemas.microsoft.com/office/drawing/2014/main" id="{B743615B-62C3-4670-A9D3-C1C114DC87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513" y="1887538"/>
              <a:ext cx="41275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0" name="Freeform 21">
              <a:extLst>
                <a:ext uri="{FF2B5EF4-FFF2-40B4-BE49-F238E27FC236}">
                  <a16:creationId xmlns:a16="http://schemas.microsoft.com/office/drawing/2014/main" id="{43D65564-3F0A-4615-B17E-2C454148B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513" y="1714501"/>
              <a:ext cx="41275" cy="157163"/>
            </a:xfrm>
            <a:custGeom>
              <a:avLst/>
              <a:gdLst>
                <a:gd name="T0" fmla="*/ 0 w 76"/>
                <a:gd name="T1" fmla="*/ 297 h 297"/>
                <a:gd name="T2" fmla="*/ 76 w 76"/>
                <a:gd name="T3" fmla="*/ 297 h 297"/>
                <a:gd name="T4" fmla="*/ 76 w 76"/>
                <a:gd name="T5" fmla="*/ 202 h 297"/>
                <a:gd name="T6" fmla="*/ 76 w 76"/>
                <a:gd name="T7" fmla="*/ 0 h 297"/>
                <a:gd name="T8" fmla="*/ 0 w 76"/>
                <a:gd name="T9" fmla="*/ 0 h 297"/>
                <a:gd name="T10" fmla="*/ 0 w 76"/>
                <a:gd name="T11" fmla="*/ 202 h 297"/>
                <a:gd name="T12" fmla="*/ 0 w 76"/>
                <a:gd name="T13" fmla="*/ 29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297">
                  <a:moveTo>
                    <a:pt x="0" y="297"/>
                  </a:moveTo>
                  <a:lnTo>
                    <a:pt x="76" y="297"/>
                  </a:lnTo>
                  <a:lnTo>
                    <a:pt x="76" y="202"/>
                  </a:lnTo>
                  <a:lnTo>
                    <a:pt x="76" y="0"/>
                  </a:lnTo>
                  <a:lnTo>
                    <a:pt x="0" y="0"/>
                  </a:lnTo>
                  <a:lnTo>
                    <a:pt x="0" y="202"/>
                  </a:lnTo>
                  <a:lnTo>
                    <a:pt x="0" y="2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1" name="Rectangle 22">
              <a:extLst>
                <a:ext uri="{FF2B5EF4-FFF2-40B4-BE49-F238E27FC236}">
                  <a16:creationId xmlns:a16="http://schemas.microsoft.com/office/drawing/2014/main" id="{69ADA75E-6304-4F22-BCCF-D37514412F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6188" y="1820863"/>
              <a:ext cx="36513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2" name="Rectangle 23">
              <a:extLst>
                <a:ext uri="{FF2B5EF4-FFF2-40B4-BE49-F238E27FC236}">
                  <a16:creationId xmlns:a16="http://schemas.microsoft.com/office/drawing/2014/main" id="{FEE21E3F-1C07-4672-AD57-F43767C9E3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6188" y="1887538"/>
              <a:ext cx="36513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3" name="Rectangle 24">
              <a:extLst>
                <a:ext uri="{FF2B5EF4-FFF2-40B4-BE49-F238E27FC236}">
                  <a16:creationId xmlns:a16="http://schemas.microsoft.com/office/drawing/2014/main" id="{0E2C316E-8DA5-4B05-8B55-608F954A7E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101" y="1887538"/>
              <a:ext cx="41275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4" name="Freeform 25">
              <a:extLst>
                <a:ext uri="{FF2B5EF4-FFF2-40B4-BE49-F238E27FC236}">
                  <a16:creationId xmlns:a16="http://schemas.microsoft.com/office/drawing/2014/main" id="{32E09515-3C70-4421-95BC-AED4B2AD1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8101" y="1755776"/>
              <a:ext cx="41275" cy="115888"/>
            </a:xfrm>
            <a:custGeom>
              <a:avLst/>
              <a:gdLst>
                <a:gd name="T0" fmla="*/ 0 w 76"/>
                <a:gd name="T1" fmla="*/ 217 h 217"/>
                <a:gd name="T2" fmla="*/ 76 w 76"/>
                <a:gd name="T3" fmla="*/ 217 h 217"/>
                <a:gd name="T4" fmla="*/ 76 w 76"/>
                <a:gd name="T5" fmla="*/ 122 h 217"/>
                <a:gd name="T6" fmla="*/ 76 w 76"/>
                <a:gd name="T7" fmla="*/ 0 h 217"/>
                <a:gd name="T8" fmla="*/ 0 w 76"/>
                <a:gd name="T9" fmla="*/ 0 h 217"/>
                <a:gd name="T10" fmla="*/ 0 w 76"/>
                <a:gd name="T11" fmla="*/ 122 h 217"/>
                <a:gd name="T12" fmla="*/ 0 w 76"/>
                <a:gd name="T13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217">
                  <a:moveTo>
                    <a:pt x="0" y="217"/>
                  </a:moveTo>
                  <a:lnTo>
                    <a:pt x="76" y="217"/>
                  </a:lnTo>
                  <a:lnTo>
                    <a:pt x="76" y="122"/>
                  </a:lnTo>
                  <a:lnTo>
                    <a:pt x="76" y="0"/>
                  </a:lnTo>
                  <a:lnTo>
                    <a:pt x="0" y="0"/>
                  </a:lnTo>
                  <a:lnTo>
                    <a:pt x="0" y="122"/>
                  </a:lnTo>
                  <a:lnTo>
                    <a:pt x="0" y="2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83" name="Freeform 59">
            <a:extLst>
              <a:ext uri="{FF2B5EF4-FFF2-40B4-BE49-F238E27FC236}">
                <a16:creationId xmlns:a16="http://schemas.microsoft.com/office/drawing/2014/main" id="{FE9696DC-96D3-490A-B36A-BE5D224DFAB3}"/>
              </a:ext>
            </a:extLst>
          </p:cNvPr>
          <p:cNvSpPr>
            <a:spLocks/>
          </p:cNvSpPr>
          <p:nvPr/>
        </p:nvSpPr>
        <p:spPr bwMode="auto">
          <a:xfrm>
            <a:off x="9311979" y="1790851"/>
            <a:ext cx="211138" cy="3902075"/>
          </a:xfrm>
          <a:custGeom>
            <a:avLst/>
            <a:gdLst>
              <a:gd name="T0" fmla="*/ 400 w 400"/>
              <a:gd name="T1" fmla="*/ 7375 h 7375"/>
              <a:gd name="T2" fmla="*/ 0 w 400"/>
              <a:gd name="T3" fmla="*/ 6970 h 7375"/>
              <a:gd name="T4" fmla="*/ 0 w 400"/>
              <a:gd name="T5" fmla="*/ 410 h 7375"/>
              <a:gd name="T6" fmla="*/ 394 w 400"/>
              <a:gd name="T7" fmla="*/ 0 h 7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00" h="7375">
                <a:moveTo>
                  <a:pt x="400" y="7375"/>
                </a:moveTo>
                <a:lnTo>
                  <a:pt x="0" y="6970"/>
                </a:lnTo>
                <a:lnTo>
                  <a:pt x="0" y="410"/>
                </a:lnTo>
                <a:lnTo>
                  <a:pt x="394" y="0"/>
                </a:lnTo>
              </a:path>
            </a:pathLst>
          </a:custGeom>
          <a:noFill/>
          <a:ln w="3810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385" name="Group 384">
            <a:extLst>
              <a:ext uri="{FF2B5EF4-FFF2-40B4-BE49-F238E27FC236}">
                <a16:creationId xmlns:a16="http://schemas.microsoft.com/office/drawing/2014/main" id="{03DE6FED-6CB2-4AFB-952E-43F836C804D6}"/>
              </a:ext>
            </a:extLst>
          </p:cNvPr>
          <p:cNvGrpSpPr/>
          <p:nvPr/>
        </p:nvGrpSpPr>
        <p:grpSpPr>
          <a:xfrm>
            <a:off x="9601622" y="1001863"/>
            <a:ext cx="1992313" cy="868363"/>
            <a:chOff x="9526588" y="4418013"/>
            <a:chExt cx="1992313" cy="868363"/>
          </a:xfrm>
        </p:grpSpPr>
        <p:sp>
          <p:nvSpPr>
            <p:cNvPr id="1003" name="Rectangle 27">
              <a:extLst>
                <a:ext uri="{FF2B5EF4-FFF2-40B4-BE49-F238E27FC236}">
                  <a16:creationId xmlns:a16="http://schemas.microsoft.com/office/drawing/2014/main" id="{AEB26F86-EDC7-4C85-B4D8-3E194B631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6588" y="4425951"/>
              <a:ext cx="57150" cy="6985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04" name="Rectangle 28">
              <a:extLst>
                <a:ext uri="{FF2B5EF4-FFF2-40B4-BE49-F238E27FC236}">
                  <a16:creationId xmlns:a16="http://schemas.microsoft.com/office/drawing/2014/main" id="{02E86412-FC43-4223-8793-6E1091FBA8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6588" y="4524376"/>
              <a:ext cx="57150" cy="682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05" name="Rectangle 29">
              <a:extLst>
                <a:ext uri="{FF2B5EF4-FFF2-40B4-BE49-F238E27FC236}">
                  <a16:creationId xmlns:a16="http://schemas.microsoft.com/office/drawing/2014/main" id="{2374A83E-A752-443F-9893-43672B01E2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6588" y="4616451"/>
              <a:ext cx="57150" cy="6985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06" name="Rectangle 30">
              <a:extLst>
                <a:ext uri="{FF2B5EF4-FFF2-40B4-BE49-F238E27FC236}">
                  <a16:creationId xmlns:a16="http://schemas.microsoft.com/office/drawing/2014/main" id="{D8125AF2-81BD-4B21-AC8D-964852AE0F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6588" y="4724401"/>
              <a:ext cx="57150" cy="6985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07" name="Rectangle 31">
              <a:extLst>
                <a:ext uri="{FF2B5EF4-FFF2-40B4-BE49-F238E27FC236}">
                  <a16:creationId xmlns:a16="http://schemas.microsoft.com/office/drawing/2014/main" id="{AF6BA34B-FAFF-4EBE-9D43-4CDBC1A3F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6588" y="4822826"/>
              <a:ext cx="57150" cy="6826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08" name="Rectangle 32">
              <a:extLst>
                <a:ext uri="{FF2B5EF4-FFF2-40B4-BE49-F238E27FC236}">
                  <a16:creationId xmlns:a16="http://schemas.microsoft.com/office/drawing/2014/main" id="{B166857F-F921-4301-A023-76AF4A7DB8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6588" y="4919663"/>
              <a:ext cx="57150" cy="6826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09" name="Rectangle 33">
              <a:extLst>
                <a:ext uri="{FF2B5EF4-FFF2-40B4-BE49-F238E27FC236}">
                  <a16:creationId xmlns:a16="http://schemas.microsoft.com/office/drawing/2014/main" id="{2AB9D0EF-FEEE-4373-8337-BA14FFAC2B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6588" y="5018088"/>
              <a:ext cx="57150" cy="6985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0" name="Rectangle 34">
              <a:extLst>
                <a:ext uri="{FF2B5EF4-FFF2-40B4-BE49-F238E27FC236}">
                  <a16:creationId xmlns:a16="http://schemas.microsoft.com/office/drawing/2014/main" id="{F5984BC7-1005-4649-BD0D-6C976E4392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6588" y="5122863"/>
              <a:ext cx="57150" cy="6985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1" name="Rectangle 35">
              <a:extLst>
                <a:ext uri="{FF2B5EF4-FFF2-40B4-BE49-F238E27FC236}">
                  <a16:creationId xmlns:a16="http://schemas.microsoft.com/office/drawing/2014/main" id="{EE0013B8-7228-457B-A343-8AA5E1D4A6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6588" y="5214938"/>
              <a:ext cx="57150" cy="6826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2" name="Freeform 36">
              <a:extLst>
                <a:ext uri="{FF2B5EF4-FFF2-40B4-BE49-F238E27FC236}">
                  <a16:creationId xmlns:a16="http://schemas.microsoft.com/office/drawing/2014/main" id="{8D21938C-CC53-4C4A-9D13-7CCEBF2EC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0251" y="5002213"/>
              <a:ext cx="1898650" cy="261938"/>
            </a:xfrm>
            <a:custGeom>
              <a:avLst/>
              <a:gdLst>
                <a:gd name="T0" fmla="*/ 3589 w 3589"/>
                <a:gd name="T1" fmla="*/ 497 h 497"/>
                <a:gd name="T2" fmla="*/ 3589 w 3589"/>
                <a:gd name="T3" fmla="*/ 373 h 497"/>
                <a:gd name="T4" fmla="*/ 3589 w 3589"/>
                <a:gd name="T5" fmla="*/ 249 h 497"/>
                <a:gd name="T6" fmla="*/ 3589 w 3589"/>
                <a:gd name="T7" fmla="*/ 124 h 497"/>
                <a:gd name="T8" fmla="*/ 3589 w 3589"/>
                <a:gd name="T9" fmla="*/ 0 h 497"/>
                <a:gd name="T10" fmla="*/ 3420 w 3589"/>
                <a:gd name="T11" fmla="*/ 55 h 497"/>
                <a:gd name="T12" fmla="*/ 3285 w 3589"/>
                <a:gd name="T13" fmla="*/ 92 h 497"/>
                <a:gd name="T14" fmla="*/ 3176 w 3589"/>
                <a:gd name="T15" fmla="*/ 114 h 497"/>
                <a:gd name="T16" fmla="*/ 3089 w 3589"/>
                <a:gd name="T17" fmla="*/ 123 h 497"/>
                <a:gd name="T18" fmla="*/ 3037 w 3589"/>
                <a:gd name="T19" fmla="*/ 124 h 497"/>
                <a:gd name="T20" fmla="*/ 2969 w 3589"/>
                <a:gd name="T21" fmla="*/ 126 h 497"/>
                <a:gd name="T22" fmla="*/ 2893 w 3589"/>
                <a:gd name="T23" fmla="*/ 129 h 497"/>
                <a:gd name="T24" fmla="*/ 2818 w 3589"/>
                <a:gd name="T25" fmla="*/ 140 h 497"/>
                <a:gd name="T26" fmla="*/ 2751 w 3589"/>
                <a:gd name="T27" fmla="*/ 158 h 497"/>
                <a:gd name="T28" fmla="*/ 2689 w 3589"/>
                <a:gd name="T29" fmla="*/ 177 h 497"/>
                <a:gd name="T30" fmla="*/ 2577 w 3589"/>
                <a:gd name="T31" fmla="*/ 217 h 497"/>
                <a:gd name="T32" fmla="*/ 2523 w 3589"/>
                <a:gd name="T33" fmla="*/ 231 h 497"/>
                <a:gd name="T34" fmla="*/ 2468 w 3589"/>
                <a:gd name="T35" fmla="*/ 237 h 497"/>
                <a:gd name="T36" fmla="*/ 2438 w 3589"/>
                <a:gd name="T37" fmla="*/ 237 h 497"/>
                <a:gd name="T38" fmla="*/ 2409 w 3589"/>
                <a:gd name="T39" fmla="*/ 233 h 497"/>
                <a:gd name="T40" fmla="*/ 2379 w 3589"/>
                <a:gd name="T41" fmla="*/ 227 h 497"/>
                <a:gd name="T42" fmla="*/ 2347 w 3589"/>
                <a:gd name="T43" fmla="*/ 217 h 497"/>
                <a:gd name="T44" fmla="*/ 2261 w 3589"/>
                <a:gd name="T45" fmla="*/ 181 h 497"/>
                <a:gd name="T46" fmla="*/ 2218 w 3589"/>
                <a:gd name="T47" fmla="*/ 167 h 497"/>
                <a:gd name="T48" fmla="*/ 2168 w 3589"/>
                <a:gd name="T49" fmla="*/ 158 h 497"/>
                <a:gd name="T50" fmla="*/ 2110 w 3589"/>
                <a:gd name="T51" fmla="*/ 158 h 497"/>
                <a:gd name="T52" fmla="*/ 2039 w 3589"/>
                <a:gd name="T53" fmla="*/ 168 h 497"/>
                <a:gd name="T54" fmla="*/ 1949 w 3589"/>
                <a:gd name="T55" fmla="*/ 194 h 497"/>
                <a:gd name="T56" fmla="*/ 1839 w 3589"/>
                <a:gd name="T57" fmla="*/ 236 h 497"/>
                <a:gd name="T58" fmla="*/ 1785 w 3589"/>
                <a:gd name="T59" fmla="*/ 256 h 497"/>
                <a:gd name="T60" fmla="*/ 1725 w 3589"/>
                <a:gd name="T61" fmla="*/ 274 h 497"/>
                <a:gd name="T62" fmla="*/ 1662 w 3589"/>
                <a:gd name="T63" fmla="*/ 291 h 497"/>
                <a:gd name="T64" fmla="*/ 1598 w 3589"/>
                <a:gd name="T65" fmla="*/ 304 h 497"/>
                <a:gd name="T66" fmla="*/ 1534 w 3589"/>
                <a:gd name="T67" fmla="*/ 314 h 497"/>
                <a:gd name="T68" fmla="*/ 1472 w 3589"/>
                <a:gd name="T69" fmla="*/ 320 h 497"/>
                <a:gd name="T70" fmla="*/ 1416 w 3589"/>
                <a:gd name="T71" fmla="*/ 324 h 497"/>
                <a:gd name="T72" fmla="*/ 1366 w 3589"/>
                <a:gd name="T73" fmla="*/ 324 h 497"/>
                <a:gd name="T74" fmla="*/ 1312 w 3589"/>
                <a:gd name="T75" fmla="*/ 319 h 497"/>
                <a:gd name="T76" fmla="*/ 1258 w 3589"/>
                <a:gd name="T77" fmla="*/ 309 h 497"/>
                <a:gd name="T78" fmla="*/ 1154 w 3589"/>
                <a:gd name="T79" fmla="*/ 282 h 497"/>
                <a:gd name="T80" fmla="*/ 1103 w 3589"/>
                <a:gd name="T81" fmla="*/ 269 h 497"/>
                <a:gd name="T82" fmla="*/ 1051 w 3589"/>
                <a:gd name="T83" fmla="*/ 259 h 497"/>
                <a:gd name="T84" fmla="*/ 998 w 3589"/>
                <a:gd name="T85" fmla="*/ 254 h 497"/>
                <a:gd name="T86" fmla="*/ 943 w 3589"/>
                <a:gd name="T87" fmla="*/ 254 h 497"/>
                <a:gd name="T88" fmla="*/ 887 w 3589"/>
                <a:gd name="T89" fmla="*/ 261 h 497"/>
                <a:gd name="T90" fmla="*/ 829 w 3589"/>
                <a:gd name="T91" fmla="*/ 274 h 497"/>
                <a:gd name="T92" fmla="*/ 711 w 3589"/>
                <a:gd name="T93" fmla="*/ 309 h 497"/>
                <a:gd name="T94" fmla="*/ 593 w 3589"/>
                <a:gd name="T95" fmla="*/ 346 h 497"/>
                <a:gd name="T96" fmla="*/ 535 w 3589"/>
                <a:gd name="T97" fmla="*/ 363 h 497"/>
                <a:gd name="T98" fmla="*/ 479 w 3589"/>
                <a:gd name="T99" fmla="*/ 376 h 497"/>
                <a:gd name="T100" fmla="*/ 396 w 3589"/>
                <a:gd name="T101" fmla="*/ 382 h 497"/>
                <a:gd name="T102" fmla="*/ 254 w 3589"/>
                <a:gd name="T103" fmla="*/ 388 h 497"/>
                <a:gd name="T104" fmla="*/ 104 w 3589"/>
                <a:gd name="T105" fmla="*/ 392 h 497"/>
                <a:gd name="T106" fmla="*/ 0 w 3589"/>
                <a:gd name="T107" fmla="*/ 392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89" h="497">
                  <a:moveTo>
                    <a:pt x="0" y="497"/>
                  </a:moveTo>
                  <a:lnTo>
                    <a:pt x="3589" y="497"/>
                  </a:lnTo>
                  <a:lnTo>
                    <a:pt x="3589" y="435"/>
                  </a:lnTo>
                  <a:lnTo>
                    <a:pt x="3589" y="373"/>
                  </a:lnTo>
                  <a:lnTo>
                    <a:pt x="3589" y="310"/>
                  </a:lnTo>
                  <a:lnTo>
                    <a:pt x="3589" y="249"/>
                  </a:lnTo>
                  <a:lnTo>
                    <a:pt x="3589" y="186"/>
                  </a:lnTo>
                  <a:lnTo>
                    <a:pt x="3589" y="124"/>
                  </a:lnTo>
                  <a:lnTo>
                    <a:pt x="3589" y="62"/>
                  </a:lnTo>
                  <a:lnTo>
                    <a:pt x="3589" y="0"/>
                  </a:lnTo>
                  <a:lnTo>
                    <a:pt x="3501" y="31"/>
                  </a:lnTo>
                  <a:lnTo>
                    <a:pt x="3420" y="55"/>
                  </a:lnTo>
                  <a:lnTo>
                    <a:pt x="3349" y="76"/>
                  </a:lnTo>
                  <a:lnTo>
                    <a:pt x="3285" y="92"/>
                  </a:lnTo>
                  <a:lnTo>
                    <a:pt x="3228" y="105"/>
                  </a:lnTo>
                  <a:lnTo>
                    <a:pt x="3176" y="114"/>
                  </a:lnTo>
                  <a:lnTo>
                    <a:pt x="3130" y="119"/>
                  </a:lnTo>
                  <a:lnTo>
                    <a:pt x="3089" y="123"/>
                  </a:lnTo>
                  <a:lnTo>
                    <a:pt x="3065" y="124"/>
                  </a:lnTo>
                  <a:lnTo>
                    <a:pt x="3037" y="124"/>
                  </a:lnTo>
                  <a:lnTo>
                    <a:pt x="3005" y="124"/>
                  </a:lnTo>
                  <a:lnTo>
                    <a:pt x="2969" y="126"/>
                  </a:lnTo>
                  <a:lnTo>
                    <a:pt x="2932" y="127"/>
                  </a:lnTo>
                  <a:lnTo>
                    <a:pt x="2893" y="129"/>
                  </a:lnTo>
                  <a:lnTo>
                    <a:pt x="2855" y="133"/>
                  </a:lnTo>
                  <a:lnTo>
                    <a:pt x="2818" y="140"/>
                  </a:lnTo>
                  <a:lnTo>
                    <a:pt x="2783" y="149"/>
                  </a:lnTo>
                  <a:lnTo>
                    <a:pt x="2751" y="158"/>
                  </a:lnTo>
                  <a:lnTo>
                    <a:pt x="2720" y="167"/>
                  </a:lnTo>
                  <a:lnTo>
                    <a:pt x="2689" y="177"/>
                  </a:lnTo>
                  <a:lnTo>
                    <a:pt x="2633" y="199"/>
                  </a:lnTo>
                  <a:lnTo>
                    <a:pt x="2577" y="217"/>
                  </a:lnTo>
                  <a:lnTo>
                    <a:pt x="2550" y="224"/>
                  </a:lnTo>
                  <a:lnTo>
                    <a:pt x="2523" y="231"/>
                  </a:lnTo>
                  <a:lnTo>
                    <a:pt x="2495" y="235"/>
                  </a:lnTo>
                  <a:lnTo>
                    <a:pt x="2468" y="237"/>
                  </a:lnTo>
                  <a:lnTo>
                    <a:pt x="2454" y="237"/>
                  </a:lnTo>
                  <a:lnTo>
                    <a:pt x="2438" y="237"/>
                  </a:lnTo>
                  <a:lnTo>
                    <a:pt x="2424" y="236"/>
                  </a:lnTo>
                  <a:lnTo>
                    <a:pt x="2409" y="233"/>
                  </a:lnTo>
                  <a:lnTo>
                    <a:pt x="2395" y="231"/>
                  </a:lnTo>
                  <a:lnTo>
                    <a:pt x="2379" y="227"/>
                  </a:lnTo>
                  <a:lnTo>
                    <a:pt x="2364" y="222"/>
                  </a:lnTo>
                  <a:lnTo>
                    <a:pt x="2347" y="217"/>
                  </a:lnTo>
                  <a:lnTo>
                    <a:pt x="2304" y="199"/>
                  </a:lnTo>
                  <a:lnTo>
                    <a:pt x="2261" y="181"/>
                  </a:lnTo>
                  <a:lnTo>
                    <a:pt x="2240" y="173"/>
                  </a:lnTo>
                  <a:lnTo>
                    <a:pt x="2218" y="167"/>
                  </a:lnTo>
                  <a:lnTo>
                    <a:pt x="2194" y="160"/>
                  </a:lnTo>
                  <a:lnTo>
                    <a:pt x="2168" y="158"/>
                  </a:lnTo>
                  <a:lnTo>
                    <a:pt x="2141" y="156"/>
                  </a:lnTo>
                  <a:lnTo>
                    <a:pt x="2110" y="158"/>
                  </a:lnTo>
                  <a:lnTo>
                    <a:pt x="2076" y="162"/>
                  </a:lnTo>
                  <a:lnTo>
                    <a:pt x="2039" y="168"/>
                  </a:lnTo>
                  <a:lnTo>
                    <a:pt x="1996" y="179"/>
                  </a:lnTo>
                  <a:lnTo>
                    <a:pt x="1949" y="194"/>
                  </a:lnTo>
                  <a:lnTo>
                    <a:pt x="1896" y="213"/>
                  </a:lnTo>
                  <a:lnTo>
                    <a:pt x="1839" y="236"/>
                  </a:lnTo>
                  <a:lnTo>
                    <a:pt x="1812" y="246"/>
                  </a:lnTo>
                  <a:lnTo>
                    <a:pt x="1785" y="256"/>
                  </a:lnTo>
                  <a:lnTo>
                    <a:pt x="1755" y="267"/>
                  </a:lnTo>
                  <a:lnTo>
                    <a:pt x="1725" y="274"/>
                  </a:lnTo>
                  <a:lnTo>
                    <a:pt x="1694" y="283"/>
                  </a:lnTo>
                  <a:lnTo>
                    <a:pt x="1662" y="291"/>
                  </a:lnTo>
                  <a:lnTo>
                    <a:pt x="1630" y="297"/>
                  </a:lnTo>
                  <a:lnTo>
                    <a:pt x="1598" y="304"/>
                  </a:lnTo>
                  <a:lnTo>
                    <a:pt x="1566" y="309"/>
                  </a:lnTo>
                  <a:lnTo>
                    <a:pt x="1534" y="314"/>
                  </a:lnTo>
                  <a:lnTo>
                    <a:pt x="1503" y="318"/>
                  </a:lnTo>
                  <a:lnTo>
                    <a:pt x="1472" y="320"/>
                  </a:lnTo>
                  <a:lnTo>
                    <a:pt x="1444" y="323"/>
                  </a:lnTo>
                  <a:lnTo>
                    <a:pt x="1416" y="324"/>
                  </a:lnTo>
                  <a:lnTo>
                    <a:pt x="1390" y="324"/>
                  </a:lnTo>
                  <a:lnTo>
                    <a:pt x="1366" y="324"/>
                  </a:lnTo>
                  <a:lnTo>
                    <a:pt x="1339" y="322"/>
                  </a:lnTo>
                  <a:lnTo>
                    <a:pt x="1312" y="319"/>
                  </a:lnTo>
                  <a:lnTo>
                    <a:pt x="1285" y="314"/>
                  </a:lnTo>
                  <a:lnTo>
                    <a:pt x="1258" y="309"/>
                  </a:lnTo>
                  <a:lnTo>
                    <a:pt x="1206" y="296"/>
                  </a:lnTo>
                  <a:lnTo>
                    <a:pt x="1154" y="282"/>
                  </a:lnTo>
                  <a:lnTo>
                    <a:pt x="1129" y="276"/>
                  </a:lnTo>
                  <a:lnTo>
                    <a:pt x="1103" y="269"/>
                  </a:lnTo>
                  <a:lnTo>
                    <a:pt x="1078" y="264"/>
                  </a:lnTo>
                  <a:lnTo>
                    <a:pt x="1051" y="259"/>
                  </a:lnTo>
                  <a:lnTo>
                    <a:pt x="1025" y="256"/>
                  </a:lnTo>
                  <a:lnTo>
                    <a:pt x="998" y="254"/>
                  </a:lnTo>
                  <a:lnTo>
                    <a:pt x="971" y="253"/>
                  </a:lnTo>
                  <a:lnTo>
                    <a:pt x="943" y="254"/>
                  </a:lnTo>
                  <a:lnTo>
                    <a:pt x="915" y="256"/>
                  </a:lnTo>
                  <a:lnTo>
                    <a:pt x="887" y="261"/>
                  </a:lnTo>
                  <a:lnTo>
                    <a:pt x="857" y="267"/>
                  </a:lnTo>
                  <a:lnTo>
                    <a:pt x="829" y="274"/>
                  </a:lnTo>
                  <a:lnTo>
                    <a:pt x="770" y="290"/>
                  </a:lnTo>
                  <a:lnTo>
                    <a:pt x="711" y="309"/>
                  </a:lnTo>
                  <a:lnTo>
                    <a:pt x="652" y="328"/>
                  </a:lnTo>
                  <a:lnTo>
                    <a:pt x="593" y="346"/>
                  </a:lnTo>
                  <a:lnTo>
                    <a:pt x="565" y="355"/>
                  </a:lnTo>
                  <a:lnTo>
                    <a:pt x="535" y="363"/>
                  </a:lnTo>
                  <a:lnTo>
                    <a:pt x="507" y="370"/>
                  </a:lnTo>
                  <a:lnTo>
                    <a:pt x="479" y="376"/>
                  </a:lnTo>
                  <a:lnTo>
                    <a:pt x="448" y="379"/>
                  </a:lnTo>
                  <a:lnTo>
                    <a:pt x="396" y="382"/>
                  </a:lnTo>
                  <a:lnTo>
                    <a:pt x="329" y="386"/>
                  </a:lnTo>
                  <a:lnTo>
                    <a:pt x="254" y="388"/>
                  </a:lnTo>
                  <a:lnTo>
                    <a:pt x="175" y="391"/>
                  </a:lnTo>
                  <a:lnTo>
                    <a:pt x="104" y="392"/>
                  </a:lnTo>
                  <a:lnTo>
                    <a:pt x="42" y="392"/>
                  </a:lnTo>
                  <a:lnTo>
                    <a:pt x="0" y="392"/>
                  </a:lnTo>
                  <a:lnTo>
                    <a:pt x="0" y="49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3" name="Freeform 37">
              <a:extLst>
                <a:ext uri="{FF2B5EF4-FFF2-40B4-BE49-F238E27FC236}">
                  <a16:creationId xmlns:a16="http://schemas.microsoft.com/office/drawing/2014/main" id="{F4EE626F-2154-4116-9EAB-613AE3984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0251" y="4418013"/>
              <a:ext cx="1884363" cy="704850"/>
            </a:xfrm>
            <a:custGeom>
              <a:avLst/>
              <a:gdLst>
                <a:gd name="T0" fmla="*/ 87 w 3561"/>
                <a:gd name="T1" fmla="*/ 1303 h 1331"/>
                <a:gd name="T2" fmla="*/ 219 w 3561"/>
                <a:gd name="T3" fmla="*/ 1270 h 1331"/>
                <a:gd name="T4" fmla="*/ 330 w 3561"/>
                <a:gd name="T5" fmla="*/ 1283 h 1331"/>
                <a:gd name="T6" fmla="*/ 474 w 3561"/>
                <a:gd name="T7" fmla="*/ 1299 h 1331"/>
                <a:gd name="T8" fmla="*/ 662 w 3561"/>
                <a:gd name="T9" fmla="*/ 1233 h 1331"/>
                <a:gd name="T10" fmla="*/ 855 w 3561"/>
                <a:gd name="T11" fmla="*/ 1143 h 1331"/>
                <a:gd name="T12" fmla="*/ 983 w 3561"/>
                <a:gd name="T13" fmla="*/ 1119 h 1331"/>
                <a:gd name="T14" fmla="*/ 1120 w 3561"/>
                <a:gd name="T15" fmla="*/ 1149 h 1331"/>
                <a:gd name="T16" fmla="*/ 1270 w 3561"/>
                <a:gd name="T17" fmla="*/ 1198 h 1331"/>
                <a:gd name="T18" fmla="*/ 1362 w 3561"/>
                <a:gd name="T19" fmla="*/ 1199 h 1331"/>
                <a:gd name="T20" fmla="*/ 1448 w 3561"/>
                <a:gd name="T21" fmla="*/ 1149 h 1331"/>
                <a:gd name="T22" fmla="*/ 1559 w 3561"/>
                <a:gd name="T23" fmla="*/ 1065 h 1331"/>
                <a:gd name="T24" fmla="*/ 1672 w 3561"/>
                <a:gd name="T25" fmla="*/ 1039 h 1331"/>
                <a:gd name="T26" fmla="*/ 1819 w 3561"/>
                <a:gd name="T27" fmla="*/ 1023 h 1331"/>
                <a:gd name="T28" fmla="*/ 1951 w 3561"/>
                <a:gd name="T29" fmla="*/ 947 h 1331"/>
                <a:gd name="T30" fmla="*/ 2083 w 3561"/>
                <a:gd name="T31" fmla="*/ 861 h 1331"/>
                <a:gd name="T32" fmla="*/ 2158 w 3561"/>
                <a:gd name="T33" fmla="*/ 846 h 1331"/>
                <a:gd name="T34" fmla="*/ 2267 w 3561"/>
                <a:gd name="T35" fmla="*/ 882 h 1331"/>
                <a:gd name="T36" fmla="*/ 2400 w 3561"/>
                <a:gd name="T37" fmla="*/ 950 h 1331"/>
                <a:gd name="T38" fmla="*/ 2492 w 3561"/>
                <a:gd name="T39" fmla="*/ 962 h 1331"/>
                <a:gd name="T40" fmla="*/ 2559 w 3561"/>
                <a:gd name="T41" fmla="*/ 934 h 1331"/>
                <a:gd name="T42" fmla="*/ 2678 w 3561"/>
                <a:gd name="T43" fmla="*/ 851 h 1331"/>
                <a:gd name="T44" fmla="*/ 2788 w 3561"/>
                <a:gd name="T45" fmla="*/ 844 h 1331"/>
                <a:gd name="T46" fmla="*/ 2982 w 3561"/>
                <a:gd name="T47" fmla="*/ 855 h 1331"/>
                <a:gd name="T48" fmla="*/ 3155 w 3561"/>
                <a:gd name="T49" fmla="*/ 820 h 1331"/>
                <a:gd name="T50" fmla="*/ 3561 w 3561"/>
                <a:gd name="T51" fmla="*/ 0 h 1331"/>
                <a:gd name="T52" fmla="*/ 3367 w 3561"/>
                <a:gd name="T53" fmla="*/ 165 h 1331"/>
                <a:gd name="T54" fmla="*/ 3167 w 3561"/>
                <a:gd name="T55" fmla="*/ 328 h 1331"/>
                <a:gd name="T56" fmla="*/ 3048 w 3561"/>
                <a:gd name="T57" fmla="*/ 373 h 1331"/>
                <a:gd name="T58" fmla="*/ 2837 w 3561"/>
                <a:gd name="T59" fmla="*/ 357 h 1331"/>
                <a:gd name="T60" fmla="*/ 2732 w 3561"/>
                <a:gd name="T61" fmla="*/ 369 h 1331"/>
                <a:gd name="T62" fmla="*/ 2622 w 3561"/>
                <a:gd name="T63" fmla="*/ 436 h 1331"/>
                <a:gd name="T64" fmla="*/ 2519 w 3561"/>
                <a:gd name="T65" fmla="*/ 503 h 1331"/>
                <a:gd name="T66" fmla="*/ 2452 w 3561"/>
                <a:gd name="T67" fmla="*/ 518 h 1331"/>
                <a:gd name="T68" fmla="*/ 2372 w 3561"/>
                <a:gd name="T69" fmla="*/ 493 h 1331"/>
                <a:gd name="T70" fmla="*/ 2258 w 3561"/>
                <a:gd name="T71" fmla="*/ 415 h 1331"/>
                <a:gd name="T72" fmla="*/ 2160 w 3561"/>
                <a:gd name="T73" fmla="*/ 374 h 1331"/>
                <a:gd name="T74" fmla="*/ 2096 w 3561"/>
                <a:gd name="T75" fmla="*/ 382 h 1331"/>
                <a:gd name="T76" fmla="*/ 1994 w 3561"/>
                <a:gd name="T77" fmla="*/ 450 h 1331"/>
                <a:gd name="T78" fmla="*/ 1854 w 3561"/>
                <a:gd name="T79" fmla="*/ 551 h 1331"/>
                <a:gd name="T80" fmla="*/ 1714 w 3561"/>
                <a:gd name="T81" fmla="*/ 559 h 1331"/>
                <a:gd name="T82" fmla="*/ 1575 w 3561"/>
                <a:gd name="T83" fmla="*/ 562 h 1331"/>
                <a:gd name="T84" fmla="*/ 1470 w 3561"/>
                <a:gd name="T85" fmla="*/ 648 h 1331"/>
                <a:gd name="T86" fmla="*/ 1391 w 3561"/>
                <a:gd name="T87" fmla="*/ 710 h 1331"/>
                <a:gd name="T88" fmla="*/ 1307 w 3561"/>
                <a:gd name="T89" fmla="*/ 715 h 1331"/>
                <a:gd name="T90" fmla="*/ 1145 w 3561"/>
                <a:gd name="T91" fmla="*/ 651 h 1331"/>
                <a:gd name="T92" fmla="*/ 1015 w 3561"/>
                <a:gd name="T93" fmla="*/ 606 h 1331"/>
                <a:gd name="T94" fmla="*/ 938 w 3561"/>
                <a:gd name="T95" fmla="*/ 615 h 1331"/>
                <a:gd name="T96" fmla="*/ 839 w 3561"/>
                <a:gd name="T97" fmla="*/ 673 h 1331"/>
                <a:gd name="T98" fmla="*/ 708 w 3561"/>
                <a:gd name="T99" fmla="*/ 820 h 1331"/>
                <a:gd name="T100" fmla="*/ 580 w 3561"/>
                <a:gd name="T101" fmla="*/ 975 h 1331"/>
                <a:gd name="T102" fmla="*/ 488 w 3561"/>
                <a:gd name="T103" fmla="*/ 1047 h 1331"/>
                <a:gd name="T104" fmla="*/ 418 w 3561"/>
                <a:gd name="T105" fmla="*/ 1057 h 1331"/>
                <a:gd name="T106" fmla="*/ 302 w 3561"/>
                <a:gd name="T107" fmla="*/ 1024 h 1331"/>
                <a:gd name="T108" fmla="*/ 210 w 3561"/>
                <a:gd name="T109" fmla="*/ 1017 h 1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561" h="1331">
                  <a:moveTo>
                    <a:pt x="193" y="1024"/>
                  </a:moveTo>
                  <a:lnTo>
                    <a:pt x="0" y="1120"/>
                  </a:lnTo>
                  <a:lnTo>
                    <a:pt x="0" y="1331"/>
                  </a:lnTo>
                  <a:lnTo>
                    <a:pt x="29" y="1322"/>
                  </a:lnTo>
                  <a:lnTo>
                    <a:pt x="59" y="1314"/>
                  </a:lnTo>
                  <a:lnTo>
                    <a:pt x="87" y="1303"/>
                  </a:lnTo>
                  <a:lnTo>
                    <a:pt x="116" y="1293"/>
                  </a:lnTo>
                  <a:lnTo>
                    <a:pt x="145" y="1284"/>
                  </a:lnTo>
                  <a:lnTo>
                    <a:pt x="174" y="1276"/>
                  </a:lnTo>
                  <a:lnTo>
                    <a:pt x="190" y="1274"/>
                  </a:lnTo>
                  <a:lnTo>
                    <a:pt x="204" y="1271"/>
                  </a:lnTo>
                  <a:lnTo>
                    <a:pt x="219" y="1270"/>
                  </a:lnTo>
                  <a:lnTo>
                    <a:pt x="233" y="1270"/>
                  </a:lnTo>
                  <a:lnTo>
                    <a:pt x="250" y="1270"/>
                  </a:lnTo>
                  <a:lnTo>
                    <a:pt x="266" y="1271"/>
                  </a:lnTo>
                  <a:lnTo>
                    <a:pt x="282" y="1274"/>
                  </a:lnTo>
                  <a:lnTo>
                    <a:pt x="298" y="1276"/>
                  </a:lnTo>
                  <a:lnTo>
                    <a:pt x="330" y="1283"/>
                  </a:lnTo>
                  <a:lnTo>
                    <a:pt x="362" y="1289"/>
                  </a:lnTo>
                  <a:lnTo>
                    <a:pt x="395" y="1296"/>
                  </a:lnTo>
                  <a:lnTo>
                    <a:pt x="427" y="1299"/>
                  </a:lnTo>
                  <a:lnTo>
                    <a:pt x="442" y="1301"/>
                  </a:lnTo>
                  <a:lnTo>
                    <a:pt x="459" y="1301"/>
                  </a:lnTo>
                  <a:lnTo>
                    <a:pt x="474" y="1299"/>
                  </a:lnTo>
                  <a:lnTo>
                    <a:pt x="491" y="1297"/>
                  </a:lnTo>
                  <a:lnTo>
                    <a:pt x="520" y="1289"/>
                  </a:lnTo>
                  <a:lnTo>
                    <a:pt x="550" y="1280"/>
                  </a:lnTo>
                  <a:lnTo>
                    <a:pt x="579" y="1270"/>
                  </a:lnTo>
                  <a:lnTo>
                    <a:pt x="607" y="1258"/>
                  </a:lnTo>
                  <a:lnTo>
                    <a:pt x="662" y="1233"/>
                  </a:lnTo>
                  <a:lnTo>
                    <a:pt x="716" y="1205"/>
                  </a:lnTo>
                  <a:lnTo>
                    <a:pt x="744" y="1192"/>
                  </a:lnTo>
                  <a:lnTo>
                    <a:pt x="771" y="1179"/>
                  </a:lnTo>
                  <a:lnTo>
                    <a:pt x="798" y="1166"/>
                  </a:lnTo>
                  <a:lnTo>
                    <a:pt x="826" y="1155"/>
                  </a:lnTo>
                  <a:lnTo>
                    <a:pt x="855" y="1143"/>
                  </a:lnTo>
                  <a:lnTo>
                    <a:pt x="884" y="1134"/>
                  </a:lnTo>
                  <a:lnTo>
                    <a:pt x="913" y="1126"/>
                  </a:lnTo>
                  <a:lnTo>
                    <a:pt x="944" y="1121"/>
                  </a:lnTo>
                  <a:lnTo>
                    <a:pt x="957" y="1119"/>
                  </a:lnTo>
                  <a:lnTo>
                    <a:pt x="970" y="1119"/>
                  </a:lnTo>
                  <a:lnTo>
                    <a:pt x="983" y="1119"/>
                  </a:lnTo>
                  <a:lnTo>
                    <a:pt x="995" y="1119"/>
                  </a:lnTo>
                  <a:lnTo>
                    <a:pt x="1020" y="1121"/>
                  </a:lnTo>
                  <a:lnTo>
                    <a:pt x="1045" y="1126"/>
                  </a:lnTo>
                  <a:lnTo>
                    <a:pt x="1070" y="1133"/>
                  </a:lnTo>
                  <a:lnTo>
                    <a:pt x="1094" y="1140"/>
                  </a:lnTo>
                  <a:lnTo>
                    <a:pt x="1120" y="1149"/>
                  </a:lnTo>
                  <a:lnTo>
                    <a:pt x="1144" y="1158"/>
                  </a:lnTo>
                  <a:lnTo>
                    <a:pt x="1170" y="1167"/>
                  </a:lnTo>
                  <a:lnTo>
                    <a:pt x="1194" y="1176"/>
                  </a:lnTo>
                  <a:lnTo>
                    <a:pt x="1220" y="1185"/>
                  </a:lnTo>
                  <a:lnTo>
                    <a:pt x="1244" y="1192"/>
                  </a:lnTo>
                  <a:lnTo>
                    <a:pt x="1270" y="1198"/>
                  </a:lnTo>
                  <a:lnTo>
                    <a:pt x="1294" y="1202"/>
                  </a:lnTo>
                  <a:lnTo>
                    <a:pt x="1307" y="1202"/>
                  </a:lnTo>
                  <a:lnTo>
                    <a:pt x="1320" y="1203"/>
                  </a:lnTo>
                  <a:lnTo>
                    <a:pt x="1332" y="1203"/>
                  </a:lnTo>
                  <a:lnTo>
                    <a:pt x="1345" y="1202"/>
                  </a:lnTo>
                  <a:lnTo>
                    <a:pt x="1362" y="1199"/>
                  </a:lnTo>
                  <a:lnTo>
                    <a:pt x="1377" y="1194"/>
                  </a:lnTo>
                  <a:lnTo>
                    <a:pt x="1393" y="1188"/>
                  </a:lnTo>
                  <a:lnTo>
                    <a:pt x="1407" y="1180"/>
                  </a:lnTo>
                  <a:lnTo>
                    <a:pt x="1421" y="1171"/>
                  </a:lnTo>
                  <a:lnTo>
                    <a:pt x="1435" y="1161"/>
                  </a:lnTo>
                  <a:lnTo>
                    <a:pt x="1448" y="1149"/>
                  </a:lnTo>
                  <a:lnTo>
                    <a:pt x="1462" y="1138"/>
                  </a:lnTo>
                  <a:lnTo>
                    <a:pt x="1489" y="1115"/>
                  </a:lnTo>
                  <a:lnTo>
                    <a:pt x="1516" y="1093"/>
                  </a:lnTo>
                  <a:lnTo>
                    <a:pt x="1530" y="1082"/>
                  </a:lnTo>
                  <a:lnTo>
                    <a:pt x="1544" y="1073"/>
                  </a:lnTo>
                  <a:lnTo>
                    <a:pt x="1559" y="1065"/>
                  </a:lnTo>
                  <a:lnTo>
                    <a:pt x="1575" y="1057"/>
                  </a:lnTo>
                  <a:lnTo>
                    <a:pt x="1590" y="1052"/>
                  </a:lnTo>
                  <a:lnTo>
                    <a:pt x="1605" y="1048"/>
                  </a:lnTo>
                  <a:lnTo>
                    <a:pt x="1622" y="1046"/>
                  </a:lnTo>
                  <a:lnTo>
                    <a:pt x="1639" y="1043"/>
                  </a:lnTo>
                  <a:lnTo>
                    <a:pt x="1672" y="1039"/>
                  </a:lnTo>
                  <a:lnTo>
                    <a:pt x="1705" y="1038"/>
                  </a:lnTo>
                  <a:lnTo>
                    <a:pt x="1739" y="1035"/>
                  </a:lnTo>
                  <a:lnTo>
                    <a:pt x="1772" y="1032"/>
                  </a:lnTo>
                  <a:lnTo>
                    <a:pt x="1787" y="1030"/>
                  </a:lnTo>
                  <a:lnTo>
                    <a:pt x="1804" y="1026"/>
                  </a:lnTo>
                  <a:lnTo>
                    <a:pt x="1819" y="1023"/>
                  </a:lnTo>
                  <a:lnTo>
                    <a:pt x="1836" y="1017"/>
                  </a:lnTo>
                  <a:lnTo>
                    <a:pt x="1857" y="1008"/>
                  </a:lnTo>
                  <a:lnTo>
                    <a:pt x="1876" y="998"/>
                  </a:lnTo>
                  <a:lnTo>
                    <a:pt x="1895" y="987"/>
                  </a:lnTo>
                  <a:lnTo>
                    <a:pt x="1914" y="974"/>
                  </a:lnTo>
                  <a:lnTo>
                    <a:pt x="1951" y="947"/>
                  </a:lnTo>
                  <a:lnTo>
                    <a:pt x="1989" y="919"/>
                  </a:lnTo>
                  <a:lnTo>
                    <a:pt x="2007" y="905"/>
                  </a:lnTo>
                  <a:lnTo>
                    <a:pt x="2026" y="892"/>
                  </a:lnTo>
                  <a:lnTo>
                    <a:pt x="2044" y="880"/>
                  </a:lnTo>
                  <a:lnTo>
                    <a:pt x="2063" y="869"/>
                  </a:lnTo>
                  <a:lnTo>
                    <a:pt x="2083" y="861"/>
                  </a:lnTo>
                  <a:lnTo>
                    <a:pt x="2104" y="853"/>
                  </a:lnTo>
                  <a:lnTo>
                    <a:pt x="2114" y="851"/>
                  </a:lnTo>
                  <a:lnTo>
                    <a:pt x="2124" y="848"/>
                  </a:lnTo>
                  <a:lnTo>
                    <a:pt x="2135" y="847"/>
                  </a:lnTo>
                  <a:lnTo>
                    <a:pt x="2146" y="846"/>
                  </a:lnTo>
                  <a:lnTo>
                    <a:pt x="2158" y="846"/>
                  </a:lnTo>
                  <a:lnTo>
                    <a:pt x="2171" y="847"/>
                  </a:lnTo>
                  <a:lnTo>
                    <a:pt x="2182" y="850"/>
                  </a:lnTo>
                  <a:lnTo>
                    <a:pt x="2194" y="852"/>
                  </a:lnTo>
                  <a:lnTo>
                    <a:pt x="2218" y="860"/>
                  </a:lnTo>
                  <a:lnTo>
                    <a:pt x="2242" y="869"/>
                  </a:lnTo>
                  <a:lnTo>
                    <a:pt x="2267" y="882"/>
                  </a:lnTo>
                  <a:lnTo>
                    <a:pt x="2290" y="894"/>
                  </a:lnTo>
                  <a:lnTo>
                    <a:pt x="2314" y="907"/>
                  </a:lnTo>
                  <a:lnTo>
                    <a:pt x="2338" y="921"/>
                  </a:lnTo>
                  <a:lnTo>
                    <a:pt x="2360" y="933"/>
                  </a:lnTo>
                  <a:lnTo>
                    <a:pt x="2381" y="943"/>
                  </a:lnTo>
                  <a:lnTo>
                    <a:pt x="2400" y="950"/>
                  </a:lnTo>
                  <a:lnTo>
                    <a:pt x="2418" y="956"/>
                  </a:lnTo>
                  <a:lnTo>
                    <a:pt x="2434" y="960"/>
                  </a:lnTo>
                  <a:lnTo>
                    <a:pt x="2450" y="962"/>
                  </a:lnTo>
                  <a:lnTo>
                    <a:pt x="2465" y="964"/>
                  </a:lnTo>
                  <a:lnTo>
                    <a:pt x="2479" y="964"/>
                  </a:lnTo>
                  <a:lnTo>
                    <a:pt x="2492" y="962"/>
                  </a:lnTo>
                  <a:lnTo>
                    <a:pt x="2505" y="960"/>
                  </a:lnTo>
                  <a:lnTo>
                    <a:pt x="2516" y="956"/>
                  </a:lnTo>
                  <a:lnTo>
                    <a:pt x="2528" y="952"/>
                  </a:lnTo>
                  <a:lnTo>
                    <a:pt x="2538" y="947"/>
                  </a:lnTo>
                  <a:lnTo>
                    <a:pt x="2549" y="941"/>
                  </a:lnTo>
                  <a:lnTo>
                    <a:pt x="2559" y="934"/>
                  </a:lnTo>
                  <a:lnTo>
                    <a:pt x="2568" y="928"/>
                  </a:lnTo>
                  <a:lnTo>
                    <a:pt x="2605" y="897"/>
                  </a:lnTo>
                  <a:lnTo>
                    <a:pt x="2645" y="867"/>
                  </a:lnTo>
                  <a:lnTo>
                    <a:pt x="2655" y="861"/>
                  </a:lnTo>
                  <a:lnTo>
                    <a:pt x="2666" y="856"/>
                  </a:lnTo>
                  <a:lnTo>
                    <a:pt x="2678" y="851"/>
                  </a:lnTo>
                  <a:lnTo>
                    <a:pt x="2691" y="847"/>
                  </a:lnTo>
                  <a:lnTo>
                    <a:pt x="2704" y="844"/>
                  </a:lnTo>
                  <a:lnTo>
                    <a:pt x="2718" y="842"/>
                  </a:lnTo>
                  <a:lnTo>
                    <a:pt x="2733" y="842"/>
                  </a:lnTo>
                  <a:lnTo>
                    <a:pt x="2748" y="842"/>
                  </a:lnTo>
                  <a:lnTo>
                    <a:pt x="2788" y="844"/>
                  </a:lnTo>
                  <a:lnTo>
                    <a:pt x="2825" y="848"/>
                  </a:lnTo>
                  <a:lnTo>
                    <a:pt x="2859" y="851"/>
                  </a:lnTo>
                  <a:lnTo>
                    <a:pt x="2891" y="853"/>
                  </a:lnTo>
                  <a:lnTo>
                    <a:pt x="2921" y="855"/>
                  </a:lnTo>
                  <a:lnTo>
                    <a:pt x="2951" y="856"/>
                  </a:lnTo>
                  <a:lnTo>
                    <a:pt x="2982" y="855"/>
                  </a:lnTo>
                  <a:lnTo>
                    <a:pt x="3012" y="853"/>
                  </a:lnTo>
                  <a:lnTo>
                    <a:pt x="3034" y="851"/>
                  </a:lnTo>
                  <a:lnTo>
                    <a:pt x="3056" y="847"/>
                  </a:lnTo>
                  <a:lnTo>
                    <a:pt x="3078" y="842"/>
                  </a:lnTo>
                  <a:lnTo>
                    <a:pt x="3102" y="835"/>
                  </a:lnTo>
                  <a:lnTo>
                    <a:pt x="3155" y="820"/>
                  </a:lnTo>
                  <a:lnTo>
                    <a:pt x="3214" y="801"/>
                  </a:lnTo>
                  <a:lnTo>
                    <a:pt x="3283" y="776"/>
                  </a:lnTo>
                  <a:lnTo>
                    <a:pt x="3362" y="750"/>
                  </a:lnTo>
                  <a:lnTo>
                    <a:pt x="3454" y="720"/>
                  </a:lnTo>
                  <a:lnTo>
                    <a:pt x="3561" y="689"/>
                  </a:lnTo>
                  <a:lnTo>
                    <a:pt x="3561" y="0"/>
                  </a:lnTo>
                  <a:lnTo>
                    <a:pt x="3526" y="28"/>
                  </a:lnTo>
                  <a:lnTo>
                    <a:pt x="3493" y="56"/>
                  </a:lnTo>
                  <a:lnTo>
                    <a:pt x="3462" y="83"/>
                  </a:lnTo>
                  <a:lnTo>
                    <a:pt x="3430" y="110"/>
                  </a:lnTo>
                  <a:lnTo>
                    <a:pt x="3399" y="137"/>
                  </a:lnTo>
                  <a:lnTo>
                    <a:pt x="3367" y="165"/>
                  </a:lnTo>
                  <a:lnTo>
                    <a:pt x="3335" y="192"/>
                  </a:lnTo>
                  <a:lnTo>
                    <a:pt x="3301" y="220"/>
                  </a:lnTo>
                  <a:lnTo>
                    <a:pt x="3249" y="263"/>
                  </a:lnTo>
                  <a:lnTo>
                    <a:pt x="3206" y="298"/>
                  </a:lnTo>
                  <a:lnTo>
                    <a:pt x="3187" y="314"/>
                  </a:lnTo>
                  <a:lnTo>
                    <a:pt x="3167" y="328"/>
                  </a:lnTo>
                  <a:lnTo>
                    <a:pt x="3149" y="339"/>
                  </a:lnTo>
                  <a:lnTo>
                    <a:pt x="3132" y="350"/>
                  </a:lnTo>
                  <a:lnTo>
                    <a:pt x="3112" y="357"/>
                  </a:lnTo>
                  <a:lnTo>
                    <a:pt x="3093" y="364"/>
                  </a:lnTo>
                  <a:lnTo>
                    <a:pt x="3071" y="369"/>
                  </a:lnTo>
                  <a:lnTo>
                    <a:pt x="3048" y="373"/>
                  </a:lnTo>
                  <a:lnTo>
                    <a:pt x="3024" y="374"/>
                  </a:lnTo>
                  <a:lnTo>
                    <a:pt x="2996" y="373"/>
                  </a:lnTo>
                  <a:lnTo>
                    <a:pt x="2964" y="371"/>
                  </a:lnTo>
                  <a:lnTo>
                    <a:pt x="2929" y="368"/>
                  </a:lnTo>
                  <a:lnTo>
                    <a:pt x="2879" y="361"/>
                  </a:lnTo>
                  <a:lnTo>
                    <a:pt x="2837" y="357"/>
                  </a:lnTo>
                  <a:lnTo>
                    <a:pt x="2818" y="357"/>
                  </a:lnTo>
                  <a:lnTo>
                    <a:pt x="2800" y="357"/>
                  </a:lnTo>
                  <a:lnTo>
                    <a:pt x="2782" y="357"/>
                  </a:lnTo>
                  <a:lnTo>
                    <a:pt x="2765" y="360"/>
                  </a:lnTo>
                  <a:lnTo>
                    <a:pt x="2748" y="364"/>
                  </a:lnTo>
                  <a:lnTo>
                    <a:pt x="2732" y="369"/>
                  </a:lnTo>
                  <a:lnTo>
                    <a:pt x="2716" y="375"/>
                  </a:lnTo>
                  <a:lnTo>
                    <a:pt x="2698" y="383"/>
                  </a:lnTo>
                  <a:lnTo>
                    <a:pt x="2681" y="393"/>
                  </a:lnTo>
                  <a:lnTo>
                    <a:pt x="2663" y="405"/>
                  </a:lnTo>
                  <a:lnTo>
                    <a:pt x="2643" y="419"/>
                  </a:lnTo>
                  <a:lnTo>
                    <a:pt x="2622" y="436"/>
                  </a:lnTo>
                  <a:lnTo>
                    <a:pt x="2601" y="451"/>
                  </a:lnTo>
                  <a:lnTo>
                    <a:pt x="2582" y="465"/>
                  </a:lnTo>
                  <a:lnTo>
                    <a:pt x="2561" y="480"/>
                  </a:lnTo>
                  <a:lnTo>
                    <a:pt x="2541" y="493"/>
                  </a:lnTo>
                  <a:lnTo>
                    <a:pt x="2531" y="498"/>
                  </a:lnTo>
                  <a:lnTo>
                    <a:pt x="2519" y="503"/>
                  </a:lnTo>
                  <a:lnTo>
                    <a:pt x="2509" y="507"/>
                  </a:lnTo>
                  <a:lnTo>
                    <a:pt x="2497" y="511"/>
                  </a:lnTo>
                  <a:lnTo>
                    <a:pt x="2487" y="514"/>
                  </a:lnTo>
                  <a:lnTo>
                    <a:pt x="2475" y="516"/>
                  </a:lnTo>
                  <a:lnTo>
                    <a:pt x="2464" y="518"/>
                  </a:lnTo>
                  <a:lnTo>
                    <a:pt x="2452" y="518"/>
                  </a:lnTo>
                  <a:lnTo>
                    <a:pt x="2441" y="516"/>
                  </a:lnTo>
                  <a:lnTo>
                    <a:pt x="2431" y="515"/>
                  </a:lnTo>
                  <a:lnTo>
                    <a:pt x="2420" y="514"/>
                  </a:lnTo>
                  <a:lnTo>
                    <a:pt x="2410" y="510"/>
                  </a:lnTo>
                  <a:lnTo>
                    <a:pt x="2391" y="502"/>
                  </a:lnTo>
                  <a:lnTo>
                    <a:pt x="2372" y="493"/>
                  </a:lnTo>
                  <a:lnTo>
                    <a:pt x="2352" y="482"/>
                  </a:lnTo>
                  <a:lnTo>
                    <a:pt x="2333" y="469"/>
                  </a:lnTo>
                  <a:lnTo>
                    <a:pt x="2314" y="456"/>
                  </a:lnTo>
                  <a:lnTo>
                    <a:pt x="2296" y="442"/>
                  </a:lnTo>
                  <a:lnTo>
                    <a:pt x="2277" y="428"/>
                  </a:lnTo>
                  <a:lnTo>
                    <a:pt x="2258" y="415"/>
                  </a:lnTo>
                  <a:lnTo>
                    <a:pt x="2240" y="404"/>
                  </a:lnTo>
                  <a:lnTo>
                    <a:pt x="2220" y="393"/>
                  </a:lnTo>
                  <a:lnTo>
                    <a:pt x="2200" y="384"/>
                  </a:lnTo>
                  <a:lnTo>
                    <a:pt x="2181" y="378"/>
                  </a:lnTo>
                  <a:lnTo>
                    <a:pt x="2171" y="375"/>
                  </a:lnTo>
                  <a:lnTo>
                    <a:pt x="2160" y="374"/>
                  </a:lnTo>
                  <a:lnTo>
                    <a:pt x="2150" y="374"/>
                  </a:lnTo>
                  <a:lnTo>
                    <a:pt x="2140" y="374"/>
                  </a:lnTo>
                  <a:lnTo>
                    <a:pt x="2128" y="374"/>
                  </a:lnTo>
                  <a:lnTo>
                    <a:pt x="2117" y="377"/>
                  </a:lnTo>
                  <a:lnTo>
                    <a:pt x="2106" y="379"/>
                  </a:lnTo>
                  <a:lnTo>
                    <a:pt x="2096" y="382"/>
                  </a:lnTo>
                  <a:lnTo>
                    <a:pt x="2077" y="389"/>
                  </a:lnTo>
                  <a:lnTo>
                    <a:pt x="2059" y="398"/>
                  </a:lnTo>
                  <a:lnTo>
                    <a:pt x="2042" y="410"/>
                  </a:lnTo>
                  <a:lnTo>
                    <a:pt x="2026" y="421"/>
                  </a:lnTo>
                  <a:lnTo>
                    <a:pt x="2009" y="436"/>
                  </a:lnTo>
                  <a:lnTo>
                    <a:pt x="1994" y="450"/>
                  </a:lnTo>
                  <a:lnTo>
                    <a:pt x="1962" y="478"/>
                  </a:lnTo>
                  <a:lnTo>
                    <a:pt x="1930" y="507"/>
                  </a:lnTo>
                  <a:lnTo>
                    <a:pt x="1912" y="520"/>
                  </a:lnTo>
                  <a:lnTo>
                    <a:pt x="1894" y="532"/>
                  </a:lnTo>
                  <a:lnTo>
                    <a:pt x="1875" y="542"/>
                  </a:lnTo>
                  <a:lnTo>
                    <a:pt x="1854" y="551"/>
                  </a:lnTo>
                  <a:lnTo>
                    <a:pt x="1837" y="556"/>
                  </a:lnTo>
                  <a:lnTo>
                    <a:pt x="1819" y="560"/>
                  </a:lnTo>
                  <a:lnTo>
                    <a:pt x="1803" y="562"/>
                  </a:lnTo>
                  <a:lnTo>
                    <a:pt x="1785" y="562"/>
                  </a:lnTo>
                  <a:lnTo>
                    <a:pt x="1750" y="561"/>
                  </a:lnTo>
                  <a:lnTo>
                    <a:pt x="1714" y="559"/>
                  </a:lnTo>
                  <a:lnTo>
                    <a:pt x="1678" y="555"/>
                  </a:lnTo>
                  <a:lnTo>
                    <a:pt x="1643" y="553"/>
                  </a:lnTo>
                  <a:lnTo>
                    <a:pt x="1626" y="553"/>
                  </a:lnTo>
                  <a:lnTo>
                    <a:pt x="1608" y="555"/>
                  </a:lnTo>
                  <a:lnTo>
                    <a:pt x="1591" y="559"/>
                  </a:lnTo>
                  <a:lnTo>
                    <a:pt x="1575" y="562"/>
                  </a:lnTo>
                  <a:lnTo>
                    <a:pt x="1559" y="569"/>
                  </a:lnTo>
                  <a:lnTo>
                    <a:pt x="1545" y="577"/>
                  </a:lnTo>
                  <a:lnTo>
                    <a:pt x="1531" y="587"/>
                  </a:lnTo>
                  <a:lnTo>
                    <a:pt x="1518" y="598"/>
                  </a:lnTo>
                  <a:lnTo>
                    <a:pt x="1493" y="623"/>
                  </a:lnTo>
                  <a:lnTo>
                    <a:pt x="1470" y="648"/>
                  </a:lnTo>
                  <a:lnTo>
                    <a:pt x="1457" y="661"/>
                  </a:lnTo>
                  <a:lnTo>
                    <a:pt x="1445" y="673"/>
                  </a:lnTo>
                  <a:lnTo>
                    <a:pt x="1432" y="684"/>
                  </a:lnTo>
                  <a:lnTo>
                    <a:pt x="1420" y="694"/>
                  </a:lnTo>
                  <a:lnTo>
                    <a:pt x="1406" y="703"/>
                  </a:lnTo>
                  <a:lnTo>
                    <a:pt x="1391" y="710"/>
                  </a:lnTo>
                  <a:lnTo>
                    <a:pt x="1376" y="715"/>
                  </a:lnTo>
                  <a:lnTo>
                    <a:pt x="1361" y="718"/>
                  </a:lnTo>
                  <a:lnTo>
                    <a:pt x="1347" y="719"/>
                  </a:lnTo>
                  <a:lnTo>
                    <a:pt x="1334" y="719"/>
                  </a:lnTo>
                  <a:lnTo>
                    <a:pt x="1320" y="718"/>
                  </a:lnTo>
                  <a:lnTo>
                    <a:pt x="1307" y="715"/>
                  </a:lnTo>
                  <a:lnTo>
                    <a:pt x="1280" y="709"/>
                  </a:lnTo>
                  <a:lnTo>
                    <a:pt x="1253" y="700"/>
                  </a:lnTo>
                  <a:lnTo>
                    <a:pt x="1226" y="689"/>
                  </a:lnTo>
                  <a:lnTo>
                    <a:pt x="1199" y="677"/>
                  </a:lnTo>
                  <a:lnTo>
                    <a:pt x="1172" y="664"/>
                  </a:lnTo>
                  <a:lnTo>
                    <a:pt x="1145" y="651"/>
                  </a:lnTo>
                  <a:lnTo>
                    <a:pt x="1120" y="639"/>
                  </a:lnTo>
                  <a:lnTo>
                    <a:pt x="1093" y="628"/>
                  </a:lnTo>
                  <a:lnTo>
                    <a:pt x="1067" y="618"/>
                  </a:lnTo>
                  <a:lnTo>
                    <a:pt x="1040" y="611"/>
                  </a:lnTo>
                  <a:lnTo>
                    <a:pt x="1028" y="609"/>
                  </a:lnTo>
                  <a:lnTo>
                    <a:pt x="1015" y="606"/>
                  </a:lnTo>
                  <a:lnTo>
                    <a:pt x="1002" y="605"/>
                  </a:lnTo>
                  <a:lnTo>
                    <a:pt x="989" y="605"/>
                  </a:lnTo>
                  <a:lnTo>
                    <a:pt x="976" y="606"/>
                  </a:lnTo>
                  <a:lnTo>
                    <a:pt x="963" y="607"/>
                  </a:lnTo>
                  <a:lnTo>
                    <a:pt x="951" y="610"/>
                  </a:lnTo>
                  <a:lnTo>
                    <a:pt x="938" y="615"/>
                  </a:lnTo>
                  <a:lnTo>
                    <a:pt x="920" y="621"/>
                  </a:lnTo>
                  <a:lnTo>
                    <a:pt x="902" y="630"/>
                  </a:lnTo>
                  <a:lnTo>
                    <a:pt x="887" y="639"/>
                  </a:lnTo>
                  <a:lnTo>
                    <a:pt x="870" y="650"/>
                  </a:lnTo>
                  <a:lnTo>
                    <a:pt x="855" y="661"/>
                  </a:lnTo>
                  <a:lnTo>
                    <a:pt x="839" y="673"/>
                  </a:lnTo>
                  <a:lnTo>
                    <a:pt x="825" y="685"/>
                  </a:lnTo>
                  <a:lnTo>
                    <a:pt x="811" y="698"/>
                  </a:lnTo>
                  <a:lnTo>
                    <a:pt x="784" y="727"/>
                  </a:lnTo>
                  <a:lnTo>
                    <a:pt x="758" y="757"/>
                  </a:lnTo>
                  <a:lnTo>
                    <a:pt x="733" y="788"/>
                  </a:lnTo>
                  <a:lnTo>
                    <a:pt x="708" y="820"/>
                  </a:lnTo>
                  <a:lnTo>
                    <a:pt x="684" y="853"/>
                  </a:lnTo>
                  <a:lnTo>
                    <a:pt x="658" y="885"/>
                  </a:lnTo>
                  <a:lnTo>
                    <a:pt x="634" y="916"/>
                  </a:lnTo>
                  <a:lnTo>
                    <a:pt x="607" y="947"/>
                  </a:lnTo>
                  <a:lnTo>
                    <a:pt x="594" y="961"/>
                  </a:lnTo>
                  <a:lnTo>
                    <a:pt x="580" y="975"/>
                  </a:lnTo>
                  <a:lnTo>
                    <a:pt x="566" y="989"/>
                  </a:lnTo>
                  <a:lnTo>
                    <a:pt x="551" y="1002"/>
                  </a:lnTo>
                  <a:lnTo>
                    <a:pt x="537" y="1015"/>
                  </a:lnTo>
                  <a:lnTo>
                    <a:pt x="520" y="1026"/>
                  </a:lnTo>
                  <a:lnTo>
                    <a:pt x="505" y="1037"/>
                  </a:lnTo>
                  <a:lnTo>
                    <a:pt x="488" y="1047"/>
                  </a:lnTo>
                  <a:lnTo>
                    <a:pt x="479" y="1051"/>
                  </a:lnTo>
                  <a:lnTo>
                    <a:pt x="471" y="1053"/>
                  </a:lnTo>
                  <a:lnTo>
                    <a:pt x="462" y="1056"/>
                  </a:lnTo>
                  <a:lnTo>
                    <a:pt x="453" y="1057"/>
                  </a:lnTo>
                  <a:lnTo>
                    <a:pt x="436" y="1058"/>
                  </a:lnTo>
                  <a:lnTo>
                    <a:pt x="418" y="1057"/>
                  </a:lnTo>
                  <a:lnTo>
                    <a:pt x="398" y="1053"/>
                  </a:lnTo>
                  <a:lnTo>
                    <a:pt x="379" y="1048"/>
                  </a:lnTo>
                  <a:lnTo>
                    <a:pt x="360" y="1043"/>
                  </a:lnTo>
                  <a:lnTo>
                    <a:pt x="341" y="1037"/>
                  </a:lnTo>
                  <a:lnTo>
                    <a:pt x="321" y="1030"/>
                  </a:lnTo>
                  <a:lnTo>
                    <a:pt x="302" y="1024"/>
                  </a:lnTo>
                  <a:lnTo>
                    <a:pt x="283" y="1019"/>
                  </a:lnTo>
                  <a:lnTo>
                    <a:pt x="264" y="1016"/>
                  </a:lnTo>
                  <a:lnTo>
                    <a:pt x="246" y="1014"/>
                  </a:lnTo>
                  <a:lnTo>
                    <a:pt x="228" y="1015"/>
                  </a:lnTo>
                  <a:lnTo>
                    <a:pt x="219" y="1016"/>
                  </a:lnTo>
                  <a:lnTo>
                    <a:pt x="210" y="1017"/>
                  </a:lnTo>
                  <a:lnTo>
                    <a:pt x="201" y="1020"/>
                  </a:lnTo>
                  <a:lnTo>
                    <a:pt x="193" y="102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4" name="Line 61">
              <a:extLst>
                <a:ext uri="{FF2B5EF4-FFF2-40B4-BE49-F238E27FC236}">
                  <a16:creationId xmlns:a16="http://schemas.microsoft.com/office/drawing/2014/main" id="{B4C102E3-6444-4A49-8E51-8D815ADEE0F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620251" y="4429126"/>
              <a:ext cx="0" cy="857250"/>
            </a:xfrm>
            <a:prstGeom prst="line">
              <a:avLst/>
            </a:prstGeom>
            <a:noFill/>
            <a:ln w="25400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5CC9AB3-5D96-433A-9648-3F7E70937660}"/>
              </a:ext>
            </a:extLst>
          </p:cNvPr>
          <p:cNvGrpSpPr/>
          <p:nvPr/>
        </p:nvGrpSpPr>
        <p:grpSpPr>
          <a:xfrm>
            <a:off x="727899" y="3300564"/>
            <a:ext cx="2259013" cy="339724"/>
            <a:chOff x="726779" y="3304114"/>
            <a:chExt cx="2259013" cy="339724"/>
          </a:xfrm>
        </p:grpSpPr>
        <p:sp>
          <p:nvSpPr>
            <p:cNvPr id="377" name="Line 41">
              <a:extLst>
                <a:ext uri="{FF2B5EF4-FFF2-40B4-BE49-F238E27FC236}">
                  <a16:creationId xmlns:a16="http://schemas.microsoft.com/office/drawing/2014/main" id="{ACD5E59F-4F59-4FF8-8421-C485D068F1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4804" y="3459313"/>
              <a:ext cx="280988" cy="0"/>
            </a:xfrm>
            <a:prstGeom prst="line">
              <a:avLst/>
            </a:prstGeom>
            <a:noFill/>
            <a:ln w="31750">
              <a:solidFill>
                <a:schemeClr val="accent2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latin typeface="Calibri"/>
              </a:endParaRPr>
            </a:p>
          </p:txBody>
        </p:sp>
        <p:sp>
          <p:nvSpPr>
            <p:cNvPr id="386" name="Rounded Rectangle 353">
              <a:extLst>
                <a:ext uri="{FF2B5EF4-FFF2-40B4-BE49-F238E27FC236}">
                  <a16:creationId xmlns:a16="http://schemas.microsoft.com/office/drawing/2014/main" id="{EB7E7ABB-DCBD-44D3-964E-5B3C44E28926}"/>
                </a:ext>
              </a:extLst>
            </p:cNvPr>
            <p:cNvSpPr/>
            <p:nvPr/>
          </p:nvSpPr>
          <p:spPr>
            <a:xfrm>
              <a:off x="726779" y="3304114"/>
              <a:ext cx="1976438" cy="339724"/>
            </a:xfrm>
            <a:prstGeom prst="roundRect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icrocontroller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B735E2F-C970-43DA-AA84-DBE29FA18171}"/>
              </a:ext>
            </a:extLst>
          </p:cNvPr>
          <p:cNvGrpSpPr/>
          <p:nvPr/>
        </p:nvGrpSpPr>
        <p:grpSpPr>
          <a:xfrm>
            <a:off x="727899" y="3951090"/>
            <a:ext cx="2259013" cy="339724"/>
            <a:chOff x="726779" y="3750504"/>
            <a:chExt cx="2259013" cy="339724"/>
          </a:xfrm>
        </p:grpSpPr>
        <p:sp>
          <p:nvSpPr>
            <p:cNvPr id="378" name="Line 42">
              <a:extLst>
                <a:ext uri="{FF2B5EF4-FFF2-40B4-BE49-F238E27FC236}">
                  <a16:creationId xmlns:a16="http://schemas.microsoft.com/office/drawing/2014/main" id="{E420D9C6-38DD-44D6-8ECD-85B7A3ECC6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4804" y="3906988"/>
              <a:ext cx="280988" cy="0"/>
            </a:xfrm>
            <a:prstGeom prst="line">
              <a:avLst/>
            </a:prstGeom>
            <a:noFill/>
            <a:ln w="31750">
              <a:solidFill>
                <a:schemeClr val="accent2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387" name="Rounded Rectangle 354">
              <a:extLst>
                <a:ext uri="{FF2B5EF4-FFF2-40B4-BE49-F238E27FC236}">
                  <a16:creationId xmlns:a16="http://schemas.microsoft.com/office/drawing/2014/main" id="{98850D3E-DD11-47A6-97A2-D9D26F145205}"/>
                </a:ext>
              </a:extLst>
            </p:cNvPr>
            <p:cNvSpPr/>
            <p:nvPr/>
          </p:nvSpPr>
          <p:spPr>
            <a:xfrm>
              <a:off x="726779" y="3750504"/>
              <a:ext cx="1976438" cy="339724"/>
            </a:xfrm>
            <a:prstGeom prst="roundRect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creen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0B1FB45-97A8-4902-8ACF-4E4672FC11AB}"/>
              </a:ext>
            </a:extLst>
          </p:cNvPr>
          <p:cNvGrpSpPr/>
          <p:nvPr/>
        </p:nvGrpSpPr>
        <p:grpSpPr>
          <a:xfrm>
            <a:off x="744926" y="4585064"/>
            <a:ext cx="2259013" cy="339724"/>
            <a:chOff x="726779" y="4196894"/>
            <a:chExt cx="2259013" cy="339724"/>
          </a:xfrm>
        </p:grpSpPr>
        <p:sp>
          <p:nvSpPr>
            <p:cNvPr id="379" name="Line 43">
              <a:extLst>
                <a:ext uri="{FF2B5EF4-FFF2-40B4-BE49-F238E27FC236}">
                  <a16:creationId xmlns:a16="http://schemas.microsoft.com/office/drawing/2014/main" id="{CB1C07B8-0F58-4804-887D-3E2F165AF6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4804" y="4343550"/>
              <a:ext cx="280988" cy="0"/>
            </a:xfrm>
            <a:prstGeom prst="line">
              <a:avLst/>
            </a:prstGeom>
            <a:noFill/>
            <a:ln w="31750">
              <a:solidFill>
                <a:schemeClr val="accent2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388" name="Rounded Rectangle 355">
              <a:extLst>
                <a:ext uri="{FF2B5EF4-FFF2-40B4-BE49-F238E27FC236}">
                  <a16:creationId xmlns:a16="http://schemas.microsoft.com/office/drawing/2014/main" id="{110EA2A0-A806-4565-8FC9-FEDC63723914}"/>
                </a:ext>
              </a:extLst>
            </p:cNvPr>
            <p:cNvSpPr/>
            <p:nvPr/>
          </p:nvSpPr>
          <p:spPr>
            <a:xfrm>
              <a:off x="726779" y="4196894"/>
              <a:ext cx="1976438" cy="339724"/>
            </a:xfrm>
            <a:prstGeom prst="roundRect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SM Module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609CECA-1F0B-4084-8E56-4F7E51ADA549}"/>
              </a:ext>
            </a:extLst>
          </p:cNvPr>
          <p:cNvGrpSpPr/>
          <p:nvPr/>
        </p:nvGrpSpPr>
        <p:grpSpPr>
          <a:xfrm>
            <a:off x="729051" y="2670746"/>
            <a:ext cx="2259013" cy="339724"/>
            <a:chOff x="726779" y="2857724"/>
            <a:chExt cx="2259013" cy="339724"/>
          </a:xfrm>
        </p:grpSpPr>
        <p:sp>
          <p:nvSpPr>
            <p:cNvPr id="376" name="Line 40">
              <a:extLst>
                <a:ext uri="{FF2B5EF4-FFF2-40B4-BE49-F238E27FC236}">
                  <a16:creationId xmlns:a16="http://schemas.microsoft.com/office/drawing/2014/main" id="{3A32C3A8-5414-44A9-9003-6C9C93E2A8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4804" y="3011638"/>
              <a:ext cx="280988" cy="0"/>
            </a:xfrm>
            <a:prstGeom prst="line">
              <a:avLst/>
            </a:prstGeom>
            <a:noFill/>
            <a:ln w="31750">
              <a:solidFill>
                <a:schemeClr val="accent2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latin typeface="Calibri"/>
              </a:endParaRPr>
            </a:p>
          </p:txBody>
        </p:sp>
        <p:sp>
          <p:nvSpPr>
            <p:cNvPr id="391" name="Rounded Rectangle 358">
              <a:extLst>
                <a:ext uri="{FF2B5EF4-FFF2-40B4-BE49-F238E27FC236}">
                  <a16:creationId xmlns:a16="http://schemas.microsoft.com/office/drawing/2014/main" id="{26F58335-65B6-4BD2-AE70-632FEE13D803}"/>
                </a:ext>
              </a:extLst>
            </p:cNvPr>
            <p:cNvSpPr/>
            <p:nvPr/>
          </p:nvSpPr>
          <p:spPr>
            <a:xfrm>
              <a:off x="726779" y="2857724"/>
              <a:ext cx="1976438" cy="339724"/>
            </a:xfrm>
            <a:prstGeom prst="roundRect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ensor</a:t>
              </a:r>
              <a:endParaRPr lang="en-US" sz="1400" dirty="0">
                <a:solidFill>
                  <a:schemeClr val="bg1"/>
                </a:solidFill>
                <a:latin typeface="Calibri"/>
              </a:endParaRPr>
            </a:p>
          </p:txBody>
        </p:sp>
      </p:grpSp>
      <p:sp>
        <p:nvSpPr>
          <p:cNvPr id="392" name="Freeform 39">
            <a:extLst>
              <a:ext uri="{FF2B5EF4-FFF2-40B4-BE49-F238E27FC236}">
                <a16:creationId xmlns:a16="http://schemas.microsoft.com/office/drawing/2014/main" id="{DB5FAA99-1B68-48C3-BF76-D371A1143FD0}"/>
              </a:ext>
            </a:extLst>
          </p:cNvPr>
          <p:cNvSpPr>
            <a:spLocks/>
          </p:cNvSpPr>
          <p:nvPr/>
        </p:nvSpPr>
        <p:spPr bwMode="auto">
          <a:xfrm>
            <a:off x="2785768" y="1751164"/>
            <a:ext cx="200025" cy="3895725"/>
          </a:xfrm>
          <a:custGeom>
            <a:avLst/>
            <a:gdLst>
              <a:gd name="T0" fmla="*/ 0 w 378"/>
              <a:gd name="T1" fmla="*/ 0 h 7363"/>
              <a:gd name="T2" fmla="*/ 378 w 378"/>
              <a:gd name="T3" fmla="*/ 414 h 7363"/>
              <a:gd name="T4" fmla="*/ 378 w 378"/>
              <a:gd name="T5" fmla="*/ 6960 h 7363"/>
              <a:gd name="T6" fmla="*/ 7 w 378"/>
              <a:gd name="T7" fmla="*/ 7363 h 7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8" h="7363">
                <a:moveTo>
                  <a:pt x="0" y="0"/>
                </a:moveTo>
                <a:lnTo>
                  <a:pt x="378" y="414"/>
                </a:lnTo>
                <a:lnTo>
                  <a:pt x="378" y="6960"/>
                </a:lnTo>
                <a:lnTo>
                  <a:pt x="7" y="7363"/>
                </a:lnTo>
              </a:path>
            </a:pathLst>
          </a:custGeom>
          <a:noFill/>
          <a:ln w="3810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395" name="Group 394">
            <a:extLst>
              <a:ext uri="{FF2B5EF4-FFF2-40B4-BE49-F238E27FC236}">
                <a16:creationId xmlns:a16="http://schemas.microsoft.com/office/drawing/2014/main" id="{9BF9DA7F-0E39-4A7A-B7B7-FBE975621A1E}"/>
              </a:ext>
            </a:extLst>
          </p:cNvPr>
          <p:cNvGrpSpPr/>
          <p:nvPr/>
        </p:nvGrpSpPr>
        <p:grpSpPr>
          <a:xfrm>
            <a:off x="4406605" y="1936901"/>
            <a:ext cx="3484563" cy="3543301"/>
            <a:chOff x="4351338" y="1779588"/>
            <a:chExt cx="3484563" cy="3543301"/>
          </a:xfrm>
          <a:solidFill>
            <a:schemeClr val="accent4">
              <a:alpha val="53000"/>
            </a:schemeClr>
          </a:solidFill>
        </p:grpSpPr>
        <p:sp>
          <p:nvSpPr>
            <p:cNvPr id="488" name="Freeform 120">
              <a:extLst>
                <a:ext uri="{FF2B5EF4-FFF2-40B4-BE49-F238E27FC236}">
                  <a16:creationId xmlns:a16="http://schemas.microsoft.com/office/drawing/2014/main" id="{8E7E649D-352F-4DB2-9F2F-4DB31592C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8376" y="4602163"/>
              <a:ext cx="115888" cy="100013"/>
            </a:xfrm>
            <a:custGeom>
              <a:avLst/>
              <a:gdLst>
                <a:gd name="T0" fmla="*/ 190 w 217"/>
                <a:gd name="T1" fmla="*/ 189 h 189"/>
                <a:gd name="T2" fmla="*/ 0 w 217"/>
                <a:gd name="T3" fmla="*/ 33 h 189"/>
                <a:gd name="T4" fmla="*/ 27 w 217"/>
                <a:gd name="T5" fmla="*/ 0 h 189"/>
                <a:gd name="T6" fmla="*/ 217 w 217"/>
                <a:gd name="T7" fmla="*/ 154 h 189"/>
                <a:gd name="T8" fmla="*/ 190 w 217"/>
                <a:gd name="T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189">
                  <a:moveTo>
                    <a:pt x="190" y="189"/>
                  </a:moveTo>
                  <a:lnTo>
                    <a:pt x="0" y="33"/>
                  </a:lnTo>
                  <a:lnTo>
                    <a:pt x="27" y="0"/>
                  </a:lnTo>
                  <a:lnTo>
                    <a:pt x="217" y="154"/>
                  </a:lnTo>
                  <a:lnTo>
                    <a:pt x="190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9" name="Freeform 121">
              <a:extLst>
                <a:ext uri="{FF2B5EF4-FFF2-40B4-BE49-F238E27FC236}">
                  <a16:creationId xmlns:a16="http://schemas.microsoft.com/office/drawing/2014/main" id="{0CB44B69-73BC-41EC-A002-F1A107693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5363" y="4568826"/>
              <a:ext cx="117475" cy="96838"/>
            </a:xfrm>
            <a:custGeom>
              <a:avLst/>
              <a:gdLst>
                <a:gd name="T0" fmla="*/ 194 w 220"/>
                <a:gd name="T1" fmla="*/ 184 h 184"/>
                <a:gd name="T2" fmla="*/ 0 w 220"/>
                <a:gd name="T3" fmla="*/ 35 h 184"/>
                <a:gd name="T4" fmla="*/ 26 w 220"/>
                <a:gd name="T5" fmla="*/ 0 h 184"/>
                <a:gd name="T6" fmla="*/ 220 w 220"/>
                <a:gd name="T7" fmla="*/ 149 h 184"/>
                <a:gd name="T8" fmla="*/ 194 w 220"/>
                <a:gd name="T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184">
                  <a:moveTo>
                    <a:pt x="194" y="184"/>
                  </a:moveTo>
                  <a:lnTo>
                    <a:pt x="0" y="35"/>
                  </a:lnTo>
                  <a:lnTo>
                    <a:pt x="26" y="0"/>
                  </a:lnTo>
                  <a:lnTo>
                    <a:pt x="220" y="149"/>
                  </a:lnTo>
                  <a:lnTo>
                    <a:pt x="19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0" name="Freeform 122">
              <a:extLst>
                <a:ext uri="{FF2B5EF4-FFF2-40B4-BE49-F238E27FC236}">
                  <a16:creationId xmlns:a16="http://schemas.microsoft.com/office/drawing/2014/main" id="{B085F594-D43F-4057-90AC-42D546B30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2351" y="4535488"/>
              <a:ext cx="117475" cy="95250"/>
            </a:xfrm>
            <a:custGeom>
              <a:avLst/>
              <a:gdLst>
                <a:gd name="T0" fmla="*/ 198 w 222"/>
                <a:gd name="T1" fmla="*/ 180 h 180"/>
                <a:gd name="T2" fmla="*/ 0 w 222"/>
                <a:gd name="T3" fmla="*/ 35 h 180"/>
                <a:gd name="T4" fmla="*/ 25 w 222"/>
                <a:gd name="T5" fmla="*/ 0 h 180"/>
                <a:gd name="T6" fmla="*/ 222 w 222"/>
                <a:gd name="T7" fmla="*/ 144 h 180"/>
                <a:gd name="T8" fmla="*/ 198 w 222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180">
                  <a:moveTo>
                    <a:pt x="198" y="180"/>
                  </a:moveTo>
                  <a:lnTo>
                    <a:pt x="0" y="35"/>
                  </a:lnTo>
                  <a:lnTo>
                    <a:pt x="25" y="0"/>
                  </a:lnTo>
                  <a:lnTo>
                    <a:pt x="222" y="144"/>
                  </a:lnTo>
                  <a:lnTo>
                    <a:pt x="198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1" name="Freeform 123">
              <a:extLst>
                <a:ext uri="{FF2B5EF4-FFF2-40B4-BE49-F238E27FC236}">
                  <a16:creationId xmlns:a16="http://schemas.microsoft.com/office/drawing/2014/main" id="{C9FDB227-63FF-4762-873F-B0A614FCC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7751" y="4500563"/>
              <a:ext cx="119063" cy="92075"/>
            </a:xfrm>
            <a:custGeom>
              <a:avLst/>
              <a:gdLst>
                <a:gd name="T0" fmla="*/ 201 w 225"/>
                <a:gd name="T1" fmla="*/ 175 h 175"/>
                <a:gd name="T2" fmla="*/ 0 w 225"/>
                <a:gd name="T3" fmla="*/ 35 h 175"/>
                <a:gd name="T4" fmla="*/ 24 w 225"/>
                <a:gd name="T5" fmla="*/ 0 h 175"/>
                <a:gd name="T6" fmla="*/ 225 w 225"/>
                <a:gd name="T7" fmla="*/ 139 h 175"/>
                <a:gd name="T8" fmla="*/ 201 w 225"/>
                <a:gd name="T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175">
                  <a:moveTo>
                    <a:pt x="201" y="175"/>
                  </a:moveTo>
                  <a:lnTo>
                    <a:pt x="0" y="35"/>
                  </a:lnTo>
                  <a:lnTo>
                    <a:pt x="24" y="0"/>
                  </a:lnTo>
                  <a:lnTo>
                    <a:pt x="225" y="139"/>
                  </a:lnTo>
                  <a:lnTo>
                    <a:pt x="201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2" name="Freeform 124">
              <a:extLst>
                <a:ext uri="{FF2B5EF4-FFF2-40B4-BE49-F238E27FC236}">
                  <a16:creationId xmlns:a16="http://schemas.microsoft.com/office/drawing/2014/main" id="{6EB0CBC5-C55F-40EF-B362-43A2DBAAB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3151" y="4464051"/>
              <a:ext cx="119063" cy="90488"/>
            </a:xfrm>
            <a:custGeom>
              <a:avLst/>
              <a:gdLst>
                <a:gd name="T0" fmla="*/ 204 w 227"/>
                <a:gd name="T1" fmla="*/ 170 h 170"/>
                <a:gd name="T2" fmla="*/ 0 w 227"/>
                <a:gd name="T3" fmla="*/ 37 h 170"/>
                <a:gd name="T4" fmla="*/ 23 w 227"/>
                <a:gd name="T5" fmla="*/ 0 h 170"/>
                <a:gd name="T6" fmla="*/ 227 w 227"/>
                <a:gd name="T7" fmla="*/ 133 h 170"/>
                <a:gd name="T8" fmla="*/ 204 w 227"/>
                <a:gd name="T9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70">
                  <a:moveTo>
                    <a:pt x="204" y="170"/>
                  </a:moveTo>
                  <a:lnTo>
                    <a:pt x="0" y="37"/>
                  </a:lnTo>
                  <a:lnTo>
                    <a:pt x="23" y="0"/>
                  </a:lnTo>
                  <a:lnTo>
                    <a:pt x="227" y="133"/>
                  </a:lnTo>
                  <a:lnTo>
                    <a:pt x="204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3" name="Freeform 125">
              <a:extLst>
                <a:ext uri="{FF2B5EF4-FFF2-40B4-BE49-F238E27FC236}">
                  <a16:creationId xmlns:a16="http://schemas.microsoft.com/office/drawing/2014/main" id="{DD9183FC-1CE5-44EF-9932-72F551060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5376" y="4429126"/>
              <a:ext cx="122238" cy="87313"/>
            </a:xfrm>
            <a:custGeom>
              <a:avLst/>
              <a:gdLst>
                <a:gd name="T0" fmla="*/ 207 w 229"/>
                <a:gd name="T1" fmla="*/ 165 h 165"/>
                <a:gd name="T2" fmla="*/ 0 w 229"/>
                <a:gd name="T3" fmla="*/ 37 h 165"/>
                <a:gd name="T4" fmla="*/ 23 w 229"/>
                <a:gd name="T5" fmla="*/ 0 h 165"/>
                <a:gd name="T6" fmla="*/ 229 w 229"/>
                <a:gd name="T7" fmla="*/ 128 h 165"/>
                <a:gd name="T8" fmla="*/ 207 w 229"/>
                <a:gd name="T9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9" h="165">
                  <a:moveTo>
                    <a:pt x="207" y="165"/>
                  </a:moveTo>
                  <a:lnTo>
                    <a:pt x="0" y="37"/>
                  </a:lnTo>
                  <a:lnTo>
                    <a:pt x="23" y="0"/>
                  </a:lnTo>
                  <a:lnTo>
                    <a:pt x="229" y="128"/>
                  </a:lnTo>
                  <a:lnTo>
                    <a:pt x="207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4" name="Freeform 126">
              <a:extLst>
                <a:ext uri="{FF2B5EF4-FFF2-40B4-BE49-F238E27FC236}">
                  <a16:creationId xmlns:a16="http://schemas.microsoft.com/office/drawing/2014/main" id="{E7231F5A-2020-4965-BA9C-A9021CFD2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9188" y="4392613"/>
              <a:ext cx="122238" cy="84138"/>
            </a:xfrm>
            <a:custGeom>
              <a:avLst/>
              <a:gdLst>
                <a:gd name="T0" fmla="*/ 210 w 232"/>
                <a:gd name="T1" fmla="*/ 160 h 160"/>
                <a:gd name="T2" fmla="*/ 0 w 232"/>
                <a:gd name="T3" fmla="*/ 38 h 160"/>
                <a:gd name="T4" fmla="*/ 21 w 232"/>
                <a:gd name="T5" fmla="*/ 0 h 160"/>
                <a:gd name="T6" fmla="*/ 232 w 232"/>
                <a:gd name="T7" fmla="*/ 123 h 160"/>
                <a:gd name="T8" fmla="*/ 210 w 23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160">
                  <a:moveTo>
                    <a:pt x="210" y="160"/>
                  </a:moveTo>
                  <a:lnTo>
                    <a:pt x="0" y="38"/>
                  </a:lnTo>
                  <a:lnTo>
                    <a:pt x="21" y="0"/>
                  </a:lnTo>
                  <a:lnTo>
                    <a:pt x="232" y="123"/>
                  </a:lnTo>
                  <a:lnTo>
                    <a:pt x="210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5" name="Freeform 127">
              <a:extLst>
                <a:ext uri="{FF2B5EF4-FFF2-40B4-BE49-F238E27FC236}">
                  <a16:creationId xmlns:a16="http://schemas.microsoft.com/office/drawing/2014/main" id="{33DF4167-202B-487D-B26A-D8CFD3FF90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826" y="4354513"/>
              <a:ext cx="123825" cy="82550"/>
            </a:xfrm>
            <a:custGeom>
              <a:avLst/>
              <a:gdLst>
                <a:gd name="T0" fmla="*/ 213 w 234"/>
                <a:gd name="T1" fmla="*/ 155 h 155"/>
                <a:gd name="T2" fmla="*/ 0 w 234"/>
                <a:gd name="T3" fmla="*/ 39 h 155"/>
                <a:gd name="T4" fmla="*/ 21 w 234"/>
                <a:gd name="T5" fmla="*/ 0 h 155"/>
                <a:gd name="T6" fmla="*/ 234 w 234"/>
                <a:gd name="T7" fmla="*/ 118 h 155"/>
                <a:gd name="T8" fmla="*/ 213 w 234"/>
                <a:gd name="T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155">
                  <a:moveTo>
                    <a:pt x="213" y="155"/>
                  </a:moveTo>
                  <a:lnTo>
                    <a:pt x="0" y="39"/>
                  </a:lnTo>
                  <a:lnTo>
                    <a:pt x="21" y="0"/>
                  </a:lnTo>
                  <a:lnTo>
                    <a:pt x="234" y="118"/>
                  </a:lnTo>
                  <a:lnTo>
                    <a:pt x="213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6" name="Freeform 128">
              <a:extLst>
                <a:ext uri="{FF2B5EF4-FFF2-40B4-BE49-F238E27FC236}">
                  <a16:creationId xmlns:a16="http://schemas.microsoft.com/office/drawing/2014/main" id="{07CE7712-689E-48BD-A2D3-ABF9427A6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463" y="4318001"/>
              <a:ext cx="125413" cy="79375"/>
            </a:xfrm>
            <a:custGeom>
              <a:avLst/>
              <a:gdLst>
                <a:gd name="T0" fmla="*/ 216 w 236"/>
                <a:gd name="T1" fmla="*/ 150 h 150"/>
                <a:gd name="T2" fmla="*/ 0 w 236"/>
                <a:gd name="T3" fmla="*/ 38 h 150"/>
                <a:gd name="T4" fmla="*/ 19 w 236"/>
                <a:gd name="T5" fmla="*/ 0 h 150"/>
                <a:gd name="T6" fmla="*/ 236 w 236"/>
                <a:gd name="T7" fmla="*/ 110 h 150"/>
                <a:gd name="T8" fmla="*/ 216 w 236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6" h="150">
                  <a:moveTo>
                    <a:pt x="216" y="150"/>
                  </a:moveTo>
                  <a:lnTo>
                    <a:pt x="0" y="38"/>
                  </a:lnTo>
                  <a:lnTo>
                    <a:pt x="19" y="0"/>
                  </a:lnTo>
                  <a:lnTo>
                    <a:pt x="236" y="110"/>
                  </a:lnTo>
                  <a:lnTo>
                    <a:pt x="216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7" name="Freeform 129">
              <a:extLst>
                <a:ext uri="{FF2B5EF4-FFF2-40B4-BE49-F238E27FC236}">
                  <a16:creationId xmlns:a16="http://schemas.microsoft.com/office/drawing/2014/main" id="{5151E05E-FFDA-4E8D-A9A9-5D9544310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1101" y="4278313"/>
              <a:ext cx="125413" cy="77788"/>
            </a:xfrm>
            <a:custGeom>
              <a:avLst/>
              <a:gdLst>
                <a:gd name="T0" fmla="*/ 220 w 238"/>
                <a:gd name="T1" fmla="*/ 145 h 145"/>
                <a:gd name="T2" fmla="*/ 0 w 238"/>
                <a:gd name="T3" fmla="*/ 40 h 145"/>
                <a:gd name="T4" fmla="*/ 19 w 238"/>
                <a:gd name="T5" fmla="*/ 0 h 145"/>
                <a:gd name="T6" fmla="*/ 238 w 238"/>
                <a:gd name="T7" fmla="*/ 106 h 145"/>
                <a:gd name="T8" fmla="*/ 220 w 238"/>
                <a:gd name="T9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" h="145">
                  <a:moveTo>
                    <a:pt x="220" y="145"/>
                  </a:moveTo>
                  <a:lnTo>
                    <a:pt x="0" y="40"/>
                  </a:lnTo>
                  <a:lnTo>
                    <a:pt x="19" y="0"/>
                  </a:lnTo>
                  <a:lnTo>
                    <a:pt x="238" y="106"/>
                  </a:lnTo>
                  <a:lnTo>
                    <a:pt x="220" y="1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8" name="Freeform 130">
              <a:extLst>
                <a:ext uri="{FF2B5EF4-FFF2-40B4-BE49-F238E27FC236}">
                  <a16:creationId xmlns:a16="http://schemas.microsoft.com/office/drawing/2014/main" id="{13F2E8A5-9917-4D3E-BFB9-0DCE4BD03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0151" y="4240213"/>
              <a:ext cx="125413" cy="73025"/>
            </a:xfrm>
            <a:custGeom>
              <a:avLst/>
              <a:gdLst>
                <a:gd name="T0" fmla="*/ 222 w 239"/>
                <a:gd name="T1" fmla="*/ 139 h 139"/>
                <a:gd name="T2" fmla="*/ 0 w 239"/>
                <a:gd name="T3" fmla="*/ 39 h 139"/>
                <a:gd name="T4" fmla="*/ 18 w 239"/>
                <a:gd name="T5" fmla="*/ 0 h 139"/>
                <a:gd name="T6" fmla="*/ 239 w 239"/>
                <a:gd name="T7" fmla="*/ 100 h 139"/>
                <a:gd name="T8" fmla="*/ 222 w 239"/>
                <a:gd name="T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39">
                  <a:moveTo>
                    <a:pt x="222" y="139"/>
                  </a:moveTo>
                  <a:lnTo>
                    <a:pt x="0" y="39"/>
                  </a:lnTo>
                  <a:lnTo>
                    <a:pt x="18" y="0"/>
                  </a:lnTo>
                  <a:lnTo>
                    <a:pt x="239" y="100"/>
                  </a:lnTo>
                  <a:lnTo>
                    <a:pt x="222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9" name="Freeform 131">
              <a:extLst>
                <a:ext uri="{FF2B5EF4-FFF2-40B4-BE49-F238E27FC236}">
                  <a16:creationId xmlns:a16="http://schemas.microsoft.com/office/drawing/2014/main" id="{8899C07C-E2E1-4729-AD62-F11E9B5FE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613" y="4202113"/>
              <a:ext cx="127000" cy="69850"/>
            </a:xfrm>
            <a:custGeom>
              <a:avLst/>
              <a:gdLst>
                <a:gd name="T0" fmla="*/ 226 w 241"/>
                <a:gd name="T1" fmla="*/ 133 h 133"/>
                <a:gd name="T2" fmla="*/ 0 w 241"/>
                <a:gd name="T3" fmla="*/ 39 h 133"/>
                <a:gd name="T4" fmla="*/ 17 w 241"/>
                <a:gd name="T5" fmla="*/ 0 h 133"/>
                <a:gd name="T6" fmla="*/ 241 w 241"/>
                <a:gd name="T7" fmla="*/ 92 h 133"/>
                <a:gd name="T8" fmla="*/ 226 w 241"/>
                <a:gd name="T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3">
                  <a:moveTo>
                    <a:pt x="226" y="133"/>
                  </a:moveTo>
                  <a:lnTo>
                    <a:pt x="0" y="39"/>
                  </a:lnTo>
                  <a:lnTo>
                    <a:pt x="17" y="0"/>
                  </a:lnTo>
                  <a:lnTo>
                    <a:pt x="241" y="92"/>
                  </a:lnTo>
                  <a:lnTo>
                    <a:pt x="226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00" name="Freeform 132">
              <a:extLst>
                <a:ext uri="{FF2B5EF4-FFF2-40B4-BE49-F238E27FC236}">
                  <a16:creationId xmlns:a16="http://schemas.microsoft.com/office/drawing/2014/main" id="{81FFFA05-2990-4F51-8934-60F87E14E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7313" y="3481388"/>
              <a:ext cx="128588" cy="30163"/>
            </a:xfrm>
            <a:custGeom>
              <a:avLst/>
              <a:gdLst>
                <a:gd name="T0" fmla="*/ 245 w 245"/>
                <a:gd name="T1" fmla="*/ 43 h 57"/>
                <a:gd name="T2" fmla="*/ 3 w 245"/>
                <a:gd name="T3" fmla="*/ 57 h 57"/>
                <a:gd name="T4" fmla="*/ 0 w 245"/>
                <a:gd name="T5" fmla="*/ 14 h 57"/>
                <a:gd name="T6" fmla="*/ 242 w 245"/>
                <a:gd name="T7" fmla="*/ 0 h 57"/>
                <a:gd name="T8" fmla="*/ 245 w 245"/>
                <a:gd name="T9" fmla="*/ 4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57">
                  <a:moveTo>
                    <a:pt x="245" y="43"/>
                  </a:moveTo>
                  <a:lnTo>
                    <a:pt x="3" y="57"/>
                  </a:lnTo>
                  <a:lnTo>
                    <a:pt x="0" y="14"/>
                  </a:lnTo>
                  <a:lnTo>
                    <a:pt x="242" y="0"/>
                  </a:lnTo>
                  <a:lnTo>
                    <a:pt x="245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01" name="Freeform 133">
              <a:extLst>
                <a:ext uri="{FF2B5EF4-FFF2-40B4-BE49-F238E27FC236}">
                  <a16:creationId xmlns:a16="http://schemas.microsoft.com/office/drawing/2014/main" id="{284B8316-2688-412E-97B4-A2AD5E0FC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4138" y="3435351"/>
              <a:ext cx="130175" cy="33338"/>
            </a:xfrm>
            <a:custGeom>
              <a:avLst/>
              <a:gdLst>
                <a:gd name="T0" fmla="*/ 245 w 245"/>
                <a:gd name="T1" fmla="*/ 44 h 64"/>
                <a:gd name="T2" fmla="*/ 4 w 245"/>
                <a:gd name="T3" fmla="*/ 64 h 64"/>
                <a:gd name="T4" fmla="*/ 0 w 245"/>
                <a:gd name="T5" fmla="*/ 21 h 64"/>
                <a:gd name="T6" fmla="*/ 242 w 245"/>
                <a:gd name="T7" fmla="*/ 0 h 64"/>
                <a:gd name="T8" fmla="*/ 245 w 245"/>
                <a:gd name="T9" fmla="*/ 4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64">
                  <a:moveTo>
                    <a:pt x="245" y="44"/>
                  </a:moveTo>
                  <a:lnTo>
                    <a:pt x="4" y="64"/>
                  </a:lnTo>
                  <a:lnTo>
                    <a:pt x="0" y="21"/>
                  </a:lnTo>
                  <a:lnTo>
                    <a:pt x="242" y="0"/>
                  </a:lnTo>
                  <a:lnTo>
                    <a:pt x="24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14" name="Freeform 134">
              <a:extLst>
                <a:ext uri="{FF2B5EF4-FFF2-40B4-BE49-F238E27FC236}">
                  <a16:creationId xmlns:a16="http://schemas.microsoft.com/office/drawing/2014/main" id="{839255B5-BAB4-4BAC-95DD-60FF7C5E8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0963" y="3389313"/>
              <a:ext cx="130175" cy="36513"/>
            </a:xfrm>
            <a:custGeom>
              <a:avLst/>
              <a:gdLst>
                <a:gd name="T0" fmla="*/ 246 w 246"/>
                <a:gd name="T1" fmla="*/ 44 h 71"/>
                <a:gd name="T2" fmla="*/ 5 w 246"/>
                <a:gd name="T3" fmla="*/ 71 h 71"/>
                <a:gd name="T4" fmla="*/ 0 w 246"/>
                <a:gd name="T5" fmla="*/ 27 h 71"/>
                <a:gd name="T6" fmla="*/ 242 w 246"/>
                <a:gd name="T7" fmla="*/ 0 h 71"/>
                <a:gd name="T8" fmla="*/ 246 w 246"/>
                <a:gd name="T9" fmla="*/ 44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71">
                  <a:moveTo>
                    <a:pt x="246" y="44"/>
                  </a:moveTo>
                  <a:lnTo>
                    <a:pt x="5" y="71"/>
                  </a:lnTo>
                  <a:lnTo>
                    <a:pt x="0" y="27"/>
                  </a:lnTo>
                  <a:lnTo>
                    <a:pt x="242" y="0"/>
                  </a:lnTo>
                  <a:lnTo>
                    <a:pt x="246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15" name="Freeform 135">
              <a:extLst>
                <a:ext uri="{FF2B5EF4-FFF2-40B4-BE49-F238E27FC236}">
                  <a16:creationId xmlns:a16="http://schemas.microsoft.com/office/drawing/2014/main" id="{0788160A-059C-41A6-8F0C-5C5F00BCC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7788" y="3343276"/>
              <a:ext cx="130175" cy="39688"/>
            </a:xfrm>
            <a:custGeom>
              <a:avLst/>
              <a:gdLst>
                <a:gd name="T0" fmla="*/ 246 w 246"/>
                <a:gd name="T1" fmla="*/ 44 h 77"/>
                <a:gd name="T2" fmla="*/ 5 w 246"/>
                <a:gd name="T3" fmla="*/ 77 h 77"/>
                <a:gd name="T4" fmla="*/ 0 w 246"/>
                <a:gd name="T5" fmla="*/ 33 h 77"/>
                <a:gd name="T6" fmla="*/ 240 w 246"/>
                <a:gd name="T7" fmla="*/ 0 h 77"/>
                <a:gd name="T8" fmla="*/ 246 w 246"/>
                <a:gd name="T9" fmla="*/ 4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77">
                  <a:moveTo>
                    <a:pt x="246" y="44"/>
                  </a:moveTo>
                  <a:lnTo>
                    <a:pt x="5" y="77"/>
                  </a:lnTo>
                  <a:lnTo>
                    <a:pt x="0" y="33"/>
                  </a:lnTo>
                  <a:lnTo>
                    <a:pt x="240" y="0"/>
                  </a:lnTo>
                  <a:lnTo>
                    <a:pt x="246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16" name="Freeform 136">
              <a:extLst>
                <a:ext uri="{FF2B5EF4-FFF2-40B4-BE49-F238E27FC236}">
                  <a16:creationId xmlns:a16="http://schemas.microsoft.com/office/drawing/2014/main" id="{F984F094-3CD8-4733-83D4-87896F7A6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3297238"/>
              <a:ext cx="130175" cy="42863"/>
            </a:xfrm>
            <a:custGeom>
              <a:avLst/>
              <a:gdLst>
                <a:gd name="T0" fmla="*/ 246 w 246"/>
                <a:gd name="T1" fmla="*/ 44 h 83"/>
                <a:gd name="T2" fmla="*/ 6 w 246"/>
                <a:gd name="T3" fmla="*/ 83 h 83"/>
                <a:gd name="T4" fmla="*/ 0 w 246"/>
                <a:gd name="T5" fmla="*/ 40 h 83"/>
                <a:gd name="T6" fmla="*/ 240 w 246"/>
                <a:gd name="T7" fmla="*/ 0 h 83"/>
                <a:gd name="T8" fmla="*/ 246 w 246"/>
                <a:gd name="T9" fmla="*/ 4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83">
                  <a:moveTo>
                    <a:pt x="246" y="44"/>
                  </a:moveTo>
                  <a:lnTo>
                    <a:pt x="6" y="83"/>
                  </a:lnTo>
                  <a:lnTo>
                    <a:pt x="0" y="40"/>
                  </a:lnTo>
                  <a:lnTo>
                    <a:pt x="240" y="0"/>
                  </a:lnTo>
                  <a:lnTo>
                    <a:pt x="246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30" name="Freeform 137">
              <a:extLst>
                <a:ext uri="{FF2B5EF4-FFF2-40B4-BE49-F238E27FC236}">
                  <a16:creationId xmlns:a16="http://schemas.microsoft.com/office/drawing/2014/main" id="{44C573C7-8406-4322-9EAE-3B8D499CF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5088" y="3251201"/>
              <a:ext cx="130175" cy="46038"/>
            </a:xfrm>
            <a:custGeom>
              <a:avLst/>
              <a:gdLst>
                <a:gd name="T0" fmla="*/ 246 w 246"/>
                <a:gd name="T1" fmla="*/ 42 h 88"/>
                <a:gd name="T2" fmla="*/ 8 w 246"/>
                <a:gd name="T3" fmla="*/ 88 h 88"/>
                <a:gd name="T4" fmla="*/ 0 w 246"/>
                <a:gd name="T5" fmla="*/ 46 h 88"/>
                <a:gd name="T6" fmla="*/ 238 w 246"/>
                <a:gd name="T7" fmla="*/ 0 h 88"/>
                <a:gd name="T8" fmla="*/ 246 w 246"/>
                <a:gd name="T9" fmla="*/ 4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88">
                  <a:moveTo>
                    <a:pt x="246" y="42"/>
                  </a:moveTo>
                  <a:lnTo>
                    <a:pt x="8" y="88"/>
                  </a:lnTo>
                  <a:lnTo>
                    <a:pt x="0" y="46"/>
                  </a:lnTo>
                  <a:lnTo>
                    <a:pt x="238" y="0"/>
                  </a:lnTo>
                  <a:lnTo>
                    <a:pt x="246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94" name="Freeform 138">
              <a:extLst>
                <a:ext uri="{FF2B5EF4-FFF2-40B4-BE49-F238E27FC236}">
                  <a16:creationId xmlns:a16="http://schemas.microsoft.com/office/drawing/2014/main" id="{5F3EC73C-AFF5-4F82-A6A1-90FA07EBC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151" y="3205163"/>
              <a:ext cx="130175" cy="50800"/>
            </a:xfrm>
            <a:custGeom>
              <a:avLst/>
              <a:gdLst>
                <a:gd name="T0" fmla="*/ 246 w 246"/>
                <a:gd name="T1" fmla="*/ 42 h 95"/>
                <a:gd name="T2" fmla="*/ 9 w 246"/>
                <a:gd name="T3" fmla="*/ 95 h 95"/>
                <a:gd name="T4" fmla="*/ 0 w 246"/>
                <a:gd name="T5" fmla="*/ 51 h 95"/>
                <a:gd name="T6" fmla="*/ 237 w 246"/>
                <a:gd name="T7" fmla="*/ 0 h 95"/>
                <a:gd name="T8" fmla="*/ 246 w 246"/>
                <a:gd name="T9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95">
                  <a:moveTo>
                    <a:pt x="246" y="42"/>
                  </a:moveTo>
                  <a:lnTo>
                    <a:pt x="9" y="95"/>
                  </a:lnTo>
                  <a:lnTo>
                    <a:pt x="0" y="51"/>
                  </a:lnTo>
                  <a:lnTo>
                    <a:pt x="237" y="0"/>
                  </a:lnTo>
                  <a:lnTo>
                    <a:pt x="246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95" name="Freeform 139">
              <a:extLst>
                <a:ext uri="{FF2B5EF4-FFF2-40B4-BE49-F238E27FC236}">
                  <a16:creationId xmlns:a16="http://schemas.microsoft.com/office/drawing/2014/main" id="{F4A70315-0826-447F-B0CB-A68ACAE37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9213" y="3160713"/>
              <a:ext cx="130175" cy="52388"/>
            </a:xfrm>
            <a:custGeom>
              <a:avLst/>
              <a:gdLst>
                <a:gd name="T0" fmla="*/ 246 w 246"/>
                <a:gd name="T1" fmla="*/ 43 h 100"/>
                <a:gd name="T2" fmla="*/ 11 w 246"/>
                <a:gd name="T3" fmla="*/ 100 h 100"/>
                <a:gd name="T4" fmla="*/ 0 w 246"/>
                <a:gd name="T5" fmla="*/ 59 h 100"/>
                <a:gd name="T6" fmla="*/ 236 w 246"/>
                <a:gd name="T7" fmla="*/ 0 h 100"/>
                <a:gd name="T8" fmla="*/ 246 w 246"/>
                <a:gd name="T9" fmla="*/ 4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100">
                  <a:moveTo>
                    <a:pt x="246" y="43"/>
                  </a:moveTo>
                  <a:lnTo>
                    <a:pt x="11" y="100"/>
                  </a:lnTo>
                  <a:lnTo>
                    <a:pt x="0" y="59"/>
                  </a:lnTo>
                  <a:lnTo>
                    <a:pt x="236" y="0"/>
                  </a:lnTo>
                  <a:lnTo>
                    <a:pt x="24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96" name="Freeform 140">
              <a:extLst>
                <a:ext uri="{FF2B5EF4-FFF2-40B4-BE49-F238E27FC236}">
                  <a16:creationId xmlns:a16="http://schemas.microsoft.com/office/drawing/2014/main" id="{35D3F113-973A-4B99-BAE6-F59A0FD74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9688" y="3114676"/>
              <a:ext cx="128588" cy="57150"/>
            </a:xfrm>
            <a:custGeom>
              <a:avLst/>
              <a:gdLst>
                <a:gd name="T0" fmla="*/ 245 w 245"/>
                <a:gd name="T1" fmla="*/ 43 h 108"/>
                <a:gd name="T2" fmla="*/ 11 w 245"/>
                <a:gd name="T3" fmla="*/ 108 h 108"/>
                <a:gd name="T4" fmla="*/ 0 w 245"/>
                <a:gd name="T5" fmla="*/ 66 h 108"/>
                <a:gd name="T6" fmla="*/ 234 w 245"/>
                <a:gd name="T7" fmla="*/ 0 h 108"/>
                <a:gd name="T8" fmla="*/ 245 w 245"/>
                <a:gd name="T9" fmla="*/ 4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8">
                  <a:moveTo>
                    <a:pt x="245" y="43"/>
                  </a:moveTo>
                  <a:lnTo>
                    <a:pt x="11" y="108"/>
                  </a:lnTo>
                  <a:lnTo>
                    <a:pt x="0" y="66"/>
                  </a:lnTo>
                  <a:lnTo>
                    <a:pt x="234" y="0"/>
                  </a:lnTo>
                  <a:lnTo>
                    <a:pt x="245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97" name="Freeform 141">
              <a:extLst>
                <a:ext uri="{FF2B5EF4-FFF2-40B4-BE49-F238E27FC236}">
                  <a16:creationId xmlns:a16="http://schemas.microsoft.com/office/drawing/2014/main" id="{BA431DBE-39DD-4DB9-893A-C51CEA32C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8576" y="3070226"/>
              <a:ext cx="128588" cy="60325"/>
            </a:xfrm>
            <a:custGeom>
              <a:avLst/>
              <a:gdLst>
                <a:gd name="T0" fmla="*/ 243 w 243"/>
                <a:gd name="T1" fmla="*/ 42 h 113"/>
                <a:gd name="T2" fmla="*/ 11 w 243"/>
                <a:gd name="T3" fmla="*/ 113 h 113"/>
                <a:gd name="T4" fmla="*/ 0 w 243"/>
                <a:gd name="T5" fmla="*/ 72 h 113"/>
                <a:gd name="T6" fmla="*/ 232 w 243"/>
                <a:gd name="T7" fmla="*/ 0 h 113"/>
                <a:gd name="T8" fmla="*/ 243 w 243"/>
                <a:gd name="T9" fmla="*/ 4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13">
                  <a:moveTo>
                    <a:pt x="243" y="42"/>
                  </a:moveTo>
                  <a:lnTo>
                    <a:pt x="11" y="113"/>
                  </a:lnTo>
                  <a:lnTo>
                    <a:pt x="0" y="72"/>
                  </a:lnTo>
                  <a:lnTo>
                    <a:pt x="232" y="0"/>
                  </a:lnTo>
                  <a:lnTo>
                    <a:pt x="243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98" name="Freeform 142">
              <a:extLst>
                <a:ext uri="{FF2B5EF4-FFF2-40B4-BE49-F238E27FC236}">
                  <a16:creationId xmlns:a16="http://schemas.microsoft.com/office/drawing/2014/main" id="{652C8F5C-9680-4ED6-80F1-561075581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5876" y="3025776"/>
              <a:ext cx="128588" cy="61913"/>
            </a:xfrm>
            <a:custGeom>
              <a:avLst/>
              <a:gdLst>
                <a:gd name="T0" fmla="*/ 243 w 243"/>
                <a:gd name="T1" fmla="*/ 41 h 117"/>
                <a:gd name="T2" fmla="*/ 14 w 243"/>
                <a:gd name="T3" fmla="*/ 117 h 117"/>
                <a:gd name="T4" fmla="*/ 0 w 243"/>
                <a:gd name="T5" fmla="*/ 76 h 117"/>
                <a:gd name="T6" fmla="*/ 230 w 243"/>
                <a:gd name="T7" fmla="*/ 0 h 117"/>
                <a:gd name="T8" fmla="*/ 243 w 243"/>
                <a:gd name="T9" fmla="*/ 41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17">
                  <a:moveTo>
                    <a:pt x="243" y="41"/>
                  </a:moveTo>
                  <a:lnTo>
                    <a:pt x="14" y="117"/>
                  </a:lnTo>
                  <a:lnTo>
                    <a:pt x="0" y="76"/>
                  </a:lnTo>
                  <a:lnTo>
                    <a:pt x="230" y="0"/>
                  </a:lnTo>
                  <a:lnTo>
                    <a:pt x="243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99" name="Freeform 143">
              <a:extLst>
                <a:ext uri="{FF2B5EF4-FFF2-40B4-BE49-F238E27FC236}">
                  <a16:creationId xmlns:a16="http://schemas.microsoft.com/office/drawing/2014/main" id="{7B6ED182-651E-4B8B-AF33-F47AF348F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176" y="2981326"/>
              <a:ext cx="128588" cy="66675"/>
            </a:xfrm>
            <a:custGeom>
              <a:avLst/>
              <a:gdLst>
                <a:gd name="T0" fmla="*/ 242 w 242"/>
                <a:gd name="T1" fmla="*/ 40 h 125"/>
                <a:gd name="T2" fmla="*/ 14 w 242"/>
                <a:gd name="T3" fmla="*/ 125 h 125"/>
                <a:gd name="T4" fmla="*/ 0 w 242"/>
                <a:gd name="T5" fmla="*/ 84 h 125"/>
                <a:gd name="T6" fmla="*/ 228 w 242"/>
                <a:gd name="T7" fmla="*/ 0 h 125"/>
                <a:gd name="T8" fmla="*/ 242 w 242"/>
                <a:gd name="T9" fmla="*/ 4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125">
                  <a:moveTo>
                    <a:pt x="242" y="40"/>
                  </a:moveTo>
                  <a:lnTo>
                    <a:pt x="14" y="125"/>
                  </a:lnTo>
                  <a:lnTo>
                    <a:pt x="0" y="84"/>
                  </a:lnTo>
                  <a:lnTo>
                    <a:pt x="228" y="0"/>
                  </a:lnTo>
                  <a:lnTo>
                    <a:pt x="242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00" name="Freeform 144">
              <a:extLst>
                <a:ext uri="{FF2B5EF4-FFF2-40B4-BE49-F238E27FC236}">
                  <a16:creationId xmlns:a16="http://schemas.microsoft.com/office/drawing/2014/main" id="{C69C772D-E4FD-44D5-82A4-11159444D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8888" y="2938463"/>
              <a:ext cx="128588" cy="68263"/>
            </a:xfrm>
            <a:custGeom>
              <a:avLst/>
              <a:gdLst>
                <a:gd name="T0" fmla="*/ 242 w 242"/>
                <a:gd name="T1" fmla="*/ 41 h 129"/>
                <a:gd name="T2" fmla="*/ 15 w 242"/>
                <a:gd name="T3" fmla="*/ 129 h 129"/>
                <a:gd name="T4" fmla="*/ 0 w 242"/>
                <a:gd name="T5" fmla="*/ 90 h 129"/>
                <a:gd name="T6" fmla="*/ 226 w 242"/>
                <a:gd name="T7" fmla="*/ 0 h 129"/>
                <a:gd name="T8" fmla="*/ 242 w 242"/>
                <a:gd name="T9" fmla="*/ 41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129">
                  <a:moveTo>
                    <a:pt x="242" y="41"/>
                  </a:moveTo>
                  <a:lnTo>
                    <a:pt x="15" y="129"/>
                  </a:lnTo>
                  <a:lnTo>
                    <a:pt x="0" y="90"/>
                  </a:lnTo>
                  <a:lnTo>
                    <a:pt x="226" y="0"/>
                  </a:lnTo>
                  <a:lnTo>
                    <a:pt x="242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01" name="Freeform 145">
              <a:extLst>
                <a:ext uri="{FF2B5EF4-FFF2-40B4-BE49-F238E27FC236}">
                  <a16:creationId xmlns:a16="http://schemas.microsoft.com/office/drawing/2014/main" id="{C78D70D4-5283-4AE3-A26E-585F9389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4601" y="2894013"/>
              <a:ext cx="127000" cy="73025"/>
            </a:xfrm>
            <a:custGeom>
              <a:avLst/>
              <a:gdLst>
                <a:gd name="T0" fmla="*/ 240 w 240"/>
                <a:gd name="T1" fmla="*/ 41 h 136"/>
                <a:gd name="T2" fmla="*/ 17 w 240"/>
                <a:gd name="T3" fmla="*/ 136 h 136"/>
                <a:gd name="T4" fmla="*/ 0 w 240"/>
                <a:gd name="T5" fmla="*/ 96 h 136"/>
                <a:gd name="T6" fmla="*/ 225 w 240"/>
                <a:gd name="T7" fmla="*/ 0 h 136"/>
                <a:gd name="T8" fmla="*/ 240 w 240"/>
                <a:gd name="T9" fmla="*/ 4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136">
                  <a:moveTo>
                    <a:pt x="240" y="41"/>
                  </a:moveTo>
                  <a:lnTo>
                    <a:pt x="17" y="136"/>
                  </a:lnTo>
                  <a:lnTo>
                    <a:pt x="0" y="96"/>
                  </a:lnTo>
                  <a:lnTo>
                    <a:pt x="225" y="0"/>
                  </a:lnTo>
                  <a:lnTo>
                    <a:pt x="24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02" name="Freeform 146">
              <a:extLst>
                <a:ext uri="{FF2B5EF4-FFF2-40B4-BE49-F238E27FC236}">
                  <a16:creationId xmlns:a16="http://schemas.microsoft.com/office/drawing/2014/main" id="{CE1F943E-9990-4136-843C-0C3118BFE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8726" y="2851151"/>
              <a:ext cx="125413" cy="74613"/>
            </a:xfrm>
            <a:custGeom>
              <a:avLst/>
              <a:gdLst>
                <a:gd name="T0" fmla="*/ 239 w 239"/>
                <a:gd name="T1" fmla="*/ 40 h 141"/>
                <a:gd name="T2" fmla="*/ 18 w 239"/>
                <a:gd name="T3" fmla="*/ 141 h 141"/>
                <a:gd name="T4" fmla="*/ 0 w 239"/>
                <a:gd name="T5" fmla="*/ 101 h 141"/>
                <a:gd name="T6" fmla="*/ 221 w 239"/>
                <a:gd name="T7" fmla="*/ 0 h 141"/>
                <a:gd name="T8" fmla="*/ 239 w 239"/>
                <a:gd name="T9" fmla="*/ 4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41">
                  <a:moveTo>
                    <a:pt x="239" y="40"/>
                  </a:moveTo>
                  <a:lnTo>
                    <a:pt x="18" y="141"/>
                  </a:lnTo>
                  <a:lnTo>
                    <a:pt x="0" y="101"/>
                  </a:lnTo>
                  <a:lnTo>
                    <a:pt x="221" y="0"/>
                  </a:lnTo>
                  <a:lnTo>
                    <a:pt x="239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03" name="Freeform 147">
              <a:extLst>
                <a:ext uri="{FF2B5EF4-FFF2-40B4-BE49-F238E27FC236}">
                  <a16:creationId xmlns:a16="http://schemas.microsoft.com/office/drawing/2014/main" id="{CAA7BAE9-2122-4BC7-8469-B0A11D79C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1263" y="2809876"/>
              <a:ext cx="125413" cy="77788"/>
            </a:xfrm>
            <a:custGeom>
              <a:avLst/>
              <a:gdLst>
                <a:gd name="T0" fmla="*/ 237 w 237"/>
                <a:gd name="T1" fmla="*/ 38 h 146"/>
                <a:gd name="T2" fmla="*/ 18 w 237"/>
                <a:gd name="T3" fmla="*/ 146 h 146"/>
                <a:gd name="T4" fmla="*/ 0 w 237"/>
                <a:gd name="T5" fmla="*/ 106 h 146"/>
                <a:gd name="T6" fmla="*/ 217 w 237"/>
                <a:gd name="T7" fmla="*/ 0 h 146"/>
                <a:gd name="T8" fmla="*/ 237 w 237"/>
                <a:gd name="T9" fmla="*/ 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46">
                  <a:moveTo>
                    <a:pt x="237" y="38"/>
                  </a:moveTo>
                  <a:lnTo>
                    <a:pt x="18" y="146"/>
                  </a:lnTo>
                  <a:lnTo>
                    <a:pt x="0" y="106"/>
                  </a:lnTo>
                  <a:lnTo>
                    <a:pt x="217" y="0"/>
                  </a:lnTo>
                  <a:lnTo>
                    <a:pt x="237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14" name="Freeform 148">
              <a:extLst>
                <a:ext uri="{FF2B5EF4-FFF2-40B4-BE49-F238E27FC236}">
                  <a16:creationId xmlns:a16="http://schemas.microsoft.com/office/drawing/2014/main" id="{ED17F553-C698-499E-8A44-AECBE05AB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2213" y="2767013"/>
              <a:ext cx="125413" cy="80963"/>
            </a:xfrm>
            <a:custGeom>
              <a:avLst/>
              <a:gdLst>
                <a:gd name="T0" fmla="*/ 236 w 236"/>
                <a:gd name="T1" fmla="*/ 39 h 151"/>
                <a:gd name="T2" fmla="*/ 21 w 236"/>
                <a:gd name="T3" fmla="*/ 151 h 151"/>
                <a:gd name="T4" fmla="*/ 0 w 236"/>
                <a:gd name="T5" fmla="*/ 113 h 151"/>
                <a:gd name="T6" fmla="*/ 217 w 236"/>
                <a:gd name="T7" fmla="*/ 0 h 151"/>
                <a:gd name="T8" fmla="*/ 236 w 236"/>
                <a:gd name="T9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6" h="151">
                  <a:moveTo>
                    <a:pt x="236" y="39"/>
                  </a:moveTo>
                  <a:lnTo>
                    <a:pt x="21" y="151"/>
                  </a:lnTo>
                  <a:lnTo>
                    <a:pt x="0" y="113"/>
                  </a:lnTo>
                  <a:lnTo>
                    <a:pt x="217" y="0"/>
                  </a:lnTo>
                  <a:lnTo>
                    <a:pt x="236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16" name="Freeform 149">
              <a:extLst>
                <a:ext uri="{FF2B5EF4-FFF2-40B4-BE49-F238E27FC236}">
                  <a16:creationId xmlns:a16="http://schemas.microsoft.com/office/drawing/2014/main" id="{CFE089EA-A4ED-4493-BB2B-2EBAD3A2D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3163" y="2725738"/>
              <a:ext cx="123825" cy="82550"/>
            </a:xfrm>
            <a:custGeom>
              <a:avLst/>
              <a:gdLst>
                <a:gd name="T0" fmla="*/ 233 w 233"/>
                <a:gd name="T1" fmla="*/ 38 h 156"/>
                <a:gd name="T2" fmla="*/ 21 w 233"/>
                <a:gd name="T3" fmla="*/ 156 h 156"/>
                <a:gd name="T4" fmla="*/ 0 w 233"/>
                <a:gd name="T5" fmla="*/ 119 h 156"/>
                <a:gd name="T6" fmla="*/ 213 w 233"/>
                <a:gd name="T7" fmla="*/ 0 h 156"/>
                <a:gd name="T8" fmla="*/ 233 w 233"/>
                <a:gd name="T9" fmla="*/ 3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156">
                  <a:moveTo>
                    <a:pt x="233" y="38"/>
                  </a:moveTo>
                  <a:lnTo>
                    <a:pt x="21" y="156"/>
                  </a:lnTo>
                  <a:lnTo>
                    <a:pt x="0" y="119"/>
                  </a:lnTo>
                  <a:lnTo>
                    <a:pt x="213" y="0"/>
                  </a:lnTo>
                  <a:lnTo>
                    <a:pt x="233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17" name="Freeform 150">
              <a:extLst>
                <a:ext uri="{FF2B5EF4-FFF2-40B4-BE49-F238E27FC236}">
                  <a16:creationId xmlns:a16="http://schemas.microsoft.com/office/drawing/2014/main" id="{0CC4ECB3-648A-4171-A9D7-41F1AFB48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4113" y="2686051"/>
              <a:ext cx="122238" cy="85725"/>
            </a:xfrm>
            <a:custGeom>
              <a:avLst/>
              <a:gdLst>
                <a:gd name="T0" fmla="*/ 232 w 232"/>
                <a:gd name="T1" fmla="*/ 37 h 162"/>
                <a:gd name="T2" fmla="*/ 21 w 232"/>
                <a:gd name="T3" fmla="*/ 162 h 162"/>
                <a:gd name="T4" fmla="*/ 0 w 232"/>
                <a:gd name="T5" fmla="*/ 124 h 162"/>
                <a:gd name="T6" fmla="*/ 210 w 232"/>
                <a:gd name="T7" fmla="*/ 0 h 162"/>
                <a:gd name="T8" fmla="*/ 232 w 232"/>
                <a:gd name="T9" fmla="*/ 37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162">
                  <a:moveTo>
                    <a:pt x="232" y="37"/>
                  </a:moveTo>
                  <a:lnTo>
                    <a:pt x="21" y="162"/>
                  </a:lnTo>
                  <a:lnTo>
                    <a:pt x="0" y="124"/>
                  </a:lnTo>
                  <a:lnTo>
                    <a:pt x="210" y="0"/>
                  </a:lnTo>
                  <a:lnTo>
                    <a:pt x="23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23" name="Freeform 151">
              <a:extLst>
                <a:ext uri="{FF2B5EF4-FFF2-40B4-BE49-F238E27FC236}">
                  <a16:creationId xmlns:a16="http://schemas.microsoft.com/office/drawing/2014/main" id="{500885BA-09D1-46A0-B488-37E023BE5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1888" y="2646363"/>
              <a:ext cx="122238" cy="87313"/>
            </a:xfrm>
            <a:custGeom>
              <a:avLst/>
              <a:gdLst>
                <a:gd name="T0" fmla="*/ 229 w 229"/>
                <a:gd name="T1" fmla="*/ 35 h 166"/>
                <a:gd name="T2" fmla="*/ 23 w 229"/>
                <a:gd name="T3" fmla="*/ 166 h 166"/>
                <a:gd name="T4" fmla="*/ 0 w 229"/>
                <a:gd name="T5" fmla="*/ 129 h 166"/>
                <a:gd name="T6" fmla="*/ 206 w 229"/>
                <a:gd name="T7" fmla="*/ 0 h 166"/>
                <a:gd name="T8" fmla="*/ 229 w 229"/>
                <a:gd name="T9" fmla="*/ 3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9" h="166">
                  <a:moveTo>
                    <a:pt x="229" y="35"/>
                  </a:moveTo>
                  <a:lnTo>
                    <a:pt x="23" y="166"/>
                  </a:lnTo>
                  <a:lnTo>
                    <a:pt x="0" y="129"/>
                  </a:lnTo>
                  <a:lnTo>
                    <a:pt x="206" y="0"/>
                  </a:lnTo>
                  <a:lnTo>
                    <a:pt x="229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24" name="Freeform 152">
              <a:extLst>
                <a:ext uri="{FF2B5EF4-FFF2-40B4-BE49-F238E27FC236}">
                  <a16:creationId xmlns:a16="http://schemas.microsoft.com/office/drawing/2014/main" id="{E66F81A7-1094-4638-AE08-F71C75144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1251" y="2605088"/>
              <a:ext cx="119063" cy="92075"/>
            </a:xfrm>
            <a:custGeom>
              <a:avLst/>
              <a:gdLst>
                <a:gd name="T0" fmla="*/ 225 w 225"/>
                <a:gd name="T1" fmla="*/ 37 h 172"/>
                <a:gd name="T2" fmla="*/ 23 w 225"/>
                <a:gd name="T3" fmla="*/ 172 h 172"/>
                <a:gd name="T4" fmla="*/ 0 w 225"/>
                <a:gd name="T5" fmla="*/ 136 h 172"/>
                <a:gd name="T6" fmla="*/ 202 w 225"/>
                <a:gd name="T7" fmla="*/ 0 h 172"/>
                <a:gd name="T8" fmla="*/ 225 w 225"/>
                <a:gd name="T9" fmla="*/ 37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172">
                  <a:moveTo>
                    <a:pt x="225" y="37"/>
                  </a:moveTo>
                  <a:lnTo>
                    <a:pt x="23" y="172"/>
                  </a:lnTo>
                  <a:lnTo>
                    <a:pt x="0" y="136"/>
                  </a:lnTo>
                  <a:lnTo>
                    <a:pt x="202" y="0"/>
                  </a:lnTo>
                  <a:lnTo>
                    <a:pt x="22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25" name="Freeform 153">
              <a:extLst>
                <a:ext uri="{FF2B5EF4-FFF2-40B4-BE49-F238E27FC236}">
                  <a16:creationId xmlns:a16="http://schemas.microsoft.com/office/drawing/2014/main" id="{8DDE151C-9B6E-4988-B992-81477AC8E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7438" y="2566988"/>
              <a:ext cx="119063" cy="93663"/>
            </a:xfrm>
            <a:custGeom>
              <a:avLst/>
              <a:gdLst>
                <a:gd name="T0" fmla="*/ 225 w 225"/>
                <a:gd name="T1" fmla="*/ 36 h 177"/>
                <a:gd name="T2" fmla="*/ 25 w 225"/>
                <a:gd name="T3" fmla="*/ 177 h 177"/>
                <a:gd name="T4" fmla="*/ 0 w 225"/>
                <a:gd name="T5" fmla="*/ 141 h 177"/>
                <a:gd name="T6" fmla="*/ 200 w 225"/>
                <a:gd name="T7" fmla="*/ 0 h 177"/>
                <a:gd name="T8" fmla="*/ 225 w 225"/>
                <a:gd name="T9" fmla="*/ 3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177">
                  <a:moveTo>
                    <a:pt x="225" y="36"/>
                  </a:moveTo>
                  <a:lnTo>
                    <a:pt x="25" y="177"/>
                  </a:lnTo>
                  <a:lnTo>
                    <a:pt x="0" y="141"/>
                  </a:lnTo>
                  <a:lnTo>
                    <a:pt x="200" y="0"/>
                  </a:lnTo>
                  <a:lnTo>
                    <a:pt x="225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26" name="Freeform 154">
              <a:extLst>
                <a:ext uri="{FF2B5EF4-FFF2-40B4-BE49-F238E27FC236}">
                  <a16:creationId xmlns:a16="http://schemas.microsoft.com/office/drawing/2014/main" id="{B6845E7B-24D3-4D38-9A5D-EE4693FA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3626" y="2528888"/>
              <a:ext cx="117475" cy="95250"/>
            </a:xfrm>
            <a:custGeom>
              <a:avLst/>
              <a:gdLst>
                <a:gd name="T0" fmla="*/ 220 w 220"/>
                <a:gd name="T1" fmla="*/ 35 h 181"/>
                <a:gd name="T2" fmla="*/ 25 w 220"/>
                <a:gd name="T3" fmla="*/ 181 h 181"/>
                <a:gd name="T4" fmla="*/ 0 w 220"/>
                <a:gd name="T5" fmla="*/ 145 h 181"/>
                <a:gd name="T6" fmla="*/ 194 w 220"/>
                <a:gd name="T7" fmla="*/ 0 h 181"/>
                <a:gd name="T8" fmla="*/ 220 w 220"/>
                <a:gd name="T9" fmla="*/ 35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181">
                  <a:moveTo>
                    <a:pt x="220" y="35"/>
                  </a:moveTo>
                  <a:lnTo>
                    <a:pt x="25" y="181"/>
                  </a:lnTo>
                  <a:lnTo>
                    <a:pt x="0" y="145"/>
                  </a:lnTo>
                  <a:lnTo>
                    <a:pt x="194" y="0"/>
                  </a:lnTo>
                  <a:lnTo>
                    <a:pt x="220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27" name="Freeform 155">
              <a:extLst>
                <a:ext uri="{FF2B5EF4-FFF2-40B4-BE49-F238E27FC236}">
                  <a16:creationId xmlns:a16="http://schemas.microsoft.com/office/drawing/2014/main" id="{E6FF3423-DDF7-4A20-B09E-2FEC0DEE8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226" y="2490788"/>
              <a:ext cx="115888" cy="98425"/>
            </a:xfrm>
            <a:custGeom>
              <a:avLst/>
              <a:gdLst>
                <a:gd name="T0" fmla="*/ 218 w 218"/>
                <a:gd name="T1" fmla="*/ 35 h 186"/>
                <a:gd name="T2" fmla="*/ 27 w 218"/>
                <a:gd name="T3" fmla="*/ 186 h 186"/>
                <a:gd name="T4" fmla="*/ 0 w 218"/>
                <a:gd name="T5" fmla="*/ 152 h 186"/>
                <a:gd name="T6" fmla="*/ 192 w 218"/>
                <a:gd name="T7" fmla="*/ 0 h 186"/>
                <a:gd name="T8" fmla="*/ 218 w 218"/>
                <a:gd name="T9" fmla="*/ 35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186">
                  <a:moveTo>
                    <a:pt x="218" y="35"/>
                  </a:moveTo>
                  <a:lnTo>
                    <a:pt x="27" y="186"/>
                  </a:lnTo>
                  <a:lnTo>
                    <a:pt x="0" y="152"/>
                  </a:lnTo>
                  <a:lnTo>
                    <a:pt x="192" y="0"/>
                  </a:lnTo>
                  <a:lnTo>
                    <a:pt x="218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28" name="Freeform 156">
              <a:extLst>
                <a:ext uri="{FF2B5EF4-FFF2-40B4-BE49-F238E27FC236}">
                  <a16:creationId xmlns:a16="http://schemas.microsoft.com/office/drawing/2014/main" id="{6A7C486B-32E5-4993-9EAB-2499315A70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2826" y="2454276"/>
              <a:ext cx="114300" cy="100013"/>
            </a:xfrm>
            <a:custGeom>
              <a:avLst/>
              <a:gdLst>
                <a:gd name="T0" fmla="*/ 216 w 216"/>
                <a:gd name="T1" fmla="*/ 33 h 190"/>
                <a:gd name="T2" fmla="*/ 29 w 216"/>
                <a:gd name="T3" fmla="*/ 190 h 190"/>
                <a:gd name="T4" fmla="*/ 0 w 216"/>
                <a:gd name="T5" fmla="*/ 156 h 190"/>
                <a:gd name="T6" fmla="*/ 189 w 216"/>
                <a:gd name="T7" fmla="*/ 0 h 190"/>
                <a:gd name="T8" fmla="*/ 216 w 216"/>
                <a:gd name="T9" fmla="*/ 33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190">
                  <a:moveTo>
                    <a:pt x="216" y="33"/>
                  </a:moveTo>
                  <a:lnTo>
                    <a:pt x="29" y="190"/>
                  </a:lnTo>
                  <a:lnTo>
                    <a:pt x="0" y="156"/>
                  </a:lnTo>
                  <a:lnTo>
                    <a:pt x="189" y="0"/>
                  </a:lnTo>
                  <a:lnTo>
                    <a:pt x="216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29" name="Freeform 157">
              <a:extLst>
                <a:ext uri="{FF2B5EF4-FFF2-40B4-BE49-F238E27FC236}">
                  <a16:creationId xmlns:a16="http://schemas.microsoft.com/office/drawing/2014/main" id="{102089AE-7BAD-4DC1-A612-5831B0B4D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5838" y="2417763"/>
              <a:ext cx="112713" cy="103188"/>
            </a:xfrm>
            <a:custGeom>
              <a:avLst/>
              <a:gdLst>
                <a:gd name="T0" fmla="*/ 213 w 213"/>
                <a:gd name="T1" fmla="*/ 32 h 194"/>
                <a:gd name="T2" fmla="*/ 29 w 213"/>
                <a:gd name="T3" fmla="*/ 194 h 194"/>
                <a:gd name="T4" fmla="*/ 0 w 213"/>
                <a:gd name="T5" fmla="*/ 160 h 194"/>
                <a:gd name="T6" fmla="*/ 185 w 213"/>
                <a:gd name="T7" fmla="*/ 0 h 194"/>
                <a:gd name="T8" fmla="*/ 213 w 213"/>
                <a:gd name="T9" fmla="*/ 3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" h="194">
                  <a:moveTo>
                    <a:pt x="213" y="32"/>
                  </a:moveTo>
                  <a:lnTo>
                    <a:pt x="29" y="194"/>
                  </a:lnTo>
                  <a:lnTo>
                    <a:pt x="0" y="160"/>
                  </a:lnTo>
                  <a:lnTo>
                    <a:pt x="185" y="0"/>
                  </a:lnTo>
                  <a:lnTo>
                    <a:pt x="213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0" name="Freeform 211">
              <a:extLst>
                <a:ext uri="{FF2B5EF4-FFF2-40B4-BE49-F238E27FC236}">
                  <a16:creationId xmlns:a16="http://schemas.microsoft.com/office/drawing/2014/main" id="{DF5BEC50-15F4-406A-915B-5F5314766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5988" y="2435225"/>
              <a:ext cx="117475" cy="96838"/>
            </a:xfrm>
            <a:custGeom>
              <a:avLst/>
              <a:gdLst>
                <a:gd name="T0" fmla="*/ 26 w 220"/>
                <a:gd name="T1" fmla="*/ 0 h 183"/>
                <a:gd name="T2" fmla="*/ 220 w 220"/>
                <a:gd name="T3" fmla="*/ 149 h 183"/>
                <a:gd name="T4" fmla="*/ 193 w 220"/>
                <a:gd name="T5" fmla="*/ 183 h 183"/>
                <a:gd name="T6" fmla="*/ 0 w 220"/>
                <a:gd name="T7" fmla="*/ 35 h 183"/>
                <a:gd name="T8" fmla="*/ 26 w 220"/>
                <a:gd name="T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183">
                  <a:moveTo>
                    <a:pt x="26" y="0"/>
                  </a:moveTo>
                  <a:lnTo>
                    <a:pt x="220" y="149"/>
                  </a:lnTo>
                  <a:lnTo>
                    <a:pt x="193" y="183"/>
                  </a:lnTo>
                  <a:lnTo>
                    <a:pt x="0" y="35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1" name="Freeform 212">
              <a:extLst>
                <a:ext uri="{FF2B5EF4-FFF2-40B4-BE49-F238E27FC236}">
                  <a16:creationId xmlns:a16="http://schemas.microsoft.com/office/drawing/2014/main" id="{A68A6B42-A03F-41D1-B1F6-34502CE7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9000" y="2471738"/>
              <a:ext cx="117475" cy="95250"/>
            </a:xfrm>
            <a:custGeom>
              <a:avLst/>
              <a:gdLst>
                <a:gd name="T0" fmla="*/ 24 w 222"/>
                <a:gd name="T1" fmla="*/ 0 h 179"/>
                <a:gd name="T2" fmla="*/ 222 w 222"/>
                <a:gd name="T3" fmla="*/ 144 h 179"/>
                <a:gd name="T4" fmla="*/ 196 w 222"/>
                <a:gd name="T5" fmla="*/ 179 h 179"/>
                <a:gd name="T6" fmla="*/ 0 w 222"/>
                <a:gd name="T7" fmla="*/ 35 h 179"/>
                <a:gd name="T8" fmla="*/ 24 w 222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179">
                  <a:moveTo>
                    <a:pt x="24" y="0"/>
                  </a:moveTo>
                  <a:lnTo>
                    <a:pt x="222" y="144"/>
                  </a:lnTo>
                  <a:lnTo>
                    <a:pt x="196" y="179"/>
                  </a:lnTo>
                  <a:lnTo>
                    <a:pt x="0" y="35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2" name="Freeform 213">
              <a:extLst>
                <a:ext uri="{FF2B5EF4-FFF2-40B4-BE49-F238E27FC236}">
                  <a16:creationId xmlns:a16="http://schemas.microsoft.com/office/drawing/2014/main" id="{C534D25D-BC73-40B4-928B-65694A54D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2013" y="2508250"/>
              <a:ext cx="119063" cy="93663"/>
            </a:xfrm>
            <a:custGeom>
              <a:avLst/>
              <a:gdLst>
                <a:gd name="T0" fmla="*/ 24 w 224"/>
                <a:gd name="T1" fmla="*/ 0 h 175"/>
                <a:gd name="T2" fmla="*/ 224 w 224"/>
                <a:gd name="T3" fmla="*/ 139 h 175"/>
                <a:gd name="T4" fmla="*/ 201 w 224"/>
                <a:gd name="T5" fmla="*/ 175 h 175"/>
                <a:gd name="T6" fmla="*/ 0 w 224"/>
                <a:gd name="T7" fmla="*/ 36 h 175"/>
                <a:gd name="T8" fmla="*/ 24 w 224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175">
                  <a:moveTo>
                    <a:pt x="24" y="0"/>
                  </a:moveTo>
                  <a:lnTo>
                    <a:pt x="224" y="139"/>
                  </a:lnTo>
                  <a:lnTo>
                    <a:pt x="201" y="175"/>
                  </a:lnTo>
                  <a:lnTo>
                    <a:pt x="0" y="36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3" name="Freeform 214">
              <a:extLst>
                <a:ext uri="{FF2B5EF4-FFF2-40B4-BE49-F238E27FC236}">
                  <a16:creationId xmlns:a16="http://schemas.microsoft.com/office/drawing/2014/main" id="{842D155D-129C-495C-BE22-A4B9E2C78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6613" y="2546350"/>
              <a:ext cx="119063" cy="90488"/>
            </a:xfrm>
            <a:custGeom>
              <a:avLst/>
              <a:gdLst>
                <a:gd name="T0" fmla="*/ 23 w 227"/>
                <a:gd name="T1" fmla="*/ 0 h 171"/>
                <a:gd name="T2" fmla="*/ 227 w 227"/>
                <a:gd name="T3" fmla="*/ 134 h 171"/>
                <a:gd name="T4" fmla="*/ 204 w 227"/>
                <a:gd name="T5" fmla="*/ 171 h 171"/>
                <a:gd name="T6" fmla="*/ 0 w 227"/>
                <a:gd name="T7" fmla="*/ 38 h 171"/>
                <a:gd name="T8" fmla="*/ 23 w 227"/>
                <a:gd name="T9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71">
                  <a:moveTo>
                    <a:pt x="23" y="0"/>
                  </a:moveTo>
                  <a:lnTo>
                    <a:pt x="227" y="134"/>
                  </a:lnTo>
                  <a:lnTo>
                    <a:pt x="204" y="171"/>
                  </a:lnTo>
                  <a:lnTo>
                    <a:pt x="0" y="38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4" name="Freeform 215">
              <a:extLst>
                <a:ext uri="{FF2B5EF4-FFF2-40B4-BE49-F238E27FC236}">
                  <a16:creationId xmlns:a16="http://schemas.microsoft.com/office/drawing/2014/main" id="{26A92178-6626-4C56-96A1-038055A29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213" y="2584450"/>
              <a:ext cx="122238" cy="88900"/>
            </a:xfrm>
            <a:custGeom>
              <a:avLst/>
              <a:gdLst>
                <a:gd name="T0" fmla="*/ 23 w 230"/>
                <a:gd name="T1" fmla="*/ 0 h 166"/>
                <a:gd name="T2" fmla="*/ 230 w 230"/>
                <a:gd name="T3" fmla="*/ 129 h 166"/>
                <a:gd name="T4" fmla="*/ 207 w 230"/>
                <a:gd name="T5" fmla="*/ 166 h 166"/>
                <a:gd name="T6" fmla="*/ 0 w 230"/>
                <a:gd name="T7" fmla="*/ 38 h 166"/>
                <a:gd name="T8" fmla="*/ 23 w 230"/>
                <a:gd name="T9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166">
                  <a:moveTo>
                    <a:pt x="23" y="0"/>
                  </a:moveTo>
                  <a:lnTo>
                    <a:pt x="230" y="129"/>
                  </a:lnTo>
                  <a:lnTo>
                    <a:pt x="207" y="166"/>
                  </a:lnTo>
                  <a:lnTo>
                    <a:pt x="0" y="38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5" name="Freeform 216">
              <a:extLst>
                <a:ext uri="{FF2B5EF4-FFF2-40B4-BE49-F238E27FC236}">
                  <a16:creationId xmlns:a16="http://schemas.microsoft.com/office/drawing/2014/main" id="{8A67AF79-DC5E-4338-9B22-DEA4A774D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7400" y="2624138"/>
              <a:ext cx="122238" cy="85725"/>
            </a:xfrm>
            <a:custGeom>
              <a:avLst/>
              <a:gdLst>
                <a:gd name="T0" fmla="*/ 22 w 232"/>
                <a:gd name="T1" fmla="*/ 0 h 160"/>
                <a:gd name="T2" fmla="*/ 232 w 232"/>
                <a:gd name="T3" fmla="*/ 122 h 160"/>
                <a:gd name="T4" fmla="*/ 211 w 232"/>
                <a:gd name="T5" fmla="*/ 160 h 160"/>
                <a:gd name="T6" fmla="*/ 0 w 232"/>
                <a:gd name="T7" fmla="*/ 37 h 160"/>
                <a:gd name="T8" fmla="*/ 22 w 232"/>
                <a:gd name="T9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160">
                  <a:moveTo>
                    <a:pt x="22" y="0"/>
                  </a:moveTo>
                  <a:lnTo>
                    <a:pt x="232" y="122"/>
                  </a:lnTo>
                  <a:lnTo>
                    <a:pt x="211" y="160"/>
                  </a:lnTo>
                  <a:lnTo>
                    <a:pt x="0" y="37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6" name="Freeform 217">
              <a:extLst>
                <a:ext uri="{FF2B5EF4-FFF2-40B4-BE49-F238E27FC236}">
                  <a16:creationId xmlns:a16="http://schemas.microsoft.com/office/drawing/2014/main" id="{B8C2F384-FC89-40D7-B136-FD8D31902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175" y="2663825"/>
              <a:ext cx="123825" cy="82550"/>
            </a:xfrm>
            <a:custGeom>
              <a:avLst/>
              <a:gdLst>
                <a:gd name="T0" fmla="*/ 20 w 234"/>
                <a:gd name="T1" fmla="*/ 0 h 155"/>
                <a:gd name="T2" fmla="*/ 234 w 234"/>
                <a:gd name="T3" fmla="*/ 117 h 155"/>
                <a:gd name="T4" fmla="*/ 213 w 234"/>
                <a:gd name="T5" fmla="*/ 155 h 155"/>
                <a:gd name="T6" fmla="*/ 0 w 234"/>
                <a:gd name="T7" fmla="*/ 39 h 155"/>
                <a:gd name="T8" fmla="*/ 20 w 234"/>
                <a:gd name="T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155">
                  <a:moveTo>
                    <a:pt x="20" y="0"/>
                  </a:moveTo>
                  <a:lnTo>
                    <a:pt x="234" y="117"/>
                  </a:lnTo>
                  <a:lnTo>
                    <a:pt x="213" y="155"/>
                  </a:lnTo>
                  <a:lnTo>
                    <a:pt x="0" y="39"/>
                  </a:ln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7" name="Freeform 218">
              <a:extLst>
                <a:ext uri="{FF2B5EF4-FFF2-40B4-BE49-F238E27FC236}">
                  <a16:creationId xmlns:a16="http://schemas.microsoft.com/office/drawing/2014/main" id="{A80CAD5D-7FBA-455D-B146-A48A87EA4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2950" y="2705100"/>
              <a:ext cx="125413" cy="79375"/>
            </a:xfrm>
            <a:custGeom>
              <a:avLst/>
              <a:gdLst>
                <a:gd name="T0" fmla="*/ 20 w 236"/>
                <a:gd name="T1" fmla="*/ 0 h 150"/>
                <a:gd name="T2" fmla="*/ 236 w 236"/>
                <a:gd name="T3" fmla="*/ 112 h 150"/>
                <a:gd name="T4" fmla="*/ 217 w 236"/>
                <a:gd name="T5" fmla="*/ 150 h 150"/>
                <a:gd name="T6" fmla="*/ 0 w 236"/>
                <a:gd name="T7" fmla="*/ 40 h 150"/>
                <a:gd name="T8" fmla="*/ 20 w 236"/>
                <a:gd name="T9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6" h="150">
                  <a:moveTo>
                    <a:pt x="20" y="0"/>
                  </a:moveTo>
                  <a:lnTo>
                    <a:pt x="236" y="112"/>
                  </a:lnTo>
                  <a:lnTo>
                    <a:pt x="217" y="150"/>
                  </a:lnTo>
                  <a:lnTo>
                    <a:pt x="0" y="40"/>
                  </a:ln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8" name="Freeform 219">
              <a:extLst>
                <a:ext uri="{FF2B5EF4-FFF2-40B4-BE49-F238E27FC236}">
                  <a16:creationId xmlns:a16="http://schemas.microsoft.com/office/drawing/2014/main" id="{8E282ACB-EAD9-4C39-B4C0-2FC748C40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2313" y="2746375"/>
              <a:ext cx="125413" cy="76200"/>
            </a:xfrm>
            <a:custGeom>
              <a:avLst/>
              <a:gdLst>
                <a:gd name="T0" fmla="*/ 18 w 237"/>
                <a:gd name="T1" fmla="*/ 0 h 145"/>
                <a:gd name="T2" fmla="*/ 237 w 237"/>
                <a:gd name="T3" fmla="*/ 105 h 145"/>
                <a:gd name="T4" fmla="*/ 219 w 237"/>
                <a:gd name="T5" fmla="*/ 145 h 145"/>
                <a:gd name="T6" fmla="*/ 0 w 237"/>
                <a:gd name="T7" fmla="*/ 40 h 145"/>
                <a:gd name="T8" fmla="*/ 18 w 237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45">
                  <a:moveTo>
                    <a:pt x="18" y="0"/>
                  </a:moveTo>
                  <a:lnTo>
                    <a:pt x="237" y="105"/>
                  </a:lnTo>
                  <a:lnTo>
                    <a:pt x="219" y="145"/>
                  </a:lnTo>
                  <a:lnTo>
                    <a:pt x="0" y="4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9" name="Freeform 220">
              <a:extLst>
                <a:ext uri="{FF2B5EF4-FFF2-40B4-BE49-F238E27FC236}">
                  <a16:creationId xmlns:a16="http://schemas.microsoft.com/office/drawing/2014/main" id="{F0445B5C-8A34-41DA-B0B1-902EBC635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87650"/>
              <a:ext cx="125413" cy="73025"/>
            </a:xfrm>
            <a:custGeom>
              <a:avLst/>
              <a:gdLst>
                <a:gd name="T0" fmla="*/ 16 w 239"/>
                <a:gd name="T1" fmla="*/ 0 h 140"/>
                <a:gd name="T2" fmla="*/ 239 w 239"/>
                <a:gd name="T3" fmla="*/ 100 h 140"/>
                <a:gd name="T4" fmla="*/ 221 w 239"/>
                <a:gd name="T5" fmla="*/ 140 h 140"/>
                <a:gd name="T6" fmla="*/ 0 w 239"/>
                <a:gd name="T7" fmla="*/ 40 h 140"/>
                <a:gd name="T8" fmla="*/ 16 w 239"/>
                <a:gd name="T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40">
                  <a:moveTo>
                    <a:pt x="16" y="0"/>
                  </a:moveTo>
                  <a:lnTo>
                    <a:pt x="239" y="100"/>
                  </a:lnTo>
                  <a:lnTo>
                    <a:pt x="221" y="140"/>
                  </a:lnTo>
                  <a:lnTo>
                    <a:pt x="0" y="40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0" name="Freeform 221">
              <a:extLst>
                <a:ext uri="{FF2B5EF4-FFF2-40B4-BE49-F238E27FC236}">
                  <a16:creationId xmlns:a16="http://schemas.microsoft.com/office/drawing/2014/main" id="{FDB619C5-54FF-4186-934D-8435822FF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213" y="2828925"/>
              <a:ext cx="127000" cy="71438"/>
            </a:xfrm>
            <a:custGeom>
              <a:avLst/>
              <a:gdLst>
                <a:gd name="T0" fmla="*/ 15 w 240"/>
                <a:gd name="T1" fmla="*/ 0 h 134"/>
                <a:gd name="T2" fmla="*/ 240 w 240"/>
                <a:gd name="T3" fmla="*/ 93 h 134"/>
                <a:gd name="T4" fmla="*/ 224 w 240"/>
                <a:gd name="T5" fmla="*/ 134 h 134"/>
                <a:gd name="T6" fmla="*/ 0 w 240"/>
                <a:gd name="T7" fmla="*/ 41 h 134"/>
                <a:gd name="T8" fmla="*/ 15 w 240"/>
                <a:gd name="T9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134">
                  <a:moveTo>
                    <a:pt x="15" y="0"/>
                  </a:moveTo>
                  <a:lnTo>
                    <a:pt x="240" y="93"/>
                  </a:lnTo>
                  <a:lnTo>
                    <a:pt x="224" y="134"/>
                  </a:lnTo>
                  <a:lnTo>
                    <a:pt x="0" y="41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1" name="Freeform 222">
              <a:extLst>
                <a:ext uri="{FF2B5EF4-FFF2-40B4-BE49-F238E27FC236}">
                  <a16:creationId xmlns:a16="http://schemas.microsoft.com/office/drawing/2014/main" id="{349E6AD5-B948-40A1-B971-EF235AD17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6750" y="2871788"/>
              <a:ext cx="128588" cy="68263"/>
            </a:xfrm>
            <a:custGeom>
              <a:avLst/>
              <a:gdLst>
                <a:gd name="T0" fmla="*/ 15 w 242"/>
                <a:gd name="T1" fmla="*/ 0 h 128"/>
                <a:gd name="T2" fmla="*/ 242 w 242"/>
                <a:gd name="T3" fmla="*/ 87 h 128"/>
                <a:gd name="T4" fmla="*/ 226 w 242"/>
                <a:gd name="T5" fmla="*/ 128 h 128"/>
                <a:gd name="T6" fmla="*/ 0 w 242"/>
                <a:gd name="T7" fmla="*/ 41 h 128"/>
                <a:gd name="T8" fmla="*/ 15 w 242"/>
                <a:gd name="T9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128">
                  <a:moveTo>
                    <a:pt x="15" y="0"/>
                  </a:moveTo>
                  <a:lnTo>
                    <a:pt x="242" y="87"/>
                  </a:lnTo>
                  <a:lnTo>
                    <a:pt x="226" y="128"/>
                  </a:lnTo>
                  <a:lnTo>
                    <a:pt x="0" y="41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2" name="Freeform 223">
              <a:extLst>
                <a:ext uri="{FF2B5EF4-FFF2-40B4-BE49-F238E27FC236}">
                  <a16:creationId xmlns:a16="http://schemas.microsoft.com/office/drawing/2014/main" id="{B3FACFBD-82E1-44EA-9675-22E1164CEC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0875" y="2916238"/>
              <a:ext cx="127000" cy="63500"/>
            </a:xfrm>
            <a:custGeom>
              <a:avLst/>
              <a:gdLst>
                <a:gd name="T0" fmla="*/ 14 w 242"/>
                <a:gd name="T1" fmla="*/ 0 h 121"/>
                <a:gd name="T2" fmla="*/ 242 w 242"/>
                <a:gd name="T3" fmla="*/ 80 h 121"/>
                <a:gd name="T4" fmla="*/ 228 w 242"/>
                <a:gd name="T5" fmla="*/ 121 h 121"/>
                <a:gd name="T6" fmla="*/ 0 w 242"/>
                <a:gd name="T7" fmla="*/ 41 h 121"/>
                <a:gd name="T8" fmla="*/ 14 w 242"/>
                <a:gd name="T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121">
                  <a:moveTo>
                    <a:pt x="14" y="0"/>
                  </a:moveTo>
                  <a:lnTo>
                    <a:pt x="242" y="80"/>
                  </a:lnTo>
                  <a:lnTo>
                    <a:pt x="228" y="121"/>
                  </a:lnTo>
                  <a:lnTo>
                    <a:pt x="0" y="41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3" name="Freeform 224">
              <a:extLst>
                <a:ext uri="{FF2B5EF4-FFF2-40B4-BE49-F238E27FC236}">
                  <a16:creationId xmlns:a16="http://schemas.microsoft.com/office/drawing/2014/main" id="{D42F80BA-CEA9-43E9-A1DD-BCA390B1C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5000" y="2959100"/>
              <a:ext cx="128588" cy="61913"/>
            </a:xfrm>
            <a:custGeom>
              <a:avLst/>
              <a:gdLst>
                <a:gd name="T0" fmla="*/ 13 w 245"/>
                <a:gd name="T1" fmla="*/ 0 h 116"/>
                <a:gd name="T2" fmla="*/ 245 w 245"/>
                <a:gd name="T3" fmla="*/ 75 h 116"/>
                <a:gd name="T4" fmla="*/ 232 w 245"/>
                <a:gd name="T5" fmla="*/ 116 h 116"/>
                <a:gd name="T6" fmla="*/ 0 w 245"/>
                <a:gd name="T7" fmla="*/ 41 h 116"/>
                <a:gd name="T8" fmla="*/ 13 w 245"/>
                <a:gd name="T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16">
                  <a:moveTo>
                    <a:pt x="13" y="0"/>
                  </a:moveTo>
                  <a:lnTo>
                    <a:pt x="245" y="75"/>
                  </a:lnTo>
                  <a:lnTo>
                    <a:pt x="232" y="116"/>
                  </a:lnTo>
                  <a:lnTo>
                    <a:pt x="0" y="41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4" name="Freeform 225">
              <a:extLst>
                <a:ext uri="{FF2B5EF4-FFF2-40B4-BE49-F238E27FC236}">
                  <a16:creationId xmlns:a16="http://schemas.microsoft.com/office/drawing/2014/main" id="{2077327C-7BF0-4407-8D06-C8663C6B4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0713" y="3003550"/>
              <a:ext cx="130175" cy="57150"/>
            </a:xfrm>
            <a:custGeom>
              <a:avLst/>
              <a:gdLst>
                <a:gd name="T0" fmla="*/ 12 w 246"/>
                <a:gd name="T1" fmla="*/ 0 h 110"/>
                <a:gd name="T2" fmla="*/ 246 w 246"/>
                <a:gd name="T3" fmla="*/ 69 h 110"/>
                <a:gd name="T4" fmla="*/ 233 w 246"/>
                <a:gd name="T5" fmla="*/ 110 h 110"/>
                <a:gd name="T6" fmla="*/ 0 w 246"/>
                <a:gd name="T7" fmla="*/ 41 h 110"/>
                <a:gd name="T8" fmla="*/ 12 w 246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110">
                  <a:moveTo>
                    <a:pt x="12" y="0"/>
                  </a:moveTo>
                  <a:lnTo>
                    <a:pt x="246" y="69"/>
                  </a:lnTo>
                  <a:lnTo>
                    <a:pt x="233" y="110"/>
                  </a:lnTo>
                  <a:lnTo>
                    <a:pt x="0" y="41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5" name="Freeform 226">
              <a:extLst>
                <a:ext uri="{FF2B5EF4-FFF2-40B4-BE49-F238E27FC236}">
                  <a16:creationId xmlns:a16="http://schemas.microsoft.com/office/drawing/2014/main" id="{17850CC9-5DC5-4AFE-9C0D-D5117B03E9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8013" y="3046413"/>
              <a:ext cx="130175" cy="55563"/>
            </a:xfrm>
            <a:custGeom>
              <a:avLst/>
              <a:gdLst>
                <a:gd name="T0" fmla="*/ 12 w 246"/>
                <a:gd name="T1" fmla="*/ 0 h 105"/>
                <a:gd name="T2" fmla="*/ 246 w 246"/>
                <a:gd name="T3" fmla="*/ 63 h 105"/>
                <a:gd name="T4" fmla="*/ 235 w 246"/>
                <a:gd name="T5" fmla="*/ 105 h 105"/>
                <a:gd name="T6" fmla="*/ 0 w 246"/>
                <a:gd name="T7" fmla="*/ 43 h 105"/>
                <a:gd name="T8" fmla="*/ 12 w 246"/>
                <a:gd name="T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105">
                  <a:moveTo>
                    <a:pt x="12" y="0"/>
                  </a:moveTo>
                  <a:lnTo>
                    <a:pt x="246" y="63"/>
                  </a:lnTo>
                  <a:lnTo>
                    <a:pt x="235" y="105"/>
                  </a:lnTo>
                  <a:lnTo>
                    <a:pt x="0" y="43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6" name="Freeform 227">
              <a:extLst>
                <a:ext uri="{FF2B5EF4-FFF2-40B4-BE49-F238E27FC236}">
                  <a16:creationId xmlns:a16="http://schemas.microsoft.com/office/drawing/2014/main" id="{26BD1B09-1D5E-4D0B-9EBF-8AAB9AE8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313" y="3092450"/>
              <a:ext cx="130175" cy="52388"/>
            </a:xfrm>
            <a:custGeom>
              <a:avLst/>
              <a:gdLst>
                <a:gd name="T0" fmla="*/ 11 w 246"/>
                <a:gd name="T1" fmla="*/ 0 h 99"/>
                <a:gd name="T2" fmla="*/ 246 w 246"/>
                <a:gd name="T3" fmla="*/ 56 h 99"/>
                <a:gd name="T4" fmla="*/ 236 w 246"/>
                <a:gd name="T5" fmla="*/ 99 h 99"/>
                <a:gd name="T6" fmla="*/ 0 w 246"/>
                <a:gd name="T7" fmla="*/ 42 h 99"/>
                <a:gd name="T8" fmla="*/ 11 w 246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99">
                  <a:moveTo>
                    <a:pt x="11" y="0"/>
                  </a:moveTo>
                  <a:lnTo>
                    <a:pt x="246" y="56"/>
                  </a:lnTo>
                  <a:lnTo>
                    <a:pt x="236" y="99"/>
                  </a:lnTo>
                  <a:lnTo>
                    <a:pt x="0" y="42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7" name="Freeform 228">
              <a:extLst>
                <a:ext uri="{FF2B5EF4-FFF2-40B4-BE49-F238E27FC236}">
                  <a16:creationId xmlns:a16="http://schemas.microsoft.com/office/drawing/2014/main" id="{9F0A63AD-BB48-4F84-A7B7-7F9AC7450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5788" y="3136900"/>
              <a:ext cx="130175" cy="49213"/>
            </a:xfrm>
            <a:custGeom>
              <a:avLst/>
              <a:gdLst>
                <a:gd name="T0" fmla="*/ 9 w 246"/>
                <a:gd name="T1" fmla="*/ 0 h 94"/>
                <a:gd name="T2" fmla="*/ 246 w 246"/>
                <a:gd name="T3" fmla="*/ 50 h 94"/>
                <a:gd name="T4" fmla="*/ 238 w 246"/>
                <a:gd name="T5" fmla="*/ 94 h 94"/>
                <a:gd name="T6" fmla="*/ 0 w 246"/>
                <a:gd name="T7" fmla="*/ 43 h 94"/>
                <a:gd name="T8" fmla="*/ 9 w 246"/>
                <a:gd name="T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94">
                  <a:moveTo>
                    <a:pt x="9" y="0"/>
                  </a:moveTo>
                  <a:lnTo>
                    <a:pt x="246" y="50"/>
                  </a:lnTo>
                  <a:lnTo>
                    <a:pt x="238" y="94"/>
                  </a:lnTo>
                  <a:lnTo>
                    <a:pt x="0" y="4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8" name="Freeform 229">
              <a:extLst>
                <a:ext uri="{FF2B5EF4-FFF2-40B4-BE49-F238E27FC236}">
                  <a16:creationId xmlns:a16="http://schemas.microsoft.com/office/drawing/2014/main" id="{E370D302-0E4B-428C-A1B2-B95502E37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6263" y="3181350"/>
              <a:ext cx="130175" cy="46038"/>
            </a:xfrm>
            <a:custGeom>
              <a:avLst/>
              <a:gdLst>
                <a:gd name="T0" fmla="*/ 8 w 246"/>
                <a:gd name="T1" fmla="*/ 0 h 86"/>
                <a:gd name="T2" fmla="*/ 246 w 246"/>
                <a:gd name="T3" fmla="*/ 44 h 86"/>
                <a:gd name="T4" fmla="*/ 240 w 246"/>
                <a:gd name="T5" fmla="*/ 86 h 86"/>
                <a:gd name="T6" fmla="*/ 0 w 246"/>
                <a:gd name="T7" fmla="*/ 43 h 86"/>
                <a:gd name="T8" fmla="*/ 8 w 246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86">
                  <a:moveTo>
                    <a:pt x="8" y="0"/>
                  </a:moveTo>
                  <a:lnTo>
                    <a:pt x="246" y="44"/>
                  </a:lnTo>
                  <a:lnTo>
                    <a:pt x="240" y="86"/>
                  </a:lnTo>
                  <a:lnTo>
                    <a:pt x="0" y="43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9" name="Freeform 230">
              <a:extLst>
                <a:ext uri="{FF2B5EF4-FFF2-40B4-BE49-F238E27FC236}">
                  <a16:creationId xmlns:a16="http://schemas.microsoft.com/office/drawing/2014/main" id="{CCF554C6-4E7A-44ED-87A4-7555A355B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8325" y="3227388"/>
              <a:ext cx="130175" cy="42863"/>
            </a:xfrm>
            <a:custGeom>
              <a:avLst/>
              <a:gdLst>
                <a:gd name="T0" fmla="*/ 6 w 246"/>
                <a:gd name="T1" fmla="*/ 0 h 81"/>
                <a:gd name="T2" fmla="*/ 246 w 246"/>
                <a:gd name="T3" fmla="*/ 37 h 81"/>
                <a:gd name="T4" fmla="*/ 239 w 246"/>
                <a:gd name="T5" fmla="*/ 81 h 81"/>
                <a:gd name="T6" fmla="*/ 0 w 246"/>
                <a:gd name="T7" fmla="*/ 44 h 81"/>
                <a:gd name="T8" fmla="*/ 6 w 246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81">
                  <a:moveTo>
                    <a:pt x="6" y="0"/>
                  </a:moveTo>
                  <a:lnTo>
                    <a:pt x="246" y="37"/>
                  </a:lnTo>
                  <a:lnTo>
                    <a:pt x="239" y="81"/>
                  </a:lnTo>
                  <a:lnTo>
                    <a:pt x="0" y="44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0" name="Freeform 231">
              <a:extLst>
                <a:ext uri="{FF2B5EF4-FFF2-40B4-BE49-F238E27FC236}">
                  <a16:creationId xmlns:a16="http://schemas.microsoft.com/office/drawing/2014/main" id="{CB45F1F1-0A89-44C3-90B4-CEC8BC47E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388" y="3273425"/>
              <a:ext cx="130175" cy="38100"/>
            </a:xfrm>
            <a:custGeom>
              <a:avLst/>
              <a:gdLst>
                <a:gd name="T0" fmla="*/ 7 w 246"/>
                <a:gd name="T1" fmla="*/ 0 h 74"/>
                <a:gd name="T2" fmla="*/ 246 w 246"/>
                <a:gd name="T3" fmla="*/ 32 h 74"/>
                <a:gd name="T4" fmla="*/ 241 w 246"/>
                <a:gd name="T5" fmla="*/ 74 h 74"/>
                <a:gd name="T6" fmla="*/ 0 w 246"/>
                <a:gd name="T7" fmla="*/ 44 h 74"/>
                <a:gd name="T8" fmla="*/ 7 w 246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74">
                  <a:moveTo>
                    <a:pt x="7" y="0"/>
                  </a:moveTo>
                  <a:lnTo>
                    <a:pt x="246" y="32"/>
                  </a:lnTo>
                  <a:lnTo>
                    <a:pt x="241" y="74"/>
                  </a:lnTo>
                  <a:lnTo>
                    <a:pt x="0" y="44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1" name="Freeform 232">
              <a:extLst>
                <a:ext uri="{FF2B5EF4-FFF2-40B4-BE49-F238E27FC236}">
                  <a16:creationId xmlns:a16="http://schemas.microsoft.com/office/drawing/2014/main" id="{D5CAA696-07A5-4169-B760-CD466E609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038" y="3319463"/>
              <a:ext cx="130175" cy="34925"/>
            </a:xfrm>
            <a:custGeom>
              <a:avLst/>
              <a:gdLst>
                <a:gd name="T0" fmla="*/ 4 w 245"/>
                <a:gd name="T1" fmla="*/ 0 h 68"/>
                <a:gd name="T2" fmla="*/ 245 w 245"/>
                <a:gd name="T3" fmla="*/ 25 h 68"/>
                <a:gd name="T4" fmla="*/ 241 w 245"/>
                <a:gd name="T5" fmla="*/ 68 h 68"/>
                <a:gd name="T6" fmla="*/ 0 w 245"/>
                <a:gd name="T7" fmla="*/ 44 h 68"/>
                <a:gd name="T8" fmla="*/ 4 w 245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68">
                  <a:moveTo>
                    <a:pt x="4" y="0"/>
                  </a:moveTo>
                  <a:lnTo>
                    <a:pt x="245" y="25"/>
                  </a:lnTo>
                  <a:lnTo>
                    <a:pt x="241" y="68"/>
                  </a:lnTo>
                  <a:lnTo>
                    <a:pt x="0" y="44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2" name="Freeform 233">
              <a:extLst>
                <a:ext uri="{FF2B5EF4-FFF2-40B4-BE49-F238E27FC236}">
                  <a16:creationId xmlns:a16="http://schemas.microsoft.com/office/drawing/2014/main" id="{6E7AE037-570A-4EB0-AA6E-32AC27CD7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9275" y="3365500"/>
              <a:ext cx="130175" cy="31750"/>
            </a:xfrm>
            <a:custGeom>
              <a:avLst/>
              <a:gdLst>
                <a:gd name="T0" fmla="*/ 3 w 245"/>
                <a:gd name="T1" fmla="*/ 0 h 62"/>
                <a:gd name="T2" fmla="*/ 245 w 245"/>
                <a:gd name="T3" fmla="*/ 18 h 62"/>
                <a:gd name="T4" fmla="*/ 241 w 245"/>
                <a:gd name="T5" fmla="*/ 62 h 62"/>
                <a:gd name="T6" fmla="*/ 0 w 245"/>
                <a:gd name="T7" fmla="*/ 44 h 62"/>
                <a:gd name="T8" fmla="*/ 3 w 245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62">
                  <a:moveTo>
                    <a:pt x="3" y="0"/>
                  </a:moveTo>
                  <a:lnTo>
                    <a:pt x="245" y="18"/>
                  </a:lnTo>
                  <a:lnTo>
                    <a:pt x="241" y="62"/>
                  </a:lnTo>
                  <a:lnTo>
                    <a:pt x="0" y="44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3" name="Freeform 234">
              <a:extLst>
                <a:ext uri="{FF2B5EF4-FFF2-40B4-BE49-F238E27FC236}">
                  <a16:creationId xmlns:a16="http://schemas.microsoft.com/office/drawing/2014/main" id="{579972EE-FE3D-4BCD-8B83-E5A954FEE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6100" y="3411538"/>
              <a:ext cx="128588" cy="28575"/>
            </a:xfrm>
            <a:custGeom>
              <a:avLst/>
              <a:gdLst>
                <a:gd name="T0" fmla="*/ 2 w 244"/>
                <a:gd name="T1" fmla="*/ 0 h 55"/>
                <a:gd name="T2" fmla="*/ 244 w 244"/>
                <a:gd name="T3" fmla="*/ 11 h 55"/>
                <a:gd name="T4" fmla="*/ 242 w 244"/>
                <a:gd name="T5" fmla="*/ 55 h 55"/>
                <a:gd name="T6" fmla="*/ 0 w 244"/>
                <a:gd name="T7" fmla="*/ 43 h 55"/>
                <a:gd name="T8" fmla="*/ 2 w 244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55">
                  <a:moveTo>
                    <a:pt x="2" y="0"/>
                  </a:moveTo>
                  <a:lnTo>
                    <a:pt x="244" y="11"/>
                  </a:lnTo>
                  <a:lnTo>
                    <a:pt x="242" y="55"/>
                  </a:lnTo>
                  <a:lnTo>
                    <a:pt x="0" y="43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4" name="Freeform 235">
              <a:extLst>
                <a:ext uri="{FF2B5EF4-FFF2-40B4-BE49-F238E27FC236}">
                  <a16:creationId xmlns:a16="http://schemas.microsoft.com/office/drawing/2014/main" id="{F5E60A10-A854-489A-8E89-CA3AB81CE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4513" y="3457575"/>
              <a:ext cx="128588" cy="25400"/>
            </a:xfrm>
            <a:custGeom>
              <a:avLst/>
              <a:gdLst>
                <a:gd name="T0" fmla="*/ 0 w 243"/>
                <a:gd name="T1" fmla="*/ 0 h 48"/>
                <a:gd name="T2" fmla="*/ 243 w 243"/>
                <a:gd name="T3" fmla="*/ 6 h 48"/>
                <a:gd name="T4" fmla="*/ 242 w 243"/>
                <a:gd name="T5" fmla="*/ 48 h 48"/>
                <a:gd name="T6" fmla="*/ 0 w 243"/>
                <a:gd name="T7" fmla="*/ 43 h 48"/>
                <a:gd name="T8" fmla="*/ 0 w 243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48">
                  <a:moveTo>
                    <a:pt x="0" y="0"/>
                  </a:moveTo>
                  <a:lnTo>
                    <a:pt x="243" y="6"/>
                  </a:lnTo>
                  <a:lnTo>
                    <a:pt x="242" y="48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5" name="Freeform 236">
              <a:extLst>
                <a:ext uri="{FF2B5EF4-FFF2-40B4-BE49-F238E27FC236}">
                  <a16:creationId xmlns:a16="http://schemas.microsoft.com/office/drawing/2014/main" id="{1A6B7255-58D6-4718-9CFE-CF9A91117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925" y="3503613"/>
              <a:ext cx="127000" cy="23813"/>
            </a:xfrm>
            <a:custGeom>
              <a:avLst/>
              <a:gdLst>
                <a:gd name="T0" fmla="*/ 0 w 242"/>
                <a:gd name="T1" fmla="*/ 1 h 45"/>
                <a:gd name="T2" fmla="*/ 242 w 242"/>
                <a:gd name="T3" fmla="*/ 0 h 45"/>
                <a:gd name="T4" fmla="*/ 242 w 242"/>
                <a:gd name="T5" fmla="*/ 43 h 45"/>
                <a:gd name="T6" fmla="*/ 0 w 242"/>
                <a:gd name="T7" fmla="*/ 45 h 45"/>
                <a:gd name="T8" fmla="*/ 0 w 242"/>
                <a:gd name="T9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45">
                  <a:moveTo>
                    <a:pt x="0" y="1"/>
                  </a:moveTo>
                  <a:lnTo>
                    <a:pt x="242" y="0"/>
                  </a:lnTo>
                  <a:lnTo>
                    <a:pt x="242" y="43"/>
                  </a:lnTo>
                  <a:lnTo>
                    <a:pt x="0" y="45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6" name="Freeform 237">
              <a:extLst>
                <a:ext uri="{FF2B5EF4-FFF2-40B4-BE49-F238E27FC236}">
                  <a16:creationId xmlns:a16="http://schemas.microsoft.com/office/drawing/2014/main" id="{1E127E1C-95BC-4B99-ABCF-5360D649E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1338" y="3546475"/>
              <a:ext cx="128588" cy="26988"/>
            </a:xfrm>
            <a:custGeom>
              <a:avLst/>
              <a:gdLst>
                <a:gd name="T0" fmla="*/ 0 w 243"/>
                <a:gd name="T1" fmla="*/ 7 h 51"/>
                <a:gd name="T2" fmla="*/ 242 w 243"/>
                <a:gd name="T3" fmla="*/ 0 h 51"/>
                <a:gd name="T4" fmla="*/ 243 w 243"/>
                <a:gd name="T5" fmla="*/ 43 h 51"/>
                <a:gd name="T6" fmla="*/ 1 w 243"/>
                <a:gd name="T7" fmla="*/ 51 h 51"/>
                <a:gd name="T8" fmla="*/ 0 w 243"/>
                <a:gd name="T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51">
                  <a:moveTo>
                    <a:pt x="0" y="7"/>
                  </a:moveTo>
                  <a:lnTo>
                    <a:pt x="242" y="0"/>
                  </a:lnTo>
                  <a:lnTo>
                    <a:pt x="243" y="43"/>
                  </a:lnTo>
                  <a:lnTo>
                    <a:pt x="1" y="51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7" name="Freeform 238">
              <a:extLst>
                <a:ext uri="{FF2B5EF4-FFF2-40B4-BE49-F238E27FC236}">
                  <a16:creationId xmlns:a16="http://schemas.microsoft.com/office/drawing/2014/main" id="{CC1F9A29-F0CB-4FD7-ABD0-F8662A862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925" y="3589338"/>
              <a:ext cx="128588" cy="30163"/>
            </a:xfrm>
            <a:custGeom>
              <a:avLst/>
              <a:gdLst>
                <a:gd name="T0" fmla="*/ 0 w 245"/>
                <a:gd name="T1" fmla="*/ 14 h 56"/>
                <a:gd name="T2" fmla="*/ 242 w 245"/>
                <a:gd name="T3" fmla="*/ 0 h 56"/>
                <a:gd name="T4" fmla="*/ 245 w 245"/>
                <a:gd name="T5" fmla="*/ 42 h 56"/>
                <a:gd name="T6" fmla="*/ 3 w 245"/>
                <a:gd name="T7" fmla="*/ 56 h 56"/>
                <a:gd name="T8" fmla="*/ 0 w 245"/>
                <a:gd name="T9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56">
                  <a:moveTo>
                    <a:pt x="0" y="14"/>
                  </a:moveTo>
                  <a:lnTo>
                    <a:pt x="242" y="0"/>
                  </a:lnTo>
                  <a:lnTo>
                    <a:pt x="245" y="42"/>
                  </a:lnTo>
                  <a:lnTo>
                    <a:pt x="3" y="56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8" name="Freeform 239">
              <a:extLst>
                <a:ext uri="{FF2B5EF4-FFF2-40B4-BE49-F238E27FC236}">
                  <a16:creationId xmlns:a16="http://schemas.microsoft.com/office/drawing/2014/main" id="{F824DBCC-2224-4DD9-AC5C-401AA33D7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4513" y="3632200"/>
              <a:ext cx="130175" cy="33338"/>
            </a:xfrm>
            <a:custGeom>
              <a:avLst/>
              <a:gdLst>
                <a:gd name="T0" fmla="*/ 0 w 246"/>
                <a:gd name="T1" fmla="*/ 21 h 64"/>
                <a:gd name="T2" fmla="*/ 242 w 246"/>
                <a:gd name="T3" fmla="*/ 0 h 64"/>
                <a:gd name="T4" fmla="*/ 246 w 246"/>
                <a:gd name="T5" fmla="*/ 44 h 64"/>
                <a:gd name="T6" fmla="*/ 4 w 246"/>
                <a:gd name="T7" fmla="*/ 64 h 64"/>
                <a:gd name="T8" fmla="*/ 0 w 246"/>
                <a:gd name="T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64">
                  <a:moveTo>
                    <a:pt x="0" y="21"/>
                  </a:moveTo>
                  <a:lnTo>
                    <a:pt x="242" y="0"/>
                  </a:lnTo>
                  <a:lnTo>
                    <a:pt x="246" y="44"/>
                  </a:lnTo>
                  <a:lnTo>
                    <a:pt x="4" y="64"/>
                  </a:lnTo>
                  <a:lnTo>
                    <a:pt x="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9" name="Freeform 240">
              <a:extLst>
                <a:ext uri="{FF2B5EF4-FFF2-40B4-BE49-F238E27FC236}">
                  <a16:creationId xmlns:a16="http://schemas.microsoft.com/office/drawing/2014/main" id="{A7868332-F806-4E15-93C6-4C9EA70C9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7688" y="3675063"/>
              <a:ext cx="130175" cy="38100"/>
            </a:xfrm>
            <a:custGeom>
              <a:avLst/>
              <a:gdLst>
                <a:gd name="T0" fmla="*/ 0 w 246"/>
                <a:gd name="T1" fmla="*/ 27 h 71"/>
                <a:gd name="T2" fmla="*/ 241 w 246"/>
                <a:gd name="T3" fmla="*/ 0 h 71"/>
                <a:gd name="T4" fmla="*/ 246 w 246"/>
                <a:gd name="T5" fmla="*/ 44 h 71"/>
                <a:gd name="T6" fmla="*/ 4 w 246"/>
                <a:gd name="T7" fmla="*/ 71 h 71"/>
                <a:gd name="T8" fmla="*/ 0 w 246"/>
                <a:gd name="T9" fmla="*/ 2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71">
                  <a:moveTo>
                    <a:pt x="0" y="27"/>
                  </a:moveTo>
                  <a:lnTo>
                    <a:pt x="241" y="0"/>
                  </a:lnTo>
                  <a:lnTo>
                    <a:pt x="246" y="44"/>
                  </a:lnTo>
                  <a:lnTo>
                    <a:pt x="4" y="71"/>
                  </a:lnTo>
                  <a:lnTo>
                    <a:pt x="0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0" name="Freeform 241">
              <a:extLst>
                <a:ext uri="{FF2B5EF4-FFF2-40B4-BE49-F238E27FC236}">
                  <a16:creationId xmlns:a16="http://schemas.microsoft.com/office/drawing/2014/main" id="{92E40E1D-07E8-4C9D-BC06-A098EB9CB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0863" y="3717925"/>
              <a:ext cx="130175" cy="41275"/>
            </a:xfrm>
            <a:custGeom>
              <a:avLst/>
              <a:gdLst>
                <a:gd name="T0" fmla="*/ 0 w 246"/>
                <a:gd name="T1" fmla="*/ 33 h 77"/>
                <a:gd name="T2" fmla="*/ 241 w 246"/>
                <a:gd name="T3" fmla="*/ 0 h 77"/>
                <a:gd name="T4" fmla="*/ 246 w 246"/>
                <a:gd name="T5" fmla="*/ 43 h 77"/>
                <a:gd name="T6" fmla="*/ 5 w 246"/>
                <a:gd name="T7" fmla="*/ 77 h 77"/>
                <a:gd name="T8" fmla="*/ 0 w 246"/>
                <a:gd name="T9" fmla="*/ 3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77">
                  <a:moveTo>
                    <a:pt x="0" y="33"/>
                  </a:moveTo>
                  <a:lnTo>
                    <a:pt x="241" y="0"/>
                  </a:lnTo>
                  <a:lnTo>
                    <a:pt x="246" y="43"/>
                  </a:lnTo>
                  <a:lnTo>
                    <a:pt x="5" y="77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1" name="Freeform 242">
              <a:extLst>
                <a:ext uri="{FF2B5EF4-FFF2-40B4-BE49-F238E27FC236}">
                  <a16:creationId xmlns:a16="http://schemas.microsoft.com/office/drawing/2014/main" id="{C64D92C7-0B60-482C-8AA7-ACA447D9E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7213" y="3760788"/>
              <a:ext cx="130175" cy="44450"/>
            </a:xfrm>
            <a:custGeom>
              <a:avLst/>
              <a:gdLst>
                <a:gd name="T0" fmla="*/ 0 w 246"/>
                <a:gd name="T1" fmla="*/ 39 h 83"/>
                <a:gd name="T2" fmla="*/ 240 w 246"/>
                <a:gd name="T3" fmla="*/ 0 h 83"/>
                <a:gd name="T4" fmla="*/ 246 w 246"/>
                <a:gd name="T5" fmla="*/ 43 h 83"/>
                <a:gd name="T6" fmla="*/ 6 w 246"/>
                <a:gd name="T7" fmla="*/ 83 h 83"/>
                <a:gd name="T8" fmla="*/ 0 w 246"/>
                <a:gd name="T9" fmla="*/ 3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83">
                  <a:moveTo>
                    <a:pt x="0" y="39"/>
                  </a:moveTo>
                  <a:lnTo>
                    <a:pt x="240" y="0"/>
                  </a:lnTo>
                  <a:lnTo>
                    <a:pt x="246" y="43"/>
                  </a:lnTo>
                  <a:lnTo>
                    <a:pt x="6" y="83"/>
                  </a:lnTo>
                  <a:lnTo>
                    <a:pt x="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2" name="Freeform 243">
              <a:extLst>
                <a:ext uri="{FF2B5EF4-FFF2-40B4-BE49-F238E27FC236}">
                  <a16:creationId xmlns:a16="http://schemas.microsoft.com/office/drawing/2014/main" id="{0762F433-142B-45EB-97D5-D878FE742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3563" y="3803650"/>
              <a:ext cx="130175" cy="46038"/>
            </a:xfrm>
            <a:custGeom>
              <a:avLst/>
              <a:gdLst>
                <a:gd name="T0" fmla="*/ 0 w 246"/>
                <a:gd name="T1" fmla="*/ 46 h 89"/>
                <a:gd name="T2" fmla="*/ 237 w 246"/>
                <a:gd name="T3" fmla="*/ 0 h 89"/>
                <a:gd name="T4" fmla="*/ 246 w 246"/>
                <a:gd name="T5" fmla="*/ 43 h 89"/>
                <a:gd name="T6" fmla="*/ 8 w 246"/>
                <a:gd name="T7" fmla="*/ 89 h 89"/>
                <a:gd name="T8" fmla="*/ 0 w 246"/>
                <a:gd name="T9" fmla="*/ 4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89">
                  <a:moveTo>
                    <a:pt x="0" y="46"/>
                  </a:moveTo>
                  <a:lnTo>
                    <a:pt x="237" y="0"/>
                  </a:lnTo>
                  <a:lnTo>
                    <a:pt x="246" y="43"/>
                  </a:lnTo>
                  <a:lnTo>
                    <a:pt x="8" y="89"/>
                  </a:lnTo>
                  <a:lnTo>
                    <a:pt x="0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3" name="Freeform 244">
              <a:extLst>
                <a:ext uri="{FF2B5EF4-FFF2-40B4-BE49-F238E27FC236}">
                  <a16:creationId xmlns:a16="http://schemas.microsoft.com/office/drawing/2014/main" id="{76BBFB6A-56FD-4F34-AFC9-B766BB705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00" y="3844925"/>
              <a:ext cx="130175" cy="50800"/>
            </a:xfrm>
            <a:custGeom>
              <a:avLst/>
              <a:gdLst>
                <a:gd name="T0" fmla="*/ 0 w 246"/>
                <a:gd name="T1" fmla="*/ 52 h 96"/>
                <a:gd name="T2" fmla="*/ 237 w 246"/>
                <a:gd name="T3" fmla="*/ 0 h 96"/>
                <a:gd name="T4" fmla="*/ 246 w 246"/>
                <a:gd name="T5" fmla="*/ 43 h 96"/>
                <a:gd name="T6" fmla="*/ 9 w 246"/>
                <a:gd name="T7" fmla="*/ 96 h 96"/>
                <a:gd name="T8" fmla="*/ 0 w 246"/>
                <a:gd name="T9" fmla="*/ 5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96">
                  <a:moveTo>
                    <a:pt x="0" y="52"/>
                  </a:moveTo>
                  <a:lnTo>
                    <a:pt x="237" y="0"/>
                  </a:lnTo>
                  <a:lnTo>
                    <a:pt x="246" y="43"/>
                  </a:lnTo>
                  <a:lnTo>
                    <a:pt x="9" y="96"/>
                  </a:lnTo>
                  <a:lnTo>
                    <a:pt x="0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4" name="Freeform 245">
              <a:extLst>
                <a:ext uri="{FF2B5EF4-FFF2-40B4-BE49-F238E27FC236}">
                  <a16:creationId xmlns:a16="http://schemas.microsoft.com/office/drawing/2014/main" id="{CE6CEE6E-0708-4F5B-ADC8-9C1318697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438" y="3887788"/>
              <a:ext cx="130175" cy="53975"/>
            </a:xfrm>
            <a:custGeom>
              <a:avLst/>
              <a:gdLst>
                <a:gd name="T0" fmla="*/ 0 w 246"/>
                <a:gd name="T1" fmla="*/ 57 h 100"/>
                <a:gd name="T2" fmla="*/ 235 w 246"/>
                <a:gd name="T3" fmla="*/ 0 h 100"/>
                <a:gd name="T4" fmla="*/ 246 w 246"/>
                <a:gd name="T5" fmla="*/ 42 h 100"/>
                <a:gd name="T6" fmla="*/ 10 w 246"/>
                <a:gd name="T7" fmla="*/ 100 h 100"/>
                <a:gd name="T8" fmla="*/ 0 w 246"/>
                <a:gd name="T9" fmla="*/ 5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100">
                  <a:moveTo>
                    <a:pt x="0" y="57"/>
                  </a:moveTo>
                  <a:lnTo>
                    <a:pt x="235" y="0"/>
                  </a:lnTo>
                  <a:lnTo>
                    <a:pt x="246" y="42"/>
                  </a:lnTo>
                  <a:lnTo>
                    <a:pt x="10" y="100"/>
                  </a:lnTo>
                  <a:lnTo>
                    <a:pt x="0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5" name="Freeform 246">
              <a:extLst>
                <a:ext uri="{FF2B5EF4-FFF2-40B4-BE49-F238E27FC236}">
                  <a16:creationId xmlns:a16="http://schemas.microsoft.com/office/drawing/2014/main" id="{715B5023-7E76-4DBF-8D67-0DF110BC4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0550" y="3930650"/>
              <a:ext cx="128588" cy="55563"/>
            </a:xfrm>
            <a:custGeom>
              <a:avLst/>
              <a:gdLst>
                <a:gd name="T0" fmla="*/ 0 w 245"/>
                <a:gd name="T1" fmla="*/ 64 h 106"/>
                <a:gd name="T2" fmla="*/ 233 w 245"/>
                <a:gd name="T3" fmla="*/ 0 h 106"/>
                <a:gd name="T4" fmla="*/ 245 w 245"/>
                <a:gd name="T5" fmla="*/ 41 h 106"/>
                <a:gd name="T6" fmla="*/ 11 w 245"/>
                <a:gd name="T7" fmla="*/ 106 h 106"/>
                <a:gd name="T8" fmla="*/ 0 w 245"/>
                <a:gd name="T9" fmla="*/ 6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6">
                  <a:moveTo>
                    <a:pt x="0" y="64"/>
                  </a:moveTo>
                  <a:lnTo>
                    <a:pt x="233" y="0"/>
                  </a:lnTo>
                  <a:lnTo>
                    <a:pt x="245" y="41"/>
                  </a:lnTo>
                  <a:lnTo>
                    <a:pt x="11" y="106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6" name="Freeform 247">
              <a:extLst>
                <a:ext uri="{FF2B5EF4-FFF2-40B4-BE49-F238E27FC236}">
                  <a16:creationId xmlns:a16="http://schemas.microsoft.com/office/drawing/2014/main" id="{14203691-09A0-45B7-B679-4A116D5EF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075" y="3971925"/>
              <a:ext cx="130175" cy="58738"/>
            </a:xfrm>
            <a:custGeom>
              <a:avLst/>
              <a:gdLst>
                <a:gd name="T0" fmla="*/ 0 w 245"/>
                <a:gd name="T1" fmla="*/ 71 h 113"/>
                <a:gd name="T2" fmla="*/ 234 w 245"/>
                <a:gd name="T3" fmla="*/ 0 h 113"/>
                <a:gd name="T4" fmla="*/ 245 w 245"/>
                <a:gd name="T5" fmla="*/ 41 h 113"/>
                <a:gd name="T6" fmla="*/ 13 w 245"/>
                <a:gd name="T7" fmla="*/ 113 h 113"/>
                <a:gd name="T8" fmla="*/ 0 w 245"/>
                <a:gd name="T9" fmla="*/ 71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13">
                  <a:moveTo>
                    <a:pt x="0" y="71"/>
                  </a:moveTo>
                  <a:lnTo>
                    <a:pt x="234" y="0"/>
                  </a:lnTo>
                  <a:lnTo>
                    <a:pt x="245" y="41"/>
                  </a:lnTo>
                  <a:lnTo>
                    <a:pt x="13" y="113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7" name="Freeform 248">
              <a:extLst>
                <a:ext uri="{FF2B5EF4-FFF2-40B4-BE49-F238E27FC236}">
                  <a16:creationId xmlns:a16="http://schemas.microsoft.com/office/drawing/2014/main" id="{32381661-718F-4FAB-BD69-5457C42CF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4363" y="4013200"/>
              <a:ext cx="128588" cy="63500"/>
            </a:xfrm>
            <a:custGeom>
              <a:avLst/>
              <a:gdLst>
                <a:gd name="T0" fmla="*/ 0 w 243"/>
                <a:gd name="T1" fmla="*/ 77 h 120"/>
                <a:gd name="T2" fmla="*/ 229 w 243"/>
                <a:gd name="T3" fmla="*/ 0 h 120"/>
                <a:gd name="T4" fmla="*/ 243 w 243"/>
                <a:gd name="T5" fmla="*/ 41 h 120"/>
                <a:gd name="T6" fmla="*/ 13 w 243"/>
                <a:gd name="T7" fmla="*/ 120 h 120"/>
                <a:gd name="T8" fmla="*/ 0 w 243"/>
                <a:gd name="T9" fmla="*/ 77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20">
                  <a:moveTo>
                    <a:pt x="0" y="77"/>
                  </a:moveTo>
                  <a:lnTo>
                    <a:pt x="229" y="0"/>
                  </a:lnTo>
                  <a:lnTo>
                    <a:pt x="243" y="41"/>
                  </a:lnTo>
                  <a:lnTo>
                    <a:pt x="13" y="120"/>
                  </a:lnTo>
                  <a:lnTo>
                    <a:pt x="0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8" name="Freeform 249">
              <a:extLst>
                <a:ext uri="{FF2B5EF4-FFF2-40B4-BE49-F238E27FC236}">
                  <a16:creationId xmlns:a16="http://schemas.microsoft.com/office/drawing/2014/main" id="{74E48380-FBC7-4704-89DE-B4FBF45E8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063" y="4054475"/>
              <a:ext cx="128588" cy="65088"/>
            </a:xfrm>
            <a:custGeom>
              <a:avLst/>
              <a:gdLst>
                <a:gd name="T0" fmla="*/ 0 w 242"/>
                <a:gd name="T1" fmla="*/ 83 h 124"/>
                <a:gd name="T2" fmla="*/ 228 w 242"/>
                <a:gd name="T3" fmla="*/ 0 h 124"/>
                <a:gd name="T4" fmla="*/ 242 w 242"/>
                <a:gd name="T5" fmla="*/ 39 h 124"/>
                <a:gd name="T6" fmla="*/ 14 w 242"/>
                <a:gd name="T7" fmla="*/ 124 h 124"/>
                <a:gd name="T8" fmla="*/ 0 w 242"/>
                <a:gd name="T9" fmla="*/ 8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124">
                  <a:moveTo>
                    <a:pt x="0" y="83"/>
                  </a:moveTo>
                  <a:lnTo>
                    <a:pt x="228" y="0"/>
                  </a:lnTo>
                  <a:lnTo>
                    <a:pt x="242" y="39"/>
                  </a:lnTo>
                  <a:lnTo>
                    <a:pt x="14" y="124"/>
                  </a:lnTo>
                  <a:lnTo>
                    <a:pt x="0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9" name="Freeform 250">
              <a:extLst>
                <a:ext uri="{FF2B5EF4-FFF2-40B4-BE49-F238E27FC236}">
                  <a16:creationId xmlns:a16="http://schemas.microsoft.com/office/drawing/2014/main" id="{FB9E12C3-EDE7-4E5D-99EB-05F5E0666A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1350" y="4094163"/>
              <a:ext cx="128588" cy="69850"/>
            </a:xfrm>
            <a:custGeom>
              <a:avLst/>
              <a:gdLst>
                <a:gd name="T0" fmla="*/ 0 w 242"/>
                <a:gd name="T1" fmla="*/ 89 h 130"/>
                <a:gd name="T2" fmla="*/ 227 w 242"/>
                <a:gd name="T3" fmla="*/ 0 h 130"/>
                <a:gd name="T4" fmla="*/ 242 w 242"/>
                <a:gd name="T5" fmla="*/ 40 h 130"/>
                <a:gd name="T6" fmla="*/ 16 w 242"/>
                <a:gd name="T7" fmla="*/ 130 h 130"/>
                <a:gd name="T8" fmla="*/ 0 w 242"/>
                <a:gd name="T9" fmla="*/ 89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130">
                  <a:moveTo>
                    <a:pt x="0" y="89"/>
                  </a:moveTo>
                  <a:lnTo>
                    <a:pt x="227" y="0"/>
                  </a:lnTo>
                  <a:lnTo>
                    <a:pt x="242" y="40"/>
                  </a:lnTo>
                  <a:lnTo>
                    <a:pt x="16" y="130"/>
                  </a:lnTo>
                  <a:lnTo>
                    <a:pt x="0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0" name="Freeform 251">
              <a:extLst>
                <a:ext uri="{FF2B5EF4-FFF2-40B4-BE49-F238E27FC236}">
                  <a16:creationId xmlns:a16="http://schemas.microsoft.com/office/drawing/2014/main" id="{8871B1F3-CDFF-48C7-B6FD-876FC2D8C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7225" y="4135438"/>
              <a:ext cx="127000" cy="71438"/>
            </a:xfrm>
            <a:custGeom>
              <a:avLst/>
              <a:gdLst>
                <a:gd name="T0" fmla="*/ 0 w 241"/>
                <a:gd name="T1" fmla="*/ 96 h 136"/>
                <a:gd name="T2" fmla="*/ 224 w 241"/>
                <a:gd name="T3" fmla="*/ 0 h 136"/>
                <a:gd name="T4" fmla="*/ 241 w 241"/>
                <a:gd name="T5" fmla="*/ 40 h 136"/>
                <a:gd name="T6" fmla="*/ 16 w 241"/>
                <a:gd name="T7" fmla="*/ 136 h 136"/>
                <a:gd name="T8" fmla="*/ 0 w 241"/>
                <a:gd name="T9" fmla="*/ 9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6">
                  <a:moveTo>
                    <a:pt x="0" y="96"/>
                  </a:moveTo>
                  <a:lnTo>
                    <a:pt x="224" y="0"/>
                  </a:lnTo>
                  <a:lnTo>
                    <a:pt x="241" y="40"/>
                  </a:lnTo>
                  <a:lnTo>
                    <a:pt x="16" y="136"/>
                  </a:lnTo>
                  <a:lnTo>
                    <a:pt x="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1" name="Freeform 252">
              <a:extLst>
                <a:ext uri="{FF2B5EF4-FFF2-40B4-BE49-F238E27FC236}">
                  <a16:creationId xmlns:a16="http://schemas.microsoft.com/office/drawing/2014/main" id="{2B83D349-8583-4FF7-9E6D-E36DF0C24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4688" y="4175125"/>
              <a:ext cx="125413" cy="74613"/>
            </a:xfrm>
            <a:custGeom>
              <a:avLst/>
              <a:gdLst>
                <a:gd name="T0" fmla="*/ 0 w 239"/>
                <a:gd name="T1" fmla="*/ 101 h 141"/>
                <a:gd name="T2" fmla="*/ 221 w 239"/>
                <a:gd name="T3" fmla="*/ 0 h 141"/>
                <a:gd name="T4" fmla="*/ 239 w 239"/>
                <a:gd name="T5" fmla="*/ 39 h 141"/>
                <a:gd name="T6" fmla="*/ 18 w 239"/>
                <a:gd name="T7" fmla="*/ 141 h 141"/>
                <a:gd name="T8" fmla="*/ 0 w 239"/>
                <a:gd name="T9" fmla="*/ 10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41">
                  <a:moveTo>
                    <a:pt x="0" y="101"/>
                  </a:moveTo>
                  <a:lnTo>
                    <a:pt x="221" y="0"/>
                  </a:lnTo>
                  <a:lnTo>
                    <a:pt x="239" y="39"/>
                  </a:lnTo>
                  <a:lnTo>
                    <a:pt x="18" y="141"/>
                  </a:lnTo>
                  <a:lnTo>
                    <a:pt x="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2" name="Freeform 253">
              <a:extLst>
                <a:ext uri="{FF2B5EF4-FFF2-40B4-BE49-F238E27FC236}">
                  <a16:creationId xmlns:a16="http://schemas.microsoft.com/office/drawing/2014/main" id="{1B55040B-DFAF-4AA7-99C5-6041DA5F6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150" y="4214813"/>
              <a:ext cx="125413" cy="77788"/>
            </a:xfrm>
            <a:custGeom>
              <a:avLst/>
              <a:gdLst>
                <a:gd name="T0" fmla="*/ 0 w 237"/>
                <a:gd name="T1" fmla="*/ 108 h 147"/>
                <a:gd name="T2" fmla="*/ 218 w 237"/>
                <a:gd name="T3" fmla="*/ 0 h 147"/>
                <a:gd name="T4" fmla="*/ 237 w 237"/>
                <a:gd name="T5" fmla="*/ 40 h 147"/>
                <a:gd name="T6" fmla="*/ 18 w 237"/>
                <a:gd name="T7" fmla="*/ 147 h 147"/>
                <a:gd name="T8" fmla="*/ 0 w 237"/>
                <a:gd name="T9" fmla="*/ 108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" h="147">
                  <a:moveTo>
                    <a:pt x="0" y="108"/>
                  </a:moveTo>
                  <a:lnTo>
                    <a:pt x="218" y="0"/>
                  </a:lnTo>
                  <a:lnTo>
                    <a:pt x="237" y="40"/>
                  </a:lnTo>
                  <a:lnTo>
                    <a:pt x="18" y="147"/>
                  </a:lnTo>
                  <a:lnTo>
                    <a:pt x="0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3" name="Freeform 254">
              <a:extLst>
                <a:ext uri="{FF2B5EF4-FFF2-40B4-BE49-F238E27FC236}">
                  <a16:creationId xmlns:a16="http://schemas.microsoft.com/office/drawing/2014/main" id="{1785F064-A8A7-42CF-BEAB-CD74D8AD5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200" y="4252913"/>
              <a:ext cx="125413" cy="80963"/>
            </a:xfrm>
            <a:custGeom>
              <a:avLst/>
              <a:gdLst>
                <a:gd name="T0" fmla="*/ 0 w 236"/>
                <a:gd name="T1" fmla="*/ 113 h 152"/>
                <a:gd name="T2" fmla="*/ 215 w 236"/>
                <a:gd name="T3" fmla="*/ 0 h 152"/>
                <a:gd name="T4" fmla="*/ 236 w 236"/>
                <a:gd name="T5" fmla="*/ 39 h 152"/>
                <a:gd name="T6" fmla="*/ 19 w 236"/>
                <a:gd name="T7" fmla="*/ 152 h 152"/>
                <a:gd name="T8" fmla="*/ 0 w 236"/>
                <a:gd name="T9" fmla="*/ 11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6" h="152">
                  <a:moveTo>
                    <a:pt x="0" y="113"/>
                  </a:moveTo>
                  <a:lnTo>
                    <a:pt x="215" y="0"/>
                  </a:lnTo>
                  <a:lnTo>
                    <a:pt x="236" y="39"/>
                  </a:lnTo>
                  <a:lnTo>
                    <a:pt x="19" y="152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4" name="Freeform 255">
              <a:extLst>
                <a:ext uri="{FF2B5EF4-FFF2-40B4-BE49-F238E27FC236}">
                  <a16:creationId xmlns:a16="http://schemas.microsoft.com/office/drawing/2014/main" id="{B0D03131-1727-4F05-A2E3-7699196E3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1838" y="4292600"/>
              <a:ext cx="123825" cy="82550"/>
            </a:xfrm>
            <a:custGeom>
              <a:avLst/>
              <a:gdLst>
                <a:gd name="T0" fmla="*/ 0 w 233"/>
                <a:gd name="T1" fmla="*/ 120 h 157"/>
                <a:gd name="T2" fmla="*/ 212 w 233"/>
                <a:gd name="T3" fmla="*/ 0 h 157"/>
                <a:gd name="T4" fmla="*/ 233 w 233"/>
                <a:gd name="T5" fmla="*/ 39 h 157"/>
                <a:gd name="T6" fmla="*/ 20 w 233"/>
                <a:gd name="T7" fmla="*/ 157 h 157"/>
                <a:gd name="T8" fmla="*/ 0 w 233"/>
                <a:gd name="T9" fmla="*/ 12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157">
                  <a:moveTo>
                    <a:pt x="0" y="120"/>
                  </a:moveTo>
                  <a:lnTo>
                    <a:pt x="212" y="0"/>
                  </a:lnTo>
                  <a:lnTo>
                    <a:pt x="233" y="39"/>
                  </a:lnTo>
                  <a:lnTo>
                    <a:pt x="20" y="157"/>
                  </a:ln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5" name="Freeform 256">
              <a:extLst>
                <a:ext uri="{FF2B5EF4-FFF2-40B4-BE49-F238E27FC236}">
                  <a16:creationId xmlns:a16="http://schemas.microsoft.com/office/drawing/2014/main" id="{277EDC3F-2E2D-4DF3-93EE-526378FCA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75" y="4330700"/>
              <a:ext cx="122238" cy="85725"/>
            </a:xfrm>
            <a:custGeom>
              <a:avLst/>
              <a:gdLst>
                <a:gd name="T0" fmla="*/ 0 w 231"/>
                <a:gd name="T1" fmla="*/ 125 h 162"/>
                <a:gd name="T2" fmla="*/ 211 w 231"/>
                <a:gd name="T3" fmla="*/ 0 h 162"/>
                <a:gd name="T4" fmla="*/ 231 w 231"/>
                <a:gd name="T5" fmla="*/ 37 h 162"/>
                <a:gd name="T6" fmla="*/ 22 w 231"/>
                <a:gd name="T7" fmla="*/ 162 h 162"/>
                <a:gd name="T8" fmla="*/ 0 w 231"/>
                <a:gd name="T9" fmla="*/ 12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162">
                  <a:moveTo>
                    <a:pt x="0" y="125"/>
                  </a:moveTo>
                  <a:lnTo>
                    <a:pt x="211" y="0"/>
                  </a:lnTo>
                  <a:lnTo>
                    <a:pt x="231" y="37"/>
                  </a:lnTo>
                  <a:lnTo>
                    <a:pt x="22" y="162"/>
                  </a:lnTo>
                  <a:lnTo>
                    <a:pt x="0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6" name="Freeform 257">
              <a:extLst>
                <a:ext uri="{FF2B5EF4-FFF2-40B4-BE49-F238E27FC236}">
                  <a16:creationId xmlns:a16="http://schemas.microsoft.com/office/drawing/2014/main" id="{337A74C3-E309-4B50-87E2-1BDF03765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700" y="4367213"/>
              <a:ext cx="120650" cy="88900"/>
            </a:xfrm>
            <a:custGeom>
              <a:avLst/>
              <a:gdLst>
                <a:gd name="T0" fmla="*/ 0 w 228"/>
                <a:gd name="T1" fmla="*/ 130 h 168"/>
                <a:gd name="T2" fmla="*/ 206 w 228"/>
                <a:gd name="T3" fmla="*/ 0 h 168"/>
                <a:gd name="T4" fmla="*/ 228 w 228"/>
                <a:gd name="T5" fmla="*/ 37 h 168"/>
                <a:gd name="T6" fmla="*/ 23 w 228"/>
                <a:gd name="T7" fmla="*/ 168 h 168"/>
                <a:gd name="T8" fmla="*/ 0 w 228"/>
                <a:gd name="T9" fmla="*/ 13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168">
                  <a:moveTo>
                    <a:pt x="0" y="130"/>
                  </a:moveTo>
                  <a:lnTo>
                    <a:pt x="206" y="0"/>
                  </a:lnTo>
                  <a:lnTo>
                    <a:pt x="228" y="37"/>
                  </a:lnTo>
                  <a:lnTo>
                    <a:pt x="23" y="168"/>
                  </a:lnTo>
                  <a:lnTo>
                    <a:pt x="0" y="1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7" name="Freeform 258">
              <a:extLst>
                <a:ext uri="{FF2B5EF4-FFF2-40B4-BE49-F238E27FC236}">
                  <a16:creationId xmlns:a16="http://schemas.microsoft.com/office/drawing/2014/main" id="{685B17C2-BB30-4C5C-8752-55FD610081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513" y="4405313"/>
              <a:ext cx="119063" cy="90488"/>
            </a:xfrm>
            <a:custGeom>
              <a:avLst/>
              <a:gdLst>
                <a:gd name="T0" fmla="*/ 0 w 227"/>
                <a:gd name="T1" fmla="*/ 136 h 172"/>
                <a:gd name="T2" fmla="*/ 204 w 227"/>
                <a:gd name="T3" fmla="*/ 0 h 172"/>
                <a:gd name="T4" fmla="*/ 227 w 227"/>
                <a:gd name="T5" fmla="*/ 36 h 172"/>
                <a:gd name="T6" fmla="*/ 25 w 227"/>
                <a:gd name="T7" fmla="*/ 172 h 172"/>
                <a:gd name="T8" fmla="*/ 0 w 227"/>
                <a:gd name="T9" fmla="*/ 136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72">
                  <a:moveTo>
                    <a:pt x="0" y="136"/>
                  </a:moveTo>
                  <a:lnTo>
                    <a:pt x="204" y="0"/>
                  </a:lnTo>
                  <a:lnTo>
                    <a:pt x="227" y="36"/>
                  </a:lnTo>
                  <a:lnTo>
                    <a:pt x="25" y="172"/>
                  </a:lnTo>
                  <a:lnTo>
                    <a:pt x="0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8" name="Freeform 259">
              <a:extLst>
                <a:ext uri="{FF2B5EF4-FFF2-40B4-BE49-F238E27FC236}">
                  <a16:creationId xmlns:a16="http://schemas.microsoft.com/office/drawing/2014/main" id="{407F41AA-4C27-4373-B41E-F9B1765BB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325" y="4441825"/>
              <a:ext cx="119063" cy="92075"/>
            </a:xfrm>
            <a:custGeom>
              <a:avLst/>
              <a:gdLst>
                <a:gd name="T0" fmla="*/ 0 w 225"/>
                <a:gd name="T1" fmla="*/ 140 h 176"/>
                <a:gd name="T2" fmla="*/ 200 w 225"/>
                <a:gd name="T3" fmla="*/ 0 h 176"/>
                <a:gd name="T4" fmla="*/ 225 w 225"/>
                <a:gd name="T5" fmla="*/ 36 h 176"/>
                <a:gd name="T6" fmla="*/ 25 w 225"/>
                <a:gd name="T7" fmla="*/ 176 h 176"/>
                <a:gd name="T8" fmla="*/ 0 w 225"/>
                <a:gd name="T9" fmla="*/ 14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176">
                  <a:moveTo>
                    <a:pt x="0" y="140"/>
                  </a:moveTo>
                  <a:lnTo>
                    <a:pt x="200" y="0"/>
                  </a:lnTo>
                  <a:lnTo>
                    <a:pt x="225" y="36"/>
                  </a:lnTo>
                  <a:lnTo>
                    <a:pt x="25" y="176"/>
                  </a:lnTo>
                  <a:lnTo>
                    <a:pt x="0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9" name="Freeform 260">
              <a:extLst>
                <a:ext uri="{FF2B5EF4-FFF2-40B4-BE49-F238E27FC236}">
                  <a16:creationId xmlns:a16="http://schemas.microsoft.com/office/drawing/2014/main" id="{841606A8-E1FD-4AAB-B5C8-EDB6BBFC5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7725" y="4476750"/>
              <a:ext cx="117475" cy="96838"/>
            </a:xfrm>
            <a:custGeom>
              <a:avLst/>
              <a:gdLst>
                <a:gd name="T0" fmla="*/ 0 w 220"/>
                <a:gd name="T1" fmla="*/ 146 h 182"/>
                <a:gd name="T2" fmla="*/ 195 w 220"/>
                <a:gd name="T3" fmla="*/ 0 h 182"/>
                <a:gd name="T4" fmla="*/ 220 w 220"/>
                <a:gd name="T5" fmla="*/ 36 h 182"/>
                <a:gd name="T6" fmla="*/ 24 w 220"/>
                <a:gd name="T7" fmla="*/ 182 h 182"/>
                <a:gd name="T8" fmla="*/ 0 w 220"/>
                <a:gd name="T9" fmla="*/ 146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182">
                  <a:moveTo>
                    <a:pt x="0" y="146"/>
                  </a:moveTo>
                  <a:lnTo>
                    <a:pt x="195" y="0"/>
                  </a:lnTo>
                  <a:lnTo>
                    <a:pt x="220" y="36"/>
                  </a:lnTo>
                  <a:lnTo>
                    <a:pt x="24" y="182"/>
                  </a:lnTo>
                  <a:lnTo>
                    <a:pt x="0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0" name="Freeform 261">
              <a:extLst>
                <a:ext uri="{FF2B5EF4-FFF2-40B4-BE49-F238E27FC236}">
                  <a16:creationId xmlns:a16="http://schemas.microsoft.com/office/drawing/2014/main" id="{84C9BC91-A836-42AB-88A3-09B789B64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4713" y="4511675"/>
              <a:ext cx="115888" cy="98425"/>
            </a:xfrm>
            <a:custGeom>
              <a:avLst/>
              <a:gdLst>
                <a:gd name="T0" fmla="*/ 0 w 218"/>
                <a:gd name="T1" fmla="*/ 151 h 186"/>
                <a:gd name="T2" fmla="*/ 191 w 218"/>
                <a:gd name="T3" fmla="*/ 0 h 186"/>
                <a:gd name="T4" fmla="*/ 218 w 218"/>
                <a:gd name="T5" fmla="*/ 34 h 186"/>
                <a:gd name="T6" fmla="*/ 26 w 218"/>
                <a:gd name="T7" fmla="*/ 186 h 186"/>
                <a:gd name="T8" fmla="*/ 0 w 218"/>
                <a:gd name="T9" fmla="*/ 15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186">
                  <a:moveTo>
                    <a:pt x="0" y="151"/>
                  </a:moveTo>
                  <a:lnTo>
                    <a:pt x="191" y="0"/>
                  </a:lnTo>
                  <a:lnTo>
                    <a:pt x="218" y="34"/>
                  </a:lnTo>
                  <a:lnTo>
                    <a:pt x="26" y="186"/>
                  </a:lnTo>
                  <a:lnTo>
                    <a:pt x="0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1" name="Freeform 262">
              <a:extLst>
                <a:ext uri="{FF2B5EF4-FFF2-40B4-BE49-F238E27FC236}">
                  <a16:creationId xmlns:a16="http://schemas.microsoft.com/office/drawing/2014/main" id="{2F3B631C-17D6-4A60-9790-BB0F608F4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1700" y="4546600"/>
              <a:ext cx="112713" cy="100013"/>
            </a:xfrm>
            <a:custGeom>
              <a:avLst/>
              <a:gdLst>
                <a:gd name="T0" fmla="*/ 0 w 214"/>
                <a:gd name="T1" fmla="*/ 156 h 190"/>
                <a:gd name="T2" fmla="*/ 187 w 214"/>
                <a:gd name="T3" fmla="*/ 0 h 190"/>
                <a:gd name="T4" fmla="*/ 214 w 214"/>
                <a:gd name="T5" fmla="*/ 33 h 190"/>
                <a:gd name="T6" fmla="*/ 27 w 214"/>
                <a:gd name="T7" fmla="*/ 190 h 190"/>
                <a:gd name="T8" fmla="*/ 0 w 214"/>
                <a:gd name="T9" fmla="*/ 1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190">
                  <a:moveTo>
                    <a:pt x="0" y="156"/>
                  </a:moveTo>
                  <a:lnTo>
                    <a:pt x="187" y="0"/>
                  </a:lnTo>
                  <a:lnTo>
                    <a:pt x="214" y="33"/>
                  </a:lnTo>
                  <a:lnTo>
                    <a:pt x="27" y="190"/>
                  </a:lnTo>
                  <a:lnTo>
                    <a:pt x="0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2" name="Freeform 69">
              <a:extLst>
                <a:ext uri="{FF2B5EF4-FFF2-40B4-BE49-F238E27FC236}">
                  <a16:creationId xmlns:a16="http://schemas.microsoft.com/office/drawing/2014/main" id="{2E295C29-D25B-4733-A2BF-EF59D9C62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3838" y="5011738"/>
              <a:ext cx="74613" cy="127000"/>
            </a:xfrm>
            <a:custGeom>
              <a:avLst/>
              <a:gdLst>
                <a:gd name="T0" fmla="*/ 0 w 142"/>
                <a:gd name="T1" fmla="*/ 223 h 241"/>
                <a:gd name="T2" fmla="*/ 103 w 142"/>
                <a:gd name="T3" fmla="*/ 0 h 241"/>
                <a:gd name="T4" fmla="*/ 142 w 142"/>
                <a:gd name="T5" fmla="*/ 18 h 241"/>
                <a:gd name="T6" fmla="*/ 38 w 142"/>
                <a:gd name="T7" fmla="*/ 241 h 241"/>
                <a:gd name="T8" fmla="*/ 0 w 142"/>
                <a:gd name="T9" fmla="*/ 223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241">
                  <a:moveTo>
                    <a:pt x="0" y="223"/>
                  </a:moveTo>
                  <a:lnTo>
                    <a:pt x="103" y="0"/>
                  </a:lnTo>
                  <a:lnTo>
                    <a:pt x="142" y="18"/>
                  </a:lnTo>
                  <a:lnTo>
                    <a:pt x="38" y="241"/>
                  </a:lnTo>
                  <a:lnTo>
                    <a:pt x="0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3" name="Freeform 70">
              <a:extLst>
                <a:ext uri="{FF2B5EF4-FFF2-40B4-BE49-F238E27FC236}">
                  <a16:creationId xmlns:a16="http://schemas.microsoft.com/office/drawing/2014/main" id="{ECC77B1B-E40D-4281-8C25-2E50565AA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3526" y="5030788"/>
              <a:ext cx="73025" cy="128588"/>
            </a:xfrm>
            <a:custGeom>
              <a:avLst/>
              <a:gdLst>
                <a:gd name="T0" fmla="*/ 0 w 137"/>
                <a:gd name="T1" fmla="*/ 226 h 244"/>
                <a:gd name="T2" fmla="*/ 97 w 137"/>
                <a:gd name="T3" fmla="*/ 0 h 244"/>
                <a:gd name="T4" fmla="*/ 137 w 137"/>
                <a:gd name="T5" fmla="*/ 17 h 244"/>
                <a:gd name="T6" fmla="*/ 39 w 137"/>
                <a:gd name="T7" fmla="*/ 244 h 244"/>
                <a:gd name="T8" fmla="*/ 0 w 137"/>
                <a:gd name="T9" fmla="*/ 226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244">
                  <a:moveTo>
                    <a:pt x="0" y="226"/>
                  </a:moveTo>
                  <a:lnTo>
                    <a:pt x="97" y="0"/>
                  </a:lnTo>
                  <a:lnTo>
                    <a:pt x="137" y="17"/>
                  </a:lnTo>
                  <a:lnTo>
                    <a:pt x="39" y="244"/>
                  </a:lnTo>
                  <a:lnTo>
                    <a:pt x="0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4" name="Freeform 71">
              <a:extLst>
                <a:ext uri="{FF2B5EF4-FFF2-40B4-BE49-F238E27FC236}">
                  <a16:creationId xmlns:a16="http://schemas.microsoft.com/office/drawing/2014/main" id="{2C0F5880-E81C-4F3A-B6B3-B7BCD6F8C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4801" y="5048251"/>
              <a:ext cx="69850" cy="130175"/>
            </a:xfrm>
            <a:custGeom>
              <a:avLst/>
              <a:gdLst>
                <a:gd name="T0" fmla="*/ 0 w 132"/>
                <a:gd name="T1" fmla="*/ 230 h 245"/>
                <a:gd name="T2" fmla="*/ 92 w 132"/>
                <a:gd name="T3" fmla="*/ 0 h 245"/>
                <a:gd name="T4" fmla="*/ 132 w 132"/>
                <a:gd name="T5" fmla="*/ 17 h 245"/>
                <a:gd name="T6" fmla="*/ 39 w 132"/>
                <a:gd name="T7" fmla="*/ 245 h 245"/>
                <a:gd name="T8" fmla="*/ 0 w 132"/>
                <a:gd name="T9" fmla="*/ 23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245">
                  <a:moveTo>
                    <a:pt x="0" y="230"/>
                  </a:moveTo>
                  <a:lnTo>
                    <a:pt x="92" y="0"/>
                  </a:lnTo>
                  <a:lnTo>
                    <a:pt x="132" y="17"/>
                  </a:lnTo>
                  <a:lnTo>
                    <a:pt x="39" y="245"/>
                  </a:lnTo>
                  <a:lnTo>
                    <a:pt x="0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5" name="Freeform 72">
              <a:extLst>
                <a:ext uri="{FF2B5EF4-FFF2-40B4-BE49-F238E27FC236}">
                  <a16:creationId xmlns:a16="http://schemas.microsoft.com/office/drawing/2014/main" id="{20779CE1-6FE4-4308-A6B3-0C1B2FEE7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7663" y="5065713"/>
              <a:ext cx="66675" cy="130175"/>
            </a:xfrm>
            <a:custGeom>
              <a:avLst/>
              <a:gdLst>
                <a:gd name="T0" fmla="*/ 0 w 126"/>
                <a:gd name="T1" fmla="*/ 230 h 246"/>
                <a:gd name="T2" fmla="*/ 86 w 126"/>
                <a:gd name="T3" fmla="*/ 0 h 246"/>
                <a:gd name="T4" fmla="*/ 126 w 126"/>
                <a:gd name="T5" fmla="*/ 15 h 246"/>
                <a:gd name="T6" fmla="*/ 40 w 126"/>
                <a:gd name="T7" fmla="*/ 246 h 246"/>
                <a:gd name="T8" fmla="*/ 0 w 126"/>
                <a:gd name="T9" fmla="*/ 23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246">
                  <a:moveTo>
                    <a:pt x="0" y="230"/>
                  </a:moveTo>
                  <a:lnTo>
                    <a:pt x="86" y="0"/>
                  </a:lnTo>
                  <a:lnTo>
                    <a:pt x="126" y="15"/>
                  </a:lnTo>
                  <a:lnTo>
                    <a:pt x="40" y="246"/>
                  </a:lnTo>
                  <a:lnTo>
                    <a:pt x="0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6" name="Freeform 73">
              <a:extLst>
                <a:ext uri="{FF2B5EF4-FFF2-40B4-BE49-F238E27FC236}">
                  <a16:creationId xmlns:a16="http://schemas.microsoft.com/office/drawing/2014/main" id="{B411E414-B397-4606-8A9E-4E9D0C7F3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0526" y="5081588"/>
              <a:ext cx="61913" cy="131763"/>
            </a:xfrm>
            <a:custGeom>
              <a:avLst/>
              <a:gdLst>
                <a:gd name="T0" fmla="*/ 0 w 119"/>
                <a:gd name="T1" fmla="*/ 234 h 248"/>
                <a:gd name="T2" fmla="*/ 79 w 119"/>
                <a:gd name="T3" fmla="*/ 0 h 248"/>
                <a:gd name="T4" fmla="*/ 119 w 119"/>
                <a:gd name="T5" fmla="*/ 14 h 248"/>
                <a:gd name="T6" fmla="*/ 40 w 119"/>
                <a:gd name="T7" fmla="*/ 248 h 248"/>
                <a:gd name="T8" fmla="*/ 0 w 119"/>
                <a:gd name="T9" fmla="*/ 23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248">
                  <a:moveTo>
                    <a:pt x="0" y="234"/>
                  </a:moveTo>
                  <a:lnTo>
                    <a:pt x="79" y="0"/>
                  </a:lnTo>
                  <a:lnTo>
                    <a:pt x="119" y="14"/>
                  </a:lnTo>
                  <a:lnTo>
                    <a:pt x="40" y="248"/>
                  </a:lnTo>
                  <a:lnTo>
                    <a:pt x="0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7" name="Freeform 74">
              <a:extLst>
                <a:ext uri="{FF2B5EF4-FFF2-40B4-BE49-F238E27FC236}">
                  <a16:creationId xmlns:a16="http://schemas.microsoft.com/office/drawing/2014/main" id="{C0370ABF-34F8-4E5F-8FC4-B42F5F5CB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3388" y="5095876"/>
              <a:ext cx="60325" cy="131763"/>
            </a:xfrm>
            <a:custGeom>
              <a:avLst/>
              <a:gdLst>
                <a:gd name="T0" fmla="*/ 0 w 114"/>
                <a:gd name="T1" fmla="*/ 236 h 249"/>
                <a:gd name="T2" fmla="*/ 73 w 114"/>
                <a:gd name="T3" fmla="*/ 0 h 249"/>
                <a:gd name="T4" fmla="*/ 114 w 114"/>
                <a:gd name="T5" fmla="*/ 15 h 249"/>
                <a:gd name="T6" fmla="*/ 39 w 114"/>
                <a:gd name="T7" fmla="*/ 249 h 249"/>
                <a:gd name="T8" fmla="*/ 0 w 114"/>
                <a:gd name="T9" fmla="*/ 23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249">
                  <a:moveTo>
                    <a:pt x="0" y="236"/>
                  </a:moveTo>
                  <a:lnTo>
                    <a:pt x="73" y="0"/>
                  </a:lnTo>
                  <a:lnTo>
                    <a:pt x="114" y="15"/>
                  </a:lnTo>
                  <a:lnTo>
                    <a:pt x="39" y="249"/>
                  </a:lnTo>
                  <a:lnTo>
                    <a:pt x="0" y="2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8" name="Freeform 75">
              <a:extLst>
                <a:ext uri="{FF2B5EF4-FFF2-40B4-BE49-F238E27FC236}">
                  <a16:creationId xmlns:a16="http://schemas.microsoft.com/office/drawing/2014/main" id="{4DA58DCC-9E94-454D-BD59-06FEB6E26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5110163"/>
              <a:ext cx="58738" cy="131763"/>
            </a:xfrm>
            <a:custGeom>
              <a:avLst/>
              <a:gdLst>
                <a:gd name="T0" fmla="*/ 0 w 109"/>
                <a:gd name="T1" fmla="*/ 237 h 249"/>
                <a:gd name="T2" fmla="*/ 68 w 109"/>
                <a:gd name="T3" fmla="*/ 0 h 249"/>
                <a:gd name="T4" fmla="*/ 109 w 109"/>
                <a:gd name="T5" fmla="*/ 12 h 249"/>
                <a:gd name="T6" fmla="*/ 41 w 109"/>
                <a:gd name="T7" fmla="*/ 249 h 249"/>
                <a:gd name="T8" fmla="*/ 0 w 109"/>
                <a:gd name="T9" fmla="*/ 23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249">
                  <a:moveTo>
                    <a:pt x="0" y="237"/>
                  </a:moveTo>
                  <a:lnTo>
                    <a:pt x="68" y="0"/>
                  </a:lnTo>
                  <a:lnTo>
                    <a:pt x="109" y="12"/>
                  </a:lnTo>
                  <a:lnTo>
                    <a:pt x="41" y="249"/>
                  </a:lnTo>
                  <a:lnTo>
                    <a:pt x="0" y="2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9" name="Freeform 76">
              <a:extLst>
                <a:ext uri="{FF2B5EF4-FFF2-40B4-BE49-F238E27FC236}">
                  <a16:creationId xmlns:a16="http://schemas.microsoft.com/office/drawing/2014/main" id="{74324DD5-1688-4E04-B4AE-D3848F0E0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9113" y="5124451"/>
              <a:ext cx="53975" cy="131763"/>
            </a:xfrm>
            <a:custGeom>
              <a:avLst/>
              <a:gdLst>
                <a:gd name="T0" fmla="*/ 0 w 102"/>
                <a:gd name="T1" fmla="*/ 238 h 250"/>
                <a:gd name="T2" fmla="*/ 61 w 102"/>
                <a:gd name="T3" fmla="*/ 0 h 250"/>
                <a:gd name="T4" fmla="*/ 102 w 102"/>
                <a:gd name="T5" fmla="*/ 10 h 250"/>
                <a:gd name="T6" fmla="*/ 41 w 102"/>
                <a:gd name="T7" fmla="*/ 250 h 250"/>
                <a:gd name="T8" fmla="*/ 0 w 102"/>
                <a:gd name="T9" fmla="*/ 238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250">
                  <a:moveTo>
                    <a:pt x="0" y="238"/>
                  </a:moveTo>
                  <a:lnTo>
                    <a:pt x="61" y="0"/>
                  </a:lnTo>
                  <a:lnTo>
                    <a:pt x="102" y="10"/>
                  </a:lnTo>
                  <a:lnTo>
                    <a:pt x="41" y="250"/>
                  </a:lnTo>
                  <a:lnTo>
                    <a:pt x="0" y="2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0" name="Freeform 77">
              <a:extLst>
                <a:ext uri="{FF2B5EF4-FFF2-40B4-BE49-F238E27FC236}">
                  <a16:creationId xmlns:a16="http://schemas.microsoft.com/office/drawing/2014/main" id="{FA339B51-4AC9-4543-900E-1463B106C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3563" y="5135563"/>
              <a:ext cx="50800" cy="131763"/>
            </a:xfrm>
            <a:custGeom>
              <a:avLst/>
              <a:gdLst>
                <a:gd name="T0" fmla="*/ 0 w 97"/>
                <a:gd name="T1" fmla="*/ 239 h 249"/>
                <a:gd name="T2" fmla="*/ 56 w 97"/>
                <a:gd name="T3" fmla="*/ 0 h 249"/>
                <a:gd name="T4" fmla="*/ 97 w 97"/>
                <a:gd name="T5" fmla="*/ 10 h 249"/>
                <a:gd name="T6" fmla="*/ 42 w 97"/>
                <a:gd name="T7" fmla="*/ 249 h 249"/>
                <a:gd name="T8" fmla="*/ 0 w 97"/>
                <a:gd name="T9" fmla="*/ 23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249">
                  <a:moveTo>
                    <a:pt x="0" y="239"/>
                  </a:moveTo>
                  <a:lnTo>
                    <a:pt x="56" y="0"/>
                  </a:lnTo>
                  <a:lnTo>
                    <a:pt x="97" y="10"/>
                  </a:lnTo>
                  <a:lnTo>
                    <a:pt x="42" y="249"/>
                  </a:lnTo>
                  <a:lnTo>
                    <a:pt x="0" y="2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1" name="Freeform 78">
              <a:extLst>
                <a:ext uri="{FF2B5EF4-FFF2-40B4-BE49-F238E27FC236}">
                  <a16:creationId xmlns:a16="http://schemas.microsoft.com/office/drawing/2014/main" id="{C98F48DB-2DC4-49BE-BF5F-F3F6D7C84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8013" y="5146676"/>
              <a:ext cx="47625" cy="131763"/>
            </a:xfrm>
            <a:custGeom>
              <a:avLst/>
              <a:gdLst>
                <a:gd name="T0" fmla="*/ 0 w 91"/>
                <a:gd name="T1" fmla="*/ 241 h 250"/>
                <a:gd name="T2" fmla="*/ 49 w 91"/>
                <a:gd name="T3" fmla="*/ 0 h 250"/>
                <a:gd name="T4" fmla="*/ 91 w 91"/>
                <a:gd name="T5" fmla="*/ 9 h 250"/>
                <a:gd name="T6" fmla="*/ 41 w 91"/>
                <a:gd name="T7" fmla="*/ 250 h 250"/>
                <a:gd name="T8" fmla="*/ 0 w 91"/>
                <a:gd name="T9" fmla="*/ 24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250">
                  <a:moveTo>
                    <a:pt x="0" y="241"/>
                  </a:moveTo>
                  <a:lnTo>
                    <a:pt x="49" y="0"/>
                  </a:lnTo>
                  <a:lnTo>
                    <a:pt x="91" y="9"/>
                  </a:lnTo>
                  <a:lnTo>
                    <a:pt x="41" y="250"/>
                  </a:lnTo>
                  <a:lnTo>
                    <a:pt x="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2" name="Freeform 79">
              <a:extLst>
                <a:ext uri="{FF2B5EF4-FFF2-40B4-BE49-F238E27FC236}">
                  <a16:creationId xmlns:a16="http://schemas.microsoft.com/office/drawing/2014/main" id="{19827438-4550-4F78-AB5D-D92E42936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0876" y="5156201"/>
              <a:ext cx="46038" cy="131763"/>
            </a:xfrm>
            <a:custGeom>
              <a:avLst/>
              <a:gdLst>
                <a:gd name="T0" fmla="*/ 0 w 86"/>
                <a:gd name="T1" fmla="*/ 242 h 250"/>
                <a:gd name="T2" fmla="*/ 44 w 86"/>
                <a:gd name="T3" fmla="*/ 0 h 250"/>
                <a:gd name="T4" fmla="*/ 86 w 86"/>
                <a:gd name="T5" fmla="*/ 8 h 250"/>
                <a:gd name="T6" fmla="*/ 43 w 86"/>
                <a:gd name="T7" fmla="*/ 250 h 250"/>
                <a:gd name="T8" fmla="*/ 0 w 86"/>
                <a:gd name="T9" fmla="*/ 242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250">
                  <a:moveTo>
                    <a:pt x="0" y="242"/>
                  </a:moveTo>
                  <a:lnTo>
                    <a:pt x="44" y="0"/>
                  </a:lnTo>
                  <a:lnTo>
                    <a:pt x="86" y="8"/>
                  </a:lnTo>
                  <a:lnTo>
                    <a:pt x="43" y="250"/>
                  </a:lnTo>
                  <a:lnTo>
                    <a:pt x="0" y="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3" name="Freeform 80">
              <a:extLst>
                <a:ext uri="{FF2B5EF4-FFF2-40B4-BE49-F238E27FC236}">
                  <a16:creationId xmlns:a16="http://schemas.microsoft.com/office/drawing/2014/main" id="{82454FC2-EB1A-4397-A200-7ACD88F94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6913" y="5164138"/>
              <a:ext cx="41275" cy="133350"/>
            </a:xfrm>
            <a:custGeom>
              <a:avLst/>
              <a:gdLst>
                <a:gd name="T0" fmla="*/ 0 w 79"/>
                <a:gd name="T1" fmla="*/ 243 h 250"/>
                <a:gd name="T2" fmla="*/ 37 w 79"/>
                <a:gd name="T3" fmla="*/ 0 h 250"/>
                <a:gd name="T4" fmla="*/ 79 w 79"/>
                <a:gd name="T5" fmla="*/ 6 h 250"/>
                <a:gd name="T6" fmla="*/ 42 w 79"/>
                <a:gd name="T7" fmla="*/ 250 h 250"/>
                <a:gd name="T8" fmla="*/ 0 w 79"/>
                <a:gd name="T9" fmla="*/ 243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250">
                  <a:moveTo>
                    <a:pt x="0" y="243"/>
                  </a:moveTo>
                  <a:lnTo>
                    <a:pt x="37" y="0"/>
                  </a:lnTo>
                  <a:lnTo>
                    <a:pt x="79" y="6"/>
                  </a:lnTo>
                  <a:lnTo>
                    <a:pt x="42" y="250"/>
                  </a:lnTo>
                  <a:lnTo>
                    <a:pt x="0" y="2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4" name="Freeform 81">
              <a:extLst>
                <a:ext uri="{FF2B5EF4-FFF2-40B4-BE49-F238E27FC236}">
                  <a16:creationId xmlns:a16="http://schemas.microsoft.com/office/drawing/2014/main" id="{3F9F105D-6E48-433E-AEC7-4BED1592A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1363" y="5170488"/>
              <a:ext cx="38100" cy="133350"/>
            </a:xfrm>
            <a:custGeom>
              <a:avLst/>
              <a:gdLst>
                <a:gd name="T0" fmla="*/ 0 w 72"/>
                <a:gd name="T1" fmla="*/ 245 h 252"/>
                <a:gd name="T2" fmla="*/ 29 w 72"/>
                <a:gd name="T3" fmla="*/ 0 h 252"/>
                <a:gd name="T4" fmla="*/ 72 w 72"/>
                <a:gd name="T5" fmla="*/ 7 h 252"/>
                <a:gd name="T6" fmla="*/ 42 w 72"/>
                <a:gd name="T7" fmla="*/ 252 h 252"/>
                <a:gd name="T8" fmla="*/ 0 w 72"/>
                <a:gd name="T9" fmla="*/ 245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252">
                  <a:moveTo>
                    <a:pt x="0" y="245"/>
                  </a:moveTo>
                  <a:lnTo>
                    <a:pt x="29" y="0"/>
                  </a:lnTo>
                  <a:lnTo>
                    <a:pt x="72" y="7"/>
                  </a:lnTo>
                  <a:lnTo>
                    <a:pt x="42" y="252"/>
                  </a:lnTo>
                  <a:lnTo>
                    <a:pt x="0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5" name="Freeform 82">
              <a:extLst>
                <a:ext uri="{FF2B5EF4-FFF2-40B4-BE49-F238E27FC236}">
                  <a16:creationId xmlns:a16="http://schemas.microsoft.com/office/drawing/2014/main" id="{47340448-8B36-41BB-8F81-26F324352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5813" y="5178426"/>
              <a:ext cx="36513" cy="131763"/>
            </a:xfrm>
            <a:custGeom>
              <a:avLst/>
              <a:gdLst>
                <a:gd name="T0" fmla="*/ 0 w 67"/>
                <a:gd name="T1" fmla="*/ 245 h 250"/>
                <a:gd name="T2" fmla="*/ 25 w 67"/>
                <a:gd name="T3" fmla="*/ 0 h 250"/>
                <a:gd name="T4" fmla="*/ 67 w 67"/>
                <a:gd name="T5" fmla="*/ 4 h 250"/>
                <a:gd name="T6" fmla="*/ 43 w 67"/>
                <a:gd name="T7" fmla="*/ 250 h 250"/>
                <a:gd name="T8" fmla="*/ 0 w 67"/>
                <a:gd name="T9" fmla="*/ 24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50">
                  <a:moveTo>
                    <a:pt x="0" y="245"/>
                  </a:moveTo>
                  <a:lnTo>
                    <a:pt x="25" y="0"/>
                  </a:lnTo>
                  <a:lnTo>
                    <a:pt x="67" y="4"/>
                  </a:lnTo>
                  <a:lnTo>
                    <a:pt x="43" y="250"/>
                  </a:lnTo>
                  <a:lnTo>
                    <a:pt x="0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6" name="Freeform 263">
              <a:extLst>
                <a:ext uri="{FF2B5EF4-FFF2-40B4-BE49-F238E27FC236}">
                  <a16:creationId xmlns:a16="http://schemas.microsoft.com/office/drawing/2014/main" id="{5982B7B6-FBF4-4A63-BB80-B3A740B5C6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3838" y="5011738"/>
              <a:ext cx="74613" cy="127000"/>
            </a:xfrm>
            <a:custGeom>
              <a:avLst/>
              <a:gdLst>
                <a:gd name="T0" fmla="*/ 0 w 142"/>
                <a:gd name="T1" fmla="*/ 223 h 241"/>
                <a:gd name="T2" fmla="*/ 103 w 142"/>
                <a:gd name="T3" fmla="*/ 0 h 241"/>
                <a:gd name="T4" fmla="*/ 142 w 142"/>
                <a:gd name="T5" fmla="*/ 18 h 241"/>
                <a:gd name="T6" fmla="*/ 38 w 142"/>
                <a:gd name="T7" fmla="*/ 241 h 241"/>
                <a:gd name="T8" fmla="*/ 0 w 142"/>
                <a:gd name="T9" fmla="*/ 223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241">
                  <a:moveTo>
                    <a:pt x="0" y="223"/>
                  </a:moveTo>
                  <a:lnTo>
                    <a:pt x="103" y="0"/>
                  </a:lnTo>
                  <a:lnTo>
                    <a:pt x="142" y="18"/>
                  </a:lnTo>
                  <a:lnTo>
                    <a:pt x="38" y="241"/>
                  </a:lnTo>
                  <a:lnTo>
                    <a:pt x="0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7" name="Freeform 264">
              <a:extLst>
                <a:ext uri="{FF2B5EF4-FFF2-40B4-BE49-F238E27FC236}">
                  <a16:creationId xmlns:a16="http://schemas.microsoft.com/office/drawing/2014/main" id="{08996543-BE47-400E-9295-CE75A7820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3525" y="5030788"/>
              <a:ext cx="73025" cy="128588"/>
            </a:xfrm>
            <a:custGeom>
              <a:avLst/>
              <a:gdLst>
                <a:gd name="T0" fmla="*/ 0 w 137"/>
                <a:gd name="T1" fmla="*/ 226 h 244"/>
                <a:gd name="T2" fmla="*/ 97 w 137"/>
                <a:gd name="T3" fmla="*/ 0 h 244"/>
                <a:gd name="T4" fmla="*/ 137 w 137"/>
                <a:gd name="T5" fmla="*/ 17 h 244"/>
                <a:gd name="T6" fmla="*/ 39 w 137"/>
                <a:gd name="T7" fmla="*/ 244 h 244"/>
                <a:gd name="T8" fmla="*/ 0 w 137"/>
                <a:gd name="T9" fmla="*/ 226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244">
                  <a:moveTo>
                    <a:pt x="0" y="226"/>
                  </a:moveTo>
                  <a:lnTo>
                    <a:pt x="97" y="0"/>
                  </a:lnTo>
                  <a:lnTo>
                    <a:pt x="137" y="17"/>
                  </a:lnTo>
                  <a:lnTo>
                    <a:pt x="39" y="244"/>
                  </a:lnTo>
                  <a:lnTo>
                    <a:pt x="0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8" name="Freeform 265">
              <a:extLst>
                <a:ext uri="{FF2B5EF4-FFF2-40B4-BE49-F238E27FC236}">
                  <a16:creationId xmlns:a16="http://schemas.microsoft.com/office/drawing/2014/main" id="{8AFB5F71-8FE2-478A-9C05-8A8E00FCA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4800" y="5048250"/>
              <a:ext cx="69850" cy="130175"/>
            </a:xfrm>
            <a:custGeom>
              <a:avLst/>
              <a:gdLst>
                <a:gd name="T0" fmla="*/ 0 w 132"/>
                <a:gd name="T1" fmla="*/ 230 h 245"/>
                <a:gd name="T2" fmla="*/ 92 w 132"/>
                <a:gd name="T3" fmla="*/ 0 h 245"/>
                <a:gd name="T4" fmla="*/ 132 w 132"/>
                <a:gd name="T5" fmla="*/ 17 h 245"/>
                <a:gd name="T6" fmla="*/ 39 w 132"/>
                <a:gd name="T7" fmla="*/ 245 h 245"/>
                <a:gd name="T8" fmla="*/ 0 w 132"/>
                <a:gd name="T9" fmla="*/ 23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245">
                  <a:moveTo>
                    <a:pt x="0" y="230"/>
                  </a:moveTo>
                  <a:lnTo>
                    <a:pt x="92" y="0"/>
                  </a:lnTo>
                  <a:lnTo>
                    <a:pt x="132" y="17"/>
                  </a:lnTo>
                  <a:lnTo>
                    <a:pt x="39" y="245"/>
                  </a:lnTo>
                  <a:lnTo>
                    <a:pt x="0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9" name="Freeform 266">
              <a:extLst>
                <a:ext uri="{FF2B5EF4-FFF2-40B4-BE49-F238E27FC236}">
                  <a16:creationId xmlns:a16="http://schemas.microsoft.com/office/drawing/2014/main" id="{69454E64-6864-4B8A-B41B-E276EC3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7663" y="5065713"/>
              <a:ext cx="66675" cy="130175"/>
            </a:xfrm>
            <a:custGeom>
              <a:avLst/>
              <a:gdLst>
                <a:gd name="T0" fmla="*/ 0 w 126"/>
                <a:gd name="T1" fmla="*/ 230 h 246"/>
                <a:gd name="T2" fmla="*/ 86 w 126"/>
                <a:gd name="T3" fmla="*/ 0 h 246"/>
                <a:gd name="T4" fmla="*/ 126 w 126"/>
                <a:gd name="T5" fmla="*/ 15 h 246"/>
                <a:gd name="T6" fmla="*/ 40 w 126"/>
                <a:gd name="T7" fmla="*/ 246 h 246"/>
                <a:gd name="T8" fmla="*/ 0 w 126"/>
                <a:gd name="T9" fmla="*/ 23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246">
                  <a:moveTo>
                    <a:pt x="0" y="230"/>
                  </a:moveTo>
                  <a:lnTo>
                    <a:pt x="86" y="0"/>
                  </a:lnTo>
                  <a:lnTo>
                    <a:pt x="126" y="15"/>
                  </a:lnTo>
                  <a:lnTo>
                    <a:pt x="40" y="246"/>
                  </a:lnTo>
                  <a:lnTo>
                    <a:pt x="0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0" name="Freeform 267">
              <a:extLst>
                <a:ext uri="{FF2B5EF4-FFF2-40B4-BE49-F238E27FC236}">
                  <a16:creationId xmlns:a16="http://schemas.microsoft.com/office/drawing/2014/main" id="{963F746F-E09E-464E-837F-981D75ACA0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5813" y="5178425"/>
              <a:ext cx="36513" cy="131763"/>
            </a:xfrm>
            <a:custGeom>
              <a:avLst/>
              <a:gdLst>
                <a:gd name="T0" fmla="*/ 0 w 67"/>
                <a:gd name="T1" fmla="*/ 245 h 250"/>
                <a:gd name="T2" fmla="*/ 25 w 67"/>
                <a:gd name="T3" fmla="*/ 0 h 250"/>
                <a:gd name="T4" fmla="*/ 67 w 67"/>
                <a:gd name="T5" fmla="*/ 4 h 250"/>
                <a:gd name="T6" fmla="*/ 43 w 67"/>
                <a:gd name="T7" fmla="*/ 250 h 250"/>
                <a:gd name="T8" fmla="*/ 0 w 67"/>
                <a:gd name="T9" fmla="*/ 24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250">
                  <a:moveTo>
                    <a:pt x="0" y="245"/>
                  </a:moveTo>
                  <a:lnTo>
                    <a:pt x="25" y="0"/>
                  </a:lnTo>
                  <a:lnTo>
                    <a:pt x="67" y="4"/>
                  </a:lnTo>
                  <a:lnTo>
                    <a:pt x="43" y="250"/>
                  </a:lnTo>
                  <a:lnTo>
                    <a:pt x="0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1" name="Freeform 268">
              <a:extLst>
                <a:ext uri="{FF2B5EF4-FFF2-40B4-BE49-F238E27FC236}">
                  <a16:creationId xmlns:a16="http://schemas.microsoft.com/office/drawing/2014/main" id="{B373498D-FB92-4328-B27B-35426885A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1850" y="5183188"/>
              <a:ext cx="31750" cy="131763"/>
            </a:xfrm>
            <a:custGeom>
              <a:avLst/>
              <a:gdLst>
                <a:gd name="T0" fmla="*/ 0 w 61"/>
                <a:gd name="T1" fmla="*/ 246 h 250"/>
                <a:gd name="T2" fmla="*/ 18 w 61"/>
                <a:gd name="T3" fmla="*/ 0 h 250"/>
                <a:gd name="T4" fmla="*/ 61 w 61"/>
                <a:gd name="T5" fmla="*/ 4 h 250"/>
                <a:gd name="T6" fmla="*/ 43 w 61"/>
                <a:gd name="T7" fmla="*/ 250 h 250"/>
                <a:gd name="T8" fmla="*/ 0 w 61"/>
                <a:gd name="T9" fmla="*/ 24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250">
                  <a:moveTo>
                    <a:pt x="0" y="246"/>
                  </a:moveTo>
                  <a:lnTo>
                    <a:pt x="18" y="0"/>
                  </a:lnTo>
                  <a:lnTo>
                    <a:pt x="61" y="4"/>
                  </a:lnTo>
                  <a:lnTo>
                    <a:pt x="43" y="250"/>
                  </a:lnTo>
                  <a:lnTo>
                    <a:pt x="0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2" name="Freeform 170">
              <a:extLst>
                <a:ext uri="{FF2B5EF4-FFF2-40B4-BE49-F238E27FC236}">
                  <a16:creationId xmlns:a16="http://schemas.microsoft.com/office/drawing/2014/main" id="{A4A446BC-1E18-422E-9790-293119A12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1" y="2028826"/>
              <a:ext cx="84138" cy="123825"/>
            </a:xfrm>
            <a:custGeom>
              <a:avLst/>
              <a:gdLst>
                <a:gd name="T0" fmla="*/ 158 w 158"/>
                <a:gd name="T1" fmla="*/ 22 h 236"/>
                <a:gd name="T2" fmla="*/ 37 w 158"/>
                <a:gd name="T3" fmla="*/ 236 h 236"/>
                <a:gd name="T4" fmla="*/ 0 w 158"/>
                <a:gd name="T5" fmla="*/ 214 h 236"/>
                <a:gd name="T6" fmla="*/ 121 w 158"/>
                <a:gd name="T7" fmla="*/ 0 h 236"/>
                <a:gd name="T8" fmla="*/ 158 w 158"/>
                <a:gd name="T9" fmla="*/ 2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236">
                  <a:moveTo>
                    <a:pt x="158" y="22"/>
                  </a:moveTo>
                  <a:lnTo>
                    <a:pt x="37" y="236"/>
                  </a:lnTo>
                  <a:lnTo>
                    <a:pt x="0" y="214"/>
                  </a:lnTo>
                  <a:lnTo>
                    <a:pt x="121" y="0"/>
                  </a:lnTo>
                  <a:lnTo>
                    <a:pt x="15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3" name="Freeform 171">
              <a:extLst>
                <a:ext uri="{FF2B5EF4-FFF2-40B4-BE49-F238E27FC236}">
                  <a16:creationId xmlns:a16="http://schemas.microsoft.com/office/drawing/2014/main" id="{74DD0F05-60E2-4E37-812E-ADCBB77EB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4988" y="2005013"/>
              <a:ext cx="80963" cy="125413"/>
            </a:xfrm>
            <a:custGeom>
              <a:avLst/>
              <a:gdLst>
                <a:gd name="T0" fmla="*/ 153 w 153"/>
                <a:gd name="T1" fmla="*/ 20 h 237"/>
                <a:gd name="T2" fmla="*/ 39 w 153"/>
                <a:gd name="T3" fmla="*/ 237 h 237"/>
                <a:gd name="T4" fmla="*/ 0 w 153"/>
                <a:gd name="T5" fmla="*/ 216 h 237"/>
                <a:gd name="T6" fmla="*/ 115 w 153"/>
                <a:gd name="T7" fmla="*/ 0 h 237"/>
                <a:gd name="T8" fmla="*/ 153 w 153"/>
                <a:gd name="T9" fmla="*/ 2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237">
                  <a:moveTo>
                    <a:pt x="153" y="20"/>
                  </a:moveTo>
                  <a:lnTo>
                    <a:pt x="39" y="237"/>
                  </a:lnTo>
                  <a:lnTo>
                    <a:pt x="0" y="216"/>
                  </a:lnTo>
                  <a:lnTo>
                    <a:pt x="115" y="0"/>
                  </a:lnTo>
                  <a:lnTo>
                    <a:pt x="153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4" name="Freeform 172">
              <a:extLst>
                <a:ext uri="{FF2B5EF4-FFF2-40B4-BE49-F238E27FC236}">
                  <a16:creationId xmlns:a16="http://schemas.microsoft.com/office/drawing/2014/main" id="{57EB7B12-DD2B-4C06-A78A-16950ADDA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8476" y="1982788"/>
              <a:ext cx="77788" cy="127000"/>
            </a:xfrm>
            <a:custGeom>
              <a:avLst/>
              <a:gdLst>
                <a:gd name="T0" fmla="*/ 147 w 147"/>
                <a:gd name="T1" fmla="*/ 20 h 240"/>
                <a:gd name="T2" fmla="*/ 37 w 147"/>
                <a:gd name="T3" fmla="*/ 240 h 240"/>
                <a:gd name="T4" fmla="*/ 0 w 147"/>
                <a:gd name="T5" fmla="*/ 221 h 240"/>
                <a:gd name="T6" fmla="*/ 109 w 147"/>
                <a:gd name="T7" fmla="*/ 0 h 240"/>
                <a:gd name="T8" fmla="*/ 147 w 147"/>
                <a:gd name="T9" fmla="*/ 2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240">
                  <a:moveTo>
                    <a:pt x="147" y="20"/>
                  </a:moveTo>
                  <a:lnTo>
                    <a:pt x="37" y="240"/>
                  </a:lnTo>
                  <a:lnTo>
                    <a:pt x="0" y="221"/>
                  </a:lnTo>
                  <a:lnTo>
                    <a:pt x="109" y="0"/>
                  </a:lnTo>
                  <a:lnTo>
                    <a:pt x="14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5" name="Freeform 173">
              <a:extLst>
                <a:ext uri="{FF2B5EF4-FFF2-40B4-BE49-F238E27FC236}">
                  <a16:creationId xmlns:a16="http://schemas.microsoft.com/office/drawing/2014/main" id="{F0BCE267-0E03-4422-A94B-F321296F90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0376" y="1962151"/>
              <a:ext cx="74613" cy="128588"/>
            </a:xfrm>
            <a:custGeom>
              <a:avLst/>
              <a:gdLst>
                <a:gd name="T0" fmla="*/ 142 w 142"/>
                <a:gd name="T1" fmla="*/ 19 h 242"/>
                <a:gd name="T2" fmla="*/ 39 w 142"/>
                <a:gd name="T3" fmla="*/ 242 h 242"/>
                <a:gd name="T4" fmla="*/ 0 w 142"/>
                <a:gd name="T5" fmla="*/ 223 h 242"/>
                <a:gd name="T6" fmla="*/ 104 w 142"/>
                <a:gd name="T7" fmla="*/ 0 h 242"/>
                <a:gd name="T8" fmla="*/ 142 w 142"/>
                <a:gd name="T9" fmla="*/ 19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242">
                  <a:moveTo>
                    <a:pt x="142" y="19"/>
                  </a:moveTo>
                  <a:lnTo>
                    <a:pt x="39" y="242"/>
                  </a:lnTo>
                  <a:lnTo>
                    <a:pt x="0" y="223"/>
                  </a:lnTo>
                  <a:lnTo>
                    <a:pt x="104" y="0"/>
                  </a:lnTo>
                  <a:lnTo>
                    <a:pt x="142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6" name="Freeform 174">
              <a:extLst>
                <a:ext uri="{FF2B5EF4-FFF2-40B4-BE49-F238E27FC236}">
                  <a16:creationId xmlns:a16="http://schemas.microsoft.com/office/drawing/2014/main" id="{1FF615A6-5E01-4AB1-8AA6-D32CF0CCA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2276" y="1941513"/>
              <a:ext cx="73025" cy="128588"/>
            </a:xfrm>
            <a:custGeom>
              <a:avLst/>
              <a:gdLst>
                <a:gd name="T0" fmla="*/ 137 w 137"/>
                <a:gd name="T1" fmla="*/ 17 h 243"/>
                <a:gd name="T2" fmla="*/ 40 w 137"/>
                <a:gd name="T3" fmla="*/ 243 h 243"/>
                <a:gd name="T4" fmla="*/ 0 w 137"/>
                <a:gd name="T5" fmla="*/ 226 h 243"/>
                <a:gd name="T6" fmla="*/ 98 w 137"/>
                <a:gd name="T7" fmla="*/ 0 h 243"/>
                <a:gd name="T8" fmla="*/ 137 w 137"/>
                <a:gd name="T9" fmla="*/ 1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243">
                  <a:moveTo>
                    <a:pt x="137" y="17"/>
                  </a:moveTo>
                  <a:lnTo>
                    <a:pt x="40" y="243"/>
                  </a:lnTo>
                  <a:lnTo>
                    <a:pt x="0" y="226"/>
                  </a:lnTo>
                  <a:lnTo>
                    <a:pt x="98" y="0"/>
                  </a:lnTo>
                  <a:lnTo>
                    <a:pt x="137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7" name="Freeform 175">
              <a:extLst>
                <a:ext uri="{FF2B5EF4-FFF2-40B4-BE49-F238E27FC236}">
                  <a16:creationId xmlns:a16="http://schemas.microsoft.com/office/drawing/2014/main" id="{35323326-39A1-4EF4-9131-3EAAD09E7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4176" y="1924051"/>
              <a:ext cx="69850" cy="128588"/>
            </a:xfrm>
            <a:custGeom>
              <a:avLst/>
              <a:gdLst>
                <a:gd name="T0" fmla="*/ 132 w 132"/>
                <a:gd name="T1" fmla="*/ 16 h 244"/>
                <a:gd name="T2" fmla="*/ 40 w 132"/>
                <a:gd name="T3" fmla="*/ 244 h 244"/>
                <a:gd name="T4" fmla="*/ 0 w 132"/>
                <a:gd name="T5" fmla="*/ 228 h 244"/>
                <a:gd name="T6" fmla="*/ 93 w 132"/>
                <a:gd name="T7" fmla="*/ 0 h 244"/>
                <a:gd name="T8" fmla="*/ 132 w 132"/>
                <a:gd name="T9" fmla="*/ 16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244">
                  <a:moveTo>
                    <a:pt x="132" y="16"/>
                  </a:moveTo>
                  <a:lnTo>
                    <a:pt x="40" y="244"/>
                  </a:lnTo>
                  <a:lnTo>
                    <a:pt x="0" y="228"/>
                  </a:lnTo>
                  <a:lnTo>
                    <a:pt x="93" y="0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8" name="Freeform 176">
              <a:extLst>
                <a:ext uri="{FF2B5EF4-FFF2-40B4-BE49-F238E27FC236}">
                  <a16:creationId xmlns:a16="http://schemas.microsoft.com/office/drawing/2014/main" id="{67B9FD39-E819-45EA-8C82-949FD2D29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4488" y="1905001"/>
              <a:ext cx="66675" cy="130175"/>
            </a:xfrm>
            <a:custGeom>
              <a:avLst/>
              <a:gdLst>
                <a:gd name="T0" fmla="*/ 126 w 126"/>
                <a:gd name="T1" fmla="*/ 16 h 246"/>
                <a:gd name="T2" fmla="*/ 40 w 126"/>
                <a:gd name="T3" fmla="*/ 246 h 246"/>
                <a:gd name="T4" fmla="*/ 0 w 126"/>
                <a:gd name="T5" fmla="*/ 231 h 246"/>
                <a:gd name="T6" fmla="*/ 86 w 126"/>
                <a:gd name="T7" fmla="*/ 0 h 246"/>
                <a:gd name="T8" fmla="*/ 126 w 126"/>
                <a:gd name="T9" fmla="*/ 1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246">
                  <a:moveTo>
                    <a:pt x="126" y="16"/>
                  </a:moveTo>
                  <a:lnTo>
                    <a:pt x="40" y="246"/>
                  </a:lnTo>
                  <a:lnTo>
                    <a:pt x="0" y="231"/>
                  </a:lnTo>
                  <a:lnTo>
                    <a:pt x="86" y="0"/>
                  </a:lnTo>
                  <a:lnTo>
                    <a:pt x="12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9" name="Freeform 177">
              <a:extLst>
                <a:ext uri="{FF2B5EF4-FFF2-40B4-BE49-F238E27FC236}">
                  <a16:creationId xmlns:a16="http://schemas.microsoft.com/office/drawing/2014/main" id="{41F79415-86A3-4A79-B55D-F502AA476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4801" y="1889126"/>
              <a:ext cx="63500" cy="130175"/>
            </a:xfrm>
            <a:custGeom>
              <a:avLst/>
              <a:gdLst>
                <a:gd name="T0" fmla="*/ 120 w 120"/>
                <a:gd name="T1" fmla="*/ 14 h 248"/>
                <a:gd name="T2" fmla="*/ 41 w 120"/>
                <a:gd name="T3" fmla="*/ 248 h 248"/>
                <a:gd name="T4" fmla="*/ 0 w 120"/>
                <a:gd name="T5" fmla="*/ 233 h 248"/>
                <a:gd name="T6" fmla="*/ 80 w 120"/>
                <a:gd name="T7" fmla="*/ 0 h 248"/>
                <a:gd name="T8" fmla="*/ 120 w 120"/>
                <a:gd name="T9" fmla="*/ 1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248">
                  <a:moveTo>
                    <a:pt x="120" y="14"/>
                  </a:moveTo>
                  <a:lnTo>
                    <a:pt x="41" y="248"/>
                  </a:lnTo>
                  <a:lnTo>
                    <a:pt x="0" y="233"/>
                  </a:lnTo>
                  <a:lnTo>
                    <a:pt x="80" y="0"/>
                  </a:lnTo>
                  <a:lnTo>
                    <a:pt x="12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10" name="Freeform 178">
              <a:extLst>
                <a:ext uri="{FF2B5EF4-FFF2-40B4-BE49-F238E27FC236}">
                  <a16:creationId xmlns:a16="http://schemas.microsoft.com/office/drawing/2014/main" id="{BF6023D1-3179-49B1-ACEE-37E230852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5113" y="1873251"/>
              <a:ext cx="60325" cy="131763"/>
            </a:xfrm>
            <a:custGeom>
              <a:avLst/>
              <a:gdLst>
                <a:gd name="T0" fmla="*/ 114 w 114"/>
                <a:gd name="T1" fmla="*/ 14 h 248"/>
                <a:gd name="T2" fmla="*/ 41 w 114"/>
                <a:gd name="T3" fmla="*/ 248 h 248"/>
                <a:gd name="T4" fmla="*/ 0 w 114"/>
                <a:gd name="T5" fmla="*/ 236 h 248"/>
                <a:gd name="T6" fmla="*/ 73 w 114"/>
                <a:gd name="T7" fmla="*/ 0 h 248"/>
                <a:gd name="T8" fmla="*/ 114 w 114"/>
                <a:gd name="T9" fmla="*/ 1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248">
                  <a:moveTo>
                    <a:pt x="114" y="14"/>
                  </a:moveTo>
                  <a:lnTo>
                    <a:pt x="41" y="248"/>
                  </a:lnTo>
                  <a:lnTo>
                    <a:pt x="0" y="236"/>
                  </a:lnTo>
                  <a:lnTo>
                    <a:pt x="73" y="0"/>
                  </a:lnTo>
                  <a:lnTo>
                    <a:pt x="11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11" name="Freeform 179">
              <a:extLst>
                <a:ext uri="{FF2B5EF4-FFF2-40B4-BE49-F238E27FC236}">
                  <a16:creationId xmlns:a16="http://schemas.microsoft.com/office/drawing/2014/main" id="{B1FC320B-9944-4CCB-8511-4EC0ACF95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5426" y="1858963"/>
              <a:ext cx="57150" cy="131763"/>
            </a:xfrm>
            <a:custGeom>
              <a:avLst/>
              <a:gdLst>
                <a:gd name="T0" fmla="*/ 107 w 107"/>
                <a:gd name="T1" fmla="*/ 13 h 248"/>
                <a:gd name="T2" fmla="*/ 41 w 107"/>
                <a:gd name="T3" fmla="*/ 248 h 248"/>
                <a:gd name="T4" fmla="*/ 0 w 107"/>
                <a:gd name="T5" fmla="*/ 237 h 248"/>
                <a:gd name="T6" fmla="*/ 66 w 107"/>
                <a:gd name="T7" fmla="*/ 0 h 248"/>
                <a:gd name="T8" fmla="*/ 107 w 107"/>
                <a:gd name="T9" fmla="*/ 1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248">
                  <a:moveTo>
                    <a:pt x="107" y="13"/>
                  </a:moveTo>
                  <a:lnTo>
                    <a:pt x="41" y="248"/>
                  </a:lnTo>
                  <a:lnTo>
                    <a:pt x="0" y="237"/>
                  </a:lnTo>
                  <a:lnTo>
                    <a:pt x="66" y="0"/>
                  </a:lnTo>
                  <a:lnTo>
                    <a:pt x="10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12" name="Freeform 180">
              <a:extLst>
                <a:ext uri="{FF2B5EF4-FFF2-40B4-BE49-F238E27FC236}">
                  <a16:creationId xmlns:a16="http://schemas.microsoft.com/office/drawing/2014/main" id="{C254D40C-62DD-4D6F-979A-E8276F313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5738" y="1846263"/>
              <a:ext cx="53975" cy="131763"/>
            </a:xfrm>
            <a:custGeom>
              <a:avLst/>
              <a:gdLst>
                <a:gd name="T0" fmla="*/ 102 w 102"/>
                <a:gd name="T1" fmla="*/ 11 h 249"/>
                <a:gd name="T2" fmla="*/ 41 w 102"/>
                <a:gd name="T3" fmla="*/ 249 h 249"/>
                <a:gd name="T4" fmla="*/ 0 w 102"/>
                <a:gd name="T5" fmla="*/ 239 h 249"/>
                <a:gd name="T6" fmla="*/ 61 w 102"/>
                <a:gd name="T7" fmla="*/ 0 h 249"/>
                <a:gd name="T8" fmla="*/ 102 w 102"/>
                <a:gd name="T9" fmla="*/ 11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249">
                  <a:moveTo>
                    <a:pt x="102" y="11"/>
                  </a:moveTo>
                  <a:lnTo>
                    <a:pt x="41" y="249"/>
                  </a:lnTo>
                  <a:lnTo>
                    <a:pt x="0" y="239"/>
                  </a:lnTo>
                  <a:lnTo>
                    <a:pt x="61" y="0"/>
                  </a:lnTo>
                  <a:lnTo>
                    <a:pt x="102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13" name="Freeform 181">
              <a:extLst>
                <a:ext uri="{FF2B5EF4-FFF2-40B4-BE49-F238E27FC236}">
                  <a16:creationId xmlns:a16="http://schemas.microsoft.com/office/drawing/2014/main" id="{E99B3A1A-8E7C-4D2E-A667-A882D65EF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4463" y="1833563"/>
              <a:ext cx="50800" cy="131763"/>
            </a:xfrm>
            <a:custGeom>
              <a:avLst/>
              <a:gdLst>
                <a:gd name="T0" fmla="*/ 97 w 97"/>
                <a:gd name="T1" fmla="*/ 11 h 250"/>
                <a:gd name="T2" fmla="*/ 41 w 97"/>
                <a:gd name="T3" fmla="*/ 250 h 250"/>
                <a:gd name="T4" fmla="*/ 0 w 97"/>
                <a:gd name="T5" fmla="*/ 240 h 250"/>
                <a:gd name="T6" fmla="*/ 55 w 97"/>
                <a:gd name="T7" fmla="*/ 0 h 250"/>
                <a:gd name="T8" fmla="*/ 97 w 97"/>
                <a:gd name="T9" fmla="*/ 1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250">
                  <a:moveTo>
                    <a:pt x="97" y="11"/>
                  </a:moveTo>
                  <a:lnTo>
                    <a:pt x="41" y="250"/>
                  </a:lnTo>
                  <a:lnTo>
                    <a:pt x="0" y="240"/>
                  </a:lnTo>
                  <a:lnTo>
                    <a:pt x="55" y="0"/>
                  </a:lnTo>
                  <a:lnTo>
                    <a:pt x="9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14" name="Freeform 182">
              <a:extLst>
                <a:ext uri="{FF2B5EF4-FFF2-40B4-BE49-F238E27FC236}">
                  <a16:creationId xmlns:a16="http://schemas.microsoft.com/office/drawing/2014/main" id="{9C204E06-4DB8-4C83-A791-57F463B8C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3188" y="1822451"/>
              <a:ext cx="47625" cy="133350"/>
            </a:xfrm>
            <a:custGeom>
              <a:avLst/>
              <a:gdLst>
                <a:gd name="T0" fmla="*/ 91 w 91"/>
                <a:gd name="T1" fmla="*/ 9 h 250"/>
                <a:gd name="T2" fmla="*/ 42 w 91"/>
                <a:gd name="T3" fmla="*/ 250 h 250"/>
                <a:gd name="T4" fmla="*/ 0 w 91"/>
                <a:gd name="T5" fmla="*/ 241 h 250"/>
                <a:gd name="T6" fmla="*/ 50 w 91"/>
                <a:gd name="T7" fmla="*/ 0 h 250"/>
                <a:gd name="T8" fmla="*/ 91 w 91"/>
                <a:gd name="T9" fmla="*/ 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250">
                  <a:moveTo>
                    <a:pt x="91" y="9"/>
                  </a:moveTo>
                  <a:lnTo>
                    <a:pt x="42" y="250"/>
                  </a:lnTo>
                  <a:lnTo>
                    <a:pt x="0" y="241"/>
                  </a:lnTo>
                  <a:lnTo>
                    <a:pt x="50" y="0"/>
                  </a:lnTo>
                  <a:lnTo>
                    <a:pt x="9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15" name="Freeform 183">
              <a:extLst>
                <a:ext uri="{FF2B5EF4-FFF2-40B4-BE49-F238E27FC236}">
                  <a16:creationId xmlns:a16="http://schemas.microsoft.com/office/drawing/2014/main" id="{631D70FE-93E2-4E6E-9CDD-C88E889AF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1913" y="1812926"/>
              <a:ext cx="46038" cy="133350"/>
            </a:xfrm>
            <a:custGeom>
              <a:avLst/>
              <a:gdLst>
                <a:gd name="T0" fmla="*/ 86 w 86"/>
                <a:gd name="T1" fmla="*/ 8 h 250"/>
                <a:gd name="T2" fmla="*/ 42 w 86"/>
                <a:gd name="T3" fmla="*/ 250 h 250"/>
                <a:gd name="T4" fmla="*/ 0 w 86"/>
                <a:gd name="T5" fmla="*/ 242 h 250"/>
                <a:gd name="T6" fmla="*/ 43 w 86"/>
                <a:gd name="T7" fmla="*/ 0 h 250"/>
                <a:gd name="T8" fmla="*/ 86 w 86"/>
                <a:gd name="T9" fmla="*/ 8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250">
                  <a:moveTo>
                    <a:pt x="86" y="8"/>
                  </a:moveTo>
                  <a:lnTo>
                    <a:pt x="42" y="250"/>
                  </a:lnTo>
                  <a:lnTo>
                    <a:pt x="0" y="242"/>
                  </a:lnTo>
                  <a:lnTo>
                    <a:pt x="43" y="0"/>
                  </a:lnTo>
                  <a:lnTo>
                    <a:pt x="86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916" name="Group 915">
              <a:extLst>
                <a:ext uri="{FF2B5EF4-FFF2-40B4-BE49-F238E27FC236}">
                  <a16:creationId xmlns:a16="http://schemas.microsoft.com/office/drawing/2014/main" id="{DC7D217E-E781-47BD-93A7-A7B77A5036C6}"/>
                </a:ext>
              </a:extLst>
            </p:cNvPr>
            <p:cNvGrpSpPr/>
            <p:nvPr/>
          </p:nvGrpSpPr>
          <p:grpSpPr>
            <a:xfrm>
              <a:off x="4754563" y="2039938"/>
              <a:ext cx="500063" cy="458788"/>
              <a:chOff x="4754563" y="2039938"/>
              <a:chExt cx="500063" cy="458788"/>
            </a:xfrm>
            <a:grpFill/>
          </p:grpSpPr>
          <p:sp>
            <p:nvSpPr>
              <p:cNvPr id="990" name="Freeform 197">
                <a:extLst>
                  <a:ext uri="{FF2B5EF4-FFF2-40B4-BE49-F238E27FC236}">
                    <a16:creationId xmlns:a16="http://schemas.microsoft.com/office/drawing/2014/main" id="{05975E81-E1CB-4F1C-9C7F-9A0FFA2DC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4138" y="2039938"/>
                <a:ext cx="90488" cy="120650"/>
              </a:xfrm>
              <a:custGeom>
                <a:avLst/>
                <a:gdLst>
                  <a:gd name="T0" fmla="*/ 36 w 169"/>
                  <a:gd name="T1" fmla="*/ 0 h 230"/>
                  <a:gd name="T2" fmla="*/ 169 w 169"/>
                  <a:gd name="T3" fmla="*/ 206 h 230"/>
                  <a:gd name="T4" fmla="*/ 133 w 169"/>
                  <a:gd name="T5" fmla="*/ 230 h 230"/>
                  <a:gd name="T6" fmla="*/ 0 w 169"/>
                  <a:gd name="T7" fmla="*/ 24 h 230"/>
                  <a:gd name="T8" fmla="*/ 36 w 169"/>
                  <a:gd name="T9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230">
                    <a:moveTo>
                      <a:pt x="36" y="0"/>
                    </a:moveTo>
                    <a:lnTo>
                      <a:pt x="169" y="206"/>
                    </a:lnTo>
                    <a:lnTo>
                      <a:pt x="133" y="230"/>
                    </a:lnTo>
                    <a:lnTo>
                      <a:pt x="0" y="2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91" name="Freeform 198">
                <a:extLst>
                  <a:ext uri="{FF2B5EF4-FFF2-40B4-BE49-F238E27FC236}">
                    <a16:creationId xmlns:a16="http://schemas.microsoft.com/office/drawing/2014/main" id="{D3A974DD-1026-4B65-B278-D7C124C350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6038" y="2063751"/>
                <a:ext cx="92075" cy="120650"/>
              </a:xfrm>
              <a:custGeom>
                <a:avLst/>
                <a:gdLst>
                  <a:gd name="T0" fmla="*/ 36 w 173"/>
                  <a:gd name="T1" fmla="*/ 0 h 227"/>
                  <a:gd name="T2" fmla="*/ 173 w 173"/>
                  <a:gd name="T3" fmla="*/ 203 h 227"/>
                  <a:gd name="T4" fmla="*/ 139 w 173"/>
                  <a:gd name="T5" fmla="*/ 227 h 227"/>
                  <a:gd name="T6" fmla="*/ 0 w 173"/>
                  <a:gd name="T7" fmla="*/ 24 h 227"/>
                  <a:gd name="T8" fmla="*/ 36 w 173"/>
                  <a:gd name="T9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227">
                    <a:moveTo>
                      <a:pt x="36" y="0"/>
                    </a:moveTo>
                    <a:lnTo>
                      <a:pt x="173" y="203"/>
                    </a:lnTo>
                    <a:lnTo>
                      <a:pt x="139" y="227"/>
                    </a:lnTo>
                    <a:lnTo>
                      <a:pt x="0" y="2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92" name="Freeform 199">
                <a:extLst>
                  <a:ext uri="{FF2B5EF4-FFF2-40B4-BE49-F238E27FC236}">
                    <a16:creationId xmlns:a16="http://schemas.microsoft.com/office/drawing/2014/main" id="{0DF1A8B0-FB74-4710-8BAC-0692DEAEE6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526" y="2090738"/>
                <a:ext cx="93663" cy="117475"/>
              </a:xfrm>
              <a:custGeom>
                <a:avLst/>
                <a:gdLst>
                  <a:gd name="T0" fmla="*/ 35 w 178"/>
                  <a:gd name="T1" fmla="*/ 0 h 224"/>
                  <a:gd name="T2" fmla="*/ 178 w 178"/>
                  <a:gd name="T3" fmla="*/ 198 h 224"/>
                  <a:gd name="T4" fmla="*/ 144 w 178"/>
                  <a:gd name="T5" fmla="*/ 224 h 224"/>
                  <a:gd name="T6" fmla="*/ 0 w 178"/>
                  <a:gd name="T7" fmla="*/ 25 h 224"/>
                  <a:gd name="T8" fmla="*/ 35 w 178"/>
                  <a:gd name="T9" fmla="*/ 0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" h="224">
                    <a:moveTo>
                      <a:pt x="35" y="0"/>
                    </a:moveTo>
                    <a:lnTo>
                      <a:pt x="178" y="198"/>
                    </a:lnTo>
                    <a:lnTo>
                      <a:pt x="144" y="224"/>
                    </a:lnTo>
                    <a:lnTo>
                      <a:pt x="0" y="25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93" name="Freeform 200">
                <a:extLst>
                  <a:ext uri="{FF2B5EF4-FFF2-40B4-BE49-F238E27FC236}">
                    <a16:creationId xmlns:a16="http://schemas.microsoft.com/office/drawing/2014/main" id="{F9665865-F58E-4756-A3DC-AC49F5FCA2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3013" y="2116138"/>
                <a:ext cx="96838" cy="117475"/>
              </a:xfrm>
              <a:custGeom>
                <a:avLst/>
                <a:gdLst>
                  <a:gd name="T0" fmla="*/ 34 w 183"/>
                  <a:gd name="T1" fmla="*/ 0 h 222"/>
                  <a:gd name="T2" fmla="*/ 183 w 183"/>
                  <a:gd name="T3" fmla="*/ 196 h 222"/>
                  <a:gd name="T4" fmla="*/ 148 w 183"/>
                  <a:gd name="T5" fmla="*/ 222 h 222"/>
                  <a:gd name="T6" fmla="*/ 0 w 183"/>
                  <a:gd name="T7" fmla="*/ 27 h 222"/>
                  <a:gd name="T8" fmla="*/ 34 w 183"/>
                  <a:gd name="T9" fmla="*/ 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" h="222">
                    <a:moveTo>
                      <a:pt x="34" y="0"/>
                    </a:moveTo>
                    <a:lnTo>
                      <a:pt x="183" y="196"/>
                    </a:lnTo>
                    <a:lnTo>
                      <a:pt x="148" y="222"/>
                    </a:lnTo>
                    <a:lnTo>
                      <a:pt x="0" y="27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94" name="Freeform 201">
                <a:extLst>
                  <a:ext uri="{FF2B5EF4-FFF2-40B4-BE49-F238E27FC236}">
                    <a16:creationId xmlns:a16="http://schemas.microsoft.com/office/drawing/2014/main" id="{3320DDCB-8B55-41A2-9343-83974A6814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6501" y="2144713"/>
                <a:ext cx="98425" cy="115888"/>
              </a:xfrm>
              <a:custGeom>
                <a:avLst/>
                <a:gdLst>
                  <a:gd name="T0" fmla="*/ 33 w 187"/>
                  <a:gd name="T1" fmla="*/ 0 h 220"/>
                  <a:gd name="T2" fmla="*/ 187 w 187"/>
                  <a:gd name="T3" fmla="*/ 191 h 220"/>
                  <a:gd name="T4" fmla="*/ 153 w 187"/>
                  <a:gd name="T5" fmla="*/ 220 h 220"/>
                  <a:gd name="T6" fmla="*/ 0 w 187"/>
                  <a:gd name="T7" fmla="*/ 29 h 220"/>
                  <a:gd name="T8" fmla="*/ 33 w 187"/>
                  <a:gd name="T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7" h="220">
                    <a:moveTo>
                      <a:pt x="33" y="0"/>
                    </a:moveTo>
                    <a:lnTo>
                      <a:pt x="187" y="191"/>
                    </a:lnTo>
                    <a:lnTo>
                      <a:pt x="153" y="220"/>
                    </a:lnTo>
                    <a:lnTo>
                      <a:pt x="0" y="29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95" name="Freeform 202">
                <a:extLst>
                  <a:ext uri="{FF2B5EF4-FFF2-40B4-BE49-F238E27FC236}">
                    <a16:creationId xmlns:a16="http://schemas.microsoft.com/office/drawing/2014/main" id="{59C121DC-F090-4B52-90C9-E35427A78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576" y="2173288"/>
                <a:ext cx="100013" cy="114300"/>
              </a:xfrm>
              <a:custGeom>
                <a:avLst/>
                <a:gdLst>
                  <a:gd name="T0" fmla="*/ 32 w 190"/>
                  <a:gd name="T1" fmla="*/ 0 h 216"/>
                  <a:gd name="T2" fmla="*/ 190 w 190"/>
                  <a:gd name="T3" fmla="*/ 186 h 216"/>
                  <a:gd name="T4" fmla="*/ 158 w 190"/>
                  <a:gd name="T5" fmla="*/ 216 h 216"/>
                  <a:gd name="T6" fmla="*/ 0 w 190"/>
                  <a:gd name="T7" fmla="*/ 29 h 216"/>
                  <a:gd name="T8" fmla="*/ 32 w 190"/>
                  <a:gd name="T9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216">
                    <a:moveTo>
                      <a:pt x="32" y="0"/>
                    </a:moveTo>
                    <a:lnTo>
                      <a:pt x="190" y="186"/>
                    </a:lnTo>
                    <a:lnTo>
                      <a:pt x="158" y="216"/>
                    </a:lnTo>
                    <a:lnTo>
                      <a:pt x="0" y="29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96" name="Freeform 203">
                <a:extLst>
                  <a:ext uri="{FF2B5EF4-FFF2-40B4-BE49-F238E27FC236}">
                    <a16:creationId xmlns:a16="http://schemas.microsoft.com/office/drawing/2014/main" id="{5580A35A-3CB6-4CB2-A46E-54555F3BF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5063" y="2203451"/>
                <a:ext cx="103188" cy="111125"/>
              </a:xfrm>
              <a:custGeom>
                <a:avLst/>
                <a:gdLst>
                  <a:gd name="T0" fmla="*/ 32 w 195"/>
                  <a:gd name="T1" fmla="*/ 0 h 212"/>
                  <a:gd name="T2" fmla="*/ 195 w 195"/>
                  <a:gd name="T3" fmla="*/ 183 h 212"/>
                  <a:gd name="T4" fmla="*/ 164 w 195"/>
                  <a:gd name="T5" fmla="*/ 212 h 212"/>
                  <a:gd name="T6" fmla="*/ 0 w 195"/>
                  <a:gd name="T7" fmla="*/ 29 h 212"/>
                  <a:gd name="T8" fmla="*/ 32 w 195"/>
                  <a:gd name="T9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5" h="212">
                    <a:moveTo>
                      <a:pt x="32" y="0"/>
                    </a:moveTo>
                    <a:lnTo>
                      <a:pt x="195" y="183"/>
                    </a:lnTo>
                    <a:lnTo>
                      <a:pt x="164" y="212"/>
                    </a:lnTo>
                    <a:lnTo>
                      <a:pt x="0" y="29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97" name="Freeform 204">
                <a:extLst>
                  <a:ext uri="{FF2B5EF4-FFF2-40B4-BE49-F238E27FC236}">
                    <a16:creationId xmlns:a16="http://schemas.microsoft.com/office/drawing/2014/main" id="{A6C06764-A495-4565-8D38-DD2038E3CB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1726" y="2233613"/>
                <a:ext cx="104775" cy="109538"/>
              </a:xfrm>
              <a:custGeom>
                <a:avLst/>
                <a:gdLst>
                  <a:gd name="T0" fmla="*/ 31 w 199"/>
                  <a:gd name="T1" fmla="*/ 0 h 209"/>
                  <a:gd name="T2" fmla="*/ 199 w 199"/>
                  <a:gd name="T3" fmla="*/ 178 h 209"/>
                  <a:gd name="T4" fmla="*/ 168 w 199"/>
                  <a:gd name="T5" fmla="*/ 209 h 209"/>
                  <a:gd name="T6" fmla="*/ 0 w 199"/>
                  <a:gd name="T7" fmla="*/ 31 h 209"/>
                  <a:gd name="T8" fmla="*/ 31 w 199"/>
                  <a:gd name="T9" fmla="*/ 0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9" h="209">
                    <a:moveTo>
                      <a:pt x="31" y="0"/>
                    </a:moveTo>
                    <a:lnTo>
                      <a:pt x="199" y="178"/>
                    </a:lnTo>
                    <a:lnTo>
                      <a:pt x="168" y="209"/>
                    </a:lnTo>
                    <a:lnTo>
                      <a:pt x="0" y="31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98" name="Freeform 206">
                <a:extLst>
                  <a:ext uri="{FF2B5EF4-FFF2-40B4-BE49-F238E27FC236}">
                    <a16:creationId xmlns:a16="http://schemas.microsoft.com/office/drawing/2014/main" id="{E02A5282-4790-4748-98E7-3992E2576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9975" y="2265363"/>
                <a:ext cx="106363" cy="107950"/>
              </a:xfrm>
              <a:custGeom>
                <a:avLst/>
                <a:gdLst>
                  <a:gd name="T0" fmla="*/ 29 w 202"/>
                  <a:gd name="T1" fmla="*/ 0 h 203"/>
                  <a:gd name="T2" fmla="*/ 202 w 202"/>
                  <a:gd name="T3" fmla="*/ 173 h 203"/>
                  <a:gd name="T4" fmla="*/ 171 w 202"/>
                  <a:gd name="T5" fmla="*/ 203 h 203"/>
                  <a:gd name="T6" fmla="*/ 0 w 202"/>
                  <a:gd name="T7" fmla="*/ 30 h 203"/>
                  <a:gd name="T8" fmla="*/ 29 w 202"/>
                  <a:gd name="T9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2" h="203">
                    <a:moveTo>
                      <a:pt x="29" y="0"/>
                    </a:moveTo>
                    <a:lnTo>
                      <a:pt x="202" y="173"/>
                    </a:lnTo>
                    <a:lnTo>
                      <a:pt x="171" y="203"/>
                    </a:lnTo>
                    <a:lnTo>
                      <a:pt x="0" y="3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99" name="Freeform 207">
                <a:extLst>
                  <a:ext uri="{FF2B5EF4-FFF2-40B4-BE49-F238E27FC236}">
                    <a16:creationId xmlns:a16="http://schemas.microsoft.com/office/drawing/2014/main" id="{C22F6A80-C9E8-4380-8CD4-7F2F437DA5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638" y="2297113"/>
                <a:ext cx="109538" cy="106363"/>
              </a:xfrm>
              <a:custGeom>
                <a:avLst/>
                <a:gdLst>
                  <a:gd name="T0" fmla="*/ 30 w 207"/>
                  <a:gd name="T1" fmla="*/ 0 h 200"/>
                  <a:gd name="T2" fmla="*/ 207 w 207"/>
                  <a:gd name="T3" fmla="*/ 168 h 200"/>
                  <a:gd name="T4" fmla="*/ 177 w 207"/>
                  <a:gd name="T5" fmla="*/ 200 h 200"/>
                  <a:gd name="T6" fmla="*/ 0 w 207"/>
                  <a:gd name="T7" fmla="*/ 31 h 200"/>
                  <a:gd name="T8" fmla="*/ 30 w 207"/>
                  <a:gd name="T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0">
                    <a:moveTo>
                      <a:pt x="30" y="0"/>
                    </a:moveTo>
                    <a:lnTo>
                      <a:pt x="207" y="168"/>
                    </a:lnTo>
                    <a:lnTo>
                      <a:pt x="177" y="200"/>
                    </a:lnTo>
                    <a:lnTo>
                      <a:pt x="0" y="31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00" name="Freeform 208">
                <a:extLst>
                  <a:ext uri="{FF2B5EF4-FFF2-40B4-BE49-F238E27FC236}">
                    <a16:creationId xmlns:a16="http://schemas.microsoft.com/office/drawing/2014/main" id="{A7100BDF-BAF7-475C-8C43-DEE51E428C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4888" y="2330450"/>
                <a:ext cx="111125" cy="104775"/>
              </a:xfrm>
              <a:custGeom>
                <a:avLst/>
                <a:gdLst>
                  <a:gd name="T0" fmla="*/ 29 w 209"/>
                  <a:gd name="T1" fmla="*/ 0 h 196"/>
                  <a:gd name="T2" fmla="*/ 209 w 209"/>
                  <a:gd name="T3" fmla="*/ 164 h 196"/>
                  <a:gd name="T4" fmla="*/ 181 w 209"/>
                  <a:gd name="T5" fmla="*/ 196 h 196"/>
                  <a:gd name="T6" fmla="*/ 0 w 209"/>
                  <a:gd name="T7" fmla="*/ 32 h 196"/>
                  <a:gd name="T8" fmla="*/ 29 w 209"/>
                  <a:gd name="T9" fmla="*/ 0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196">
                    <a:moveTo>
                      <a:pt x="29" y="0"/>
                    </a:moveTo>
                    <a:lnTo>
                      <a:pt x="209" y="164"/>
                    </a:lnTo>
                    <a:lnTo>
                      <a:pt x="181" y="196"/>
                    </a:lnTo>
                    <a:lnTo>
                      <a:pt x="0" y="32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01" name="Freeform 209">
                <a:extLst>
                  <a:ext uri="{FF2B5EF4-FFF2-40B4-BE49-F238E27FC236}">
                    <a16:creationId xmlns:a16="http://schemas.microsoft.com/office/drawing/2014/main" id="{6813A0A1-BBA5-4F8E-82C0-9A7625608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4725" y="2365375"/>
                <a:ext cx="112713" cy="101600"/>
              </a:xfrm>
              <a:custGeom>
                <a:avLst/>
                <a:gdLst>
                  <a:gd name="T0" fmla="*/ 27 w 212"/>
                  <a:gd name="T1" fmla="*/ 0 h 192"/>
                  <a:gd name="T2" fmla="*/ 212 w 212"/>
                  <a:gd name="T3" fmla="*/ 159 h 192"/>
                  <a:gd name="T4" fmla="*/ 184 w 212"/>
                  <a:gd name="T5" fmla="*/ 192 h 192"/>
                  <a:gd name="T6" fmla="*/ 0 w 212"/>
                  <a:gd name="T7" fmla="*/ 33 h 192"/>
                  <a:gd name="T8" fmla="*/ 27 w 212"/>
                  <a:gd name="T9" fmla="*/ 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192">
                    <a:moveTo>
                      <a:pt x="27" y="0"/>
                    </a:moveTo>
                    <a:lnTo>
                      <a:pt x="212" y="159"/>
                    </a:lnTo>
                    <a:lnTo>
                      <a:pt x="184" y="192"/>
                    </a:lnTo>
                    <a:lnTo>
                      <a:pt x="0" y="33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02" name="Freeform 210">
                <a:extLst>
                  <a:ext uri="{FF2B5EF4-FFF2-40B4-BE49-F238E27FC236}">
                    <a16:creationId xmlns:a16="http://schemas.microsoft.com/office/drawing/2014/main" id="{128509D4-FEB4-4B27-9DE7-2F0B1F9FC3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4563" y="2398713"/>
                <a:ext cx="115888" cy="100013"/>
              </a:xfrm>
              <a:custGeom>
                <a:avLst/>
                <a:gdLst>
                  <a:gd name="T0" fmla="*/ 27 w 217"/>
                  <a:gd name="T1" fmla="*/ 0 h 189"/>
                  <a:gd name="T2" fmla="*/ 217 w 217"/>
                  <a:gd name="T3" fmla="*/ 155 h 189"/>
                  <a:gd name="T4" fmla="*/ 190 w 217"/>
                  <a:gd name="T5" fmla="*/ 189 h 189"/>
                  <a:gd name="T6" fmla="*/ 0 w 217"/>
                  <a:gd name="T7" fmla="*/ 35 h 189"/>
                  <a:gd name="T8" fmla="*/ 27 w 217"/>
                  <a:gd name="T9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89">
                    <a:moveTo>
                      <a:pt x="27" y="0"/>
                    </a:moveTo>
                    <a:lnTo>
                      <a:pt x="217" y="155"/>
                    </a:lnTo>
                    <a:lnTo>
                      <a:pt x="190" y="189"/>
                    </a:lnTo>
                    <a:lnTo>
                      <a:pt x="0" y="35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917" name="Group 916">
              <a:extLst>
                <a:ext uri="{FF2B5EF4-FFF2-40B4-BE49-F238E27FC236}">
                  <a16:creationId xmlns:a16="http://schemas.microsoft.com/office/drawing/2014/main" id="{452B2A85-870E-46AA-8A18-930C0C692839}"/>
                </a:ext>
              </a:extLst>
            </p:cNvPr>
            <p:cNvGrpSpPr/>
            <p:nvPr/>
          </p:nvGrpSpPr>
          <p:grpSpPr>
            <a:xfrm>
              <a:off x="6958013" y="2052638"/>
              <a:ext cx="461963" cy="434975"/>
              <a:chOff x="6958013" y="2052638"/>
              <a:chExt cx="461963" cy="434975"/>
            </a:xfrm>
            <a:grpFill/>
          </p:grpSpPr>
          <p:sp>
            <p:nvSpPr>
              <p:cNvPr id="978" name="Freeform 158">
                <a:extLst>
                  <a:ext uri="{FF2B5EF4-FFF2-40B4-BE49-F238E27FC236}">
                    <a16:creationId xmlns:a16="http://schemas.microsoft.com/office/drawing/2014/main" id="{1E2D04BE-2808-47D6-9E22-3257549890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8851" y="2382838"/>
                <a:ext cx="111125" cy="104775"/>
              </a:xfrm>
              <a:custGeom>
                <a:avLst/>
                <a:gdLst>
                  <a:gd name="T0" fmla="*/ 208 w 208"/>
                  <a:gd name="T1" fmla="*/ 32 h 197"/>
                  <a:gd name="T2" fmla="*/ 28 w 208"/>
                  <a:gd name="T3" fmla="*/ 197 h 197"/>
                  <a:gd name="T4" fmla="*/ 0 w 208"/>
                  <a:gd name="T5" fmla="*/ 165 h 197"/>
                  <a:gd name="T6" fmla="*/ 180 w 208"/>
                  <a:gd name="T7" fmla="*/ 0 h 197"/>
                  <a:gd name="T8" fmla="*/ 208 w 208"/>
                  <a:gd name="T9" fmla="*/ 32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197">
                    <a:moveTo>
                      <a:pt x="208" y="32"/>
                    </a:moveTo>
                    <a:lnTo>
                      <a:pt x="28" y="197"/>
                    </a:lnTo>
                    <a:lnTo>
                      <a:pt x="0" y="165"/>
                    </a:lnTo>
                    <a:lnTo>
                      <a:pt x="180" y="0"/>
                    </a:lnTo>
                    <a:lnTo>
                      <a:pt x="208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79" name="Freeform 159">
                <a:extLst>
                  <a:ext uri="{FF2B5EF4-FFF2-40B4-BE49-F238E27FC236}">
                    <a16:creationId xmlns:a16="http://schemas.microsoft.com/office/drawing/2014/main" id="{DC41CF76-A189-4801-9162-72B671891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0276" y="2347913"/>
                <a:ext cx="109538" cy="107950"/>
              </a:xfrm>
              <a:custGeom>
                <a:avLst/>
                <a:gdLst>
                  <a:gd name="T0" fmla="*/ 205 w 205"/>
                  <a:gd name="T1" fmla="*/ 31 h 203"/>
                  <a:gd name="T2" fmla="*/ 30 w 205"/>
                  <a:gd name="T3" fmla="*/ 203 h 203"/>
                  <a:gd name="T4" fmla="*/ 0 w 205"/>
                  <a:gd name="T5" fmla="*/ 171 h 203"/>
                  <a:gd name="T6" fmla="*/ 176 w 205"/>
                  <a:gd name="T7" fmla="*/ 0 h 203"/>
                  <a:gd name="T8" fmla="*/ 205 w 205"/>
                  <a:gd name="T9" fmla="*/ 3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5" h="203">
                    <a:moveTo>
                      <a:pt x="205" y="31"/>
                    </a:moveTo>
                    <a:lnTo>
                      <a:pt x="30" y="203"/>
                    </a:lnTo>
                    <a:lnTo>
                      <a:pt x="0" y="171"/>
                    </a:lnTo>
                    <a:lnTo>
                      <a:pt x="176" y="0"/>
                    </a:lnTo>
                    <a:lnTo>
                      <a:pt x="205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80" name="Freeform 160">
                <a:extLst>
                  <a:ext uri="{FF2B5EF4-FFF2-40B4-BE49-F238E27FC236}">
                    <a16:creationId xmlns:a16="http://schemas.microsoft.com/office/drawing/2014/main" id="{3F90EA2A-3BA1-49F5-B64F-B60978C10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3288" y="2314576"/>
                <a:ext cx="104775" cy="109538"/>
              </a:xfrm>
              <a:custGeom>
                <a:avLst/>
                <a:gdLst>
                  <a:gd name="T0" fmla="*/ 199 w 199"/>
                  <a:gd name="T1" fmla="*/ 31 h 206"/>
                  <a:gd name="T2" fmla="*/ 29 w 199"/>
                  <a:gd name="T3" fmla="*/ 206 h 206"/>
                  <a:gd name="T4" fmla="*/ 0 w 199"/>
                  <a:gd name="T5" fmla="*/ 176 h 206"/>
                  <a:gd name="T6" fmla="*/ 170 w 199"/>
                  <a:gd name="T7" fmla="*/ 0 h 206"/>
                  <a:gd name="T8" fmla="*/ 199 w 199"/>
                  <a:gd name="T9" fmla="*/ 3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9" h="206">
                    <a:moveTo>
                      <a:pt x="199" y="31"/>
                    </a:moveTo>
                    <a:lnTo>
                      <a:pt x="29" y="206"/>
                    </a:lnTo>
                    <a:lnTo>
                      <a:pt x="0" y="176"/>
                    </a:lnTo>
                    <a:lnTo>
                      <a:pt x="170" y="0"/>
                    </a:lnTo>
                    <a:lnTo>
                      <a:pt x="199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81" name="Freeform 161">
                <a:extLst>
                  <a:ext uri="{FF2B5EF4-FFF2-40B4-BE49-F238E27FC236}">
                    <a16:creationId xmlns:a16="http://schemas.microsoft.com/office/drawing/2014/main" id="{B21A7C28-B0FA-4BDA-BF05-F15311687B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3126" y="2282826"/>
                <a:ext cx="104775" cy="109538"/>
              </a:xfrm>
              <a:custGeom>
                <a:avLst/>
                <a:gdLst>
                  <a:gd name="T0" fmla="*/ 198 w 198"/>
                  <a:gd name="T1" fmla="*/ 29 h 208"/>
                  <a:gd name="T2" fmla="*/ 31 w 198"/>
                  <a:gd name="T3" fmla="*/ 208 h 208"/>
                  <a:gd name="T4" fmla="*/ 0 w 198"/>
                  <a:gd name="T5" fmla="*/ 179 h 208"/>
                  <a:gd name="T6" fmla="*/ 166 w 198"/>
                  <a:gd name="T7" fmla="*/ 0 h 208"/>
                  <a:gd name="T8" fmla="*/ 198 w 198"/>
                  <a:gd name="T9" fmla="*/ 29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208">
                    <a:moveTo>
                      <a:pt x="198" y="29"/>
                    </a:moveTo>
                    <a:lnTo>
                      <a:pt x="31" y="208"/>
                    </a:lnTo>
                    <a:lnTo>
                      <a:pt x="0" y="179"/>
                    </a:lnTo>
                    <a:lnTo>
                      <a:pt x="166" y="0"/>
                    </a:lnTo>
                    <a:lnTo>
                      <a:pt x="198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82" name="Freeform 162">
                <a:extLst>
                  <a:ext uri="{FF2B5EF4-FFF2-40B4-BE49-F238E27FC236}">
                    <a16:creationId xmlns:a16="http://schemas.microsoft.com/office/drawing/2014/main" id="{139CE205-60AF-433C-895B-143FBE2DFB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1376" y="2249488"/>
                <a:ext cx="103188" cy="112713"/>
              </a:xfrm>
              <a:custGeom>
                <a:avLst/>
                <a:gdLst>
                  <a:gd name="T0" fmla="*/ 194 w 194"/>
                  <a:gd name="T1" fmla="*/ 29 h 213"/>
                  <a:gd name="T2" fmla="*/ 32 w 194"/>
                  <a:gd name="T3" fmla="*/ 213 h 213"/>
                  <a:gd name="T4" fmla="*/ 0 w 194"/>
                  <a:gd name="T5" fmla="*/ 184 h 213"/>
                  <a:gd name="T6" fmla="*/ 162 w 194"/>
                  <a:gd name="T7" fmla="*/ 0 h 213"/>
                  <a:gd name="T8" fmla="*/ 194 w 194"/>
                  <a:gd name="T9" fmla="*/ 29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4" h="213">
                    <a:moveTo>
                      <a:pt x="194" y="29"/>
                    </a:moveTo>
                    <a:lnTo>
                      <a:pt x="32" y="213"/>
                    </a:lnTo>
                    <a:lnTo>
                      <a:pt x="0" y="184"/>
                    </a:lnTo>
                    <a:lnTo>
                      <a:pt x="162" y="0"/>
                    </a:lnTo>
                    <a:lnTo>
                      <a:pt x="194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83" name="Freeform 163">
                <a:extLst>
                  <a:ext uri="{FF2B5EF4-FFF2-40B4-BE49-F238E27FC236}">
                    <a16:creationId xmlns:a16="http://schemas.microsoft.com/office/drawing/2014/main" id="{E34EDB04-E980-4329-BE88-8704592D6A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9626" y="2219326"/>
                <a:ext cx="101600" cy="114300"/>
              </a:xfrm>
              <a:custGeom>
                <a:avLst/>
                <a:gdLst>
                  <a:gd name="T0" fmla="*/ 190 w 190"/>
                  <a:gd name="T1" fmla="*/ 29 h 217"/>
                  <a:gd name="T2" fmla="*/ 34 w 190"/>
                  <a:gd name="T3" fmla="*/ 217 h 217"/>
                  <a:gd name="T4" fmla="*/ 0 w 190"/>
                  <a:gd name="T5" fmla="*/ 189 h 217"/>
                  <a:gd name="T6" fmla="*/ 157 w 190"/>
                  <a:gd name="T7" fmla="*/ 0 h 217"/>
                  <a:gd name="T8" fmla="*/ 190 w 190"/>
                  <a:gd name="T9" fmla="*/ 29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217">
                    <a:moveTo>
                      <a:pt x="190" y="29"/>
                    </a:moveTo>
                    <a:lnTo>
                      <a:pt x="34" y="217"/>
                    </a:lnTo>
                    <a:lnTo>
                      <a:pt x="0" y="189"/>
                    </a:lnTo>
                    <a:lnTo>
                      <a:pt x="157" y="0"/>
                    </a:lnTo>
                    <a:lnTo>
                      <a:pt x="19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84" name="Freeform 164">
                <a:extLst>
                  <a:ext uri="{FF2B5EF4-FFF2-40B4-BE49-F238E27FC236}">
                    <a16:creationId xmlns:a16="http://schemas.microsoft.com/office/drawing/2014/main" id="{F2EFE033-43AF-49FF-83C7-87DF9729D4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7876" y="2189163"/>
                <a:ext cx="98425" cy="115888"/>
              </a:xfrm>
              <a:custGeom>
                <a:avLst/>
                <a:gdLst>
                  <a:gd name="T0" fmla="*/ 185 w 185"/>
                  <a:gd name="T1" fmla="*/ 27 h 219"/>
                  <a:gd name="T2" fmla="*/ 33 w 185"/>
                  <a:gd name="T3" fmla="*/ 219 h 219"/>
                  <a:gd name="T4" fmla="*/ 0 w 185"/>
                  <a:gd name="T5" fmla="*/ 192 h 219"/>
                  <a:gd name="T6" fmla="*/ 151 w 185"/>
                  <a:gd name="T7" fmla="*/ 0 h 219"/>
                  <a:gd name="T8" fmla="*/ 185 w 185"/>
                  <a:gd name="T9" fmla="*/ 27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219">
                    <a:moveTo>
                      <a:pt x="185" y="27"/>
                    </a:moveTo>
                    <a:lnTo>
                      <a:pt x="33" y="219"/>
                    </a:lnTo>
                    <a:lnTo>
                      <a:pt x="0" y="192"/>
                    </a:lnTo>
                    <a:lnTo>
                      <a:pt x="151" y="0"/>
                    </a:lnTo>
                    <a:lnTo>
                      <a:pt x="185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85" name="Freeform 165">
                <a:extLst>
                  <a:ext uri="{FF2B5EF4-FFF2-40B4-BE49-F238E27FC236}">
                    <a16:creationId xmlns:a16="http://schemas.microsoft.com/office/drawing/2014/main" id="{4FA066A4-3A16-4845-8D21-980F631211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6126" y="2160588"/>
                <a:ext cx="95250" cy="117475"/>
              </a:xfrm>
              <a:custGeom>
                <a:avLst/>
                <a:gdLst>
                  <a:gd name="T0" fmla="*/ 180 w 180"/>
                  <a:gd name="T1" fmla="*/ 25 h 222"/>
                  <a:gd name="T2" fmla="*/ 33 w 180"/>
                  <a:gd name="T3" fmla="*/ 222 h 222"/>
                  <a:gd name="T4" fmla="*/ 0 w 180"/>
                  <a:gd name="T5" fmla="*/ 196 h 222"/>
                  <a:gd name="T6" fmla="*/ 146 w 180"/>
                  <a:gd name="T7" fmla="*/ 0 h 222"/>
                  <a:gd name="T8" fmla="*/ 180 w 180"/>
                  <a:gd name="T9" fmla="*/ 25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222">
                    <a:moveTo>
                      <a:pt x="180" y="25"/>
                    </a:moveTo>
                    <a:lnTo>
                      <a:pt x="33" y="222"/>
                    </a:lnTo>
                    <a:lnTo>
                      <a:pt x="0" y="196"/>
                    </a:lnTo>
                    <a:lnTo>
                      <a:pt x="146" y="0"/>
                    </a:lnTo>
                    <a:lnTo>
                      <a:pt x="180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86" name="Freeform 166">
                <a:extLst>
                  <a:ext uri="{FF2B5EF4-FFF2-40B4-BE49-F238E27FC236}">
                    <a16:creationId xmlns:a16="http://schemas.microsoft.com/office/drawing/2014/main" id="{C0668781-FB13-42D4-A047-59C74A5F38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2788" y="2132013"/>
                <a:ext cx="92075" cy="119063"/>
              </a:xfrm>
              <a:custGeom>
                <a:avLst/>
                <a:gdLst>
                  <a:gd name="T0" fmla="*/ 176 w 176"/>
                  <a:gd name="T1" fmla="*/ 26 h 226"/>
                  <a:gd name="T2" fmla="*/ 34 w 176"/>
                  <a:gd name="T3" fmla="*/ 226 h 226"/>
                  <a:gd name="T4" fmla="*/ 0 w 176"/>
                  <a:gd name="T5" fmla="*/ 200 h 226"/>
                  <a:gd name="T6" fmla="*/ 142 w 176"/>
                  <a:gd name="T7" fmla="*/ 0 h 226"/>
                  <a:gd name="T8" fmla="*/ 176 w 176"/>
                  <a:gd name="T9" fmla="*/ 26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6" h="226">
                    <a:moveTo>
                      <a:pt x="176" y="26"/>
                    </a:moveTo>
                    <a:lnTo>
                      <a:pt x="34" y="226"/>
                    </a:lnTo>
                    <a:lnTo>
                      <a:pt x="0" y="200"/>
                    </a:lnTo>
                    <a:lnTo>
                      <a:pt x="142" y="0"/>
                    </a:lnTo>
                    <a:lnTo>
                      <a:pt x="176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87" name="Freeform 167">
                <a:extLst>
                  <a:ext uri="{FF2B5EF4-FFF2-40B4-BE49-F238E27FC236}">
                    <a16:creationId xmlns:a16="http://schemas.microsoft.com/office/drawing/2014/main" id="{688487D7-2121-4947-A9EA-D0583F577C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7863" y="2105026"/>
                <a:ext cx="90488" cy="120650"/>
              </a:xfrm>
              <a:custGeom>
                <a:avLst/>
                <a:gdLst>
                  <a:gd name="T0" fmla="*/ 172 w 172"/>
                  <a:gd name="T1" fmla="*/ 24 h 228"/>
                  <a:gd name="T2" fmla="*/ 35 w 172"/>
                  <a:gd name="T3" fmla="*/ 228 h 228"/>
                  <a:gd name="T4" fmla="*/ 0 w 172"/>
                  <a:gd name="T5" fmla="*/ 204 h 228"/>
                  <a:gd name="T6" fmla="*/ 136 w 172"/>
                  <a:gd name="T7" fmla="*/ 0 h 228"/>
                  <a:gd name="T8" fmla="*/ 172 w 172"/>
                  <a:gd name="T9" fmla="*/ 24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2" h="228">
                    <a:moveTo>
                      <a:pt x="172" y="24"/>
                    </a:moveTo>
                    <a:lnTo>
                      <a:pt x="35" y="228"/>
                    </a:lnTo>
                    <a:lnTo>
                      <a:pt x="0" y="204"/>
                    </a:lnTo>
                    <a:lnTo>
                      <a:pt x="136" y="0"/>
                    </a:lnTo>
                    <a:lnTo>
                      <a:pt x="172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88" name="Freeform 168">
                <a:extLst>
                  <a:ext uri="{FF2B5EF4-FFF2-40B4-BE49-F238E27FC236}">
                    <a16:creationId xmlns:a16="http://schemas.microsoft.com/office/drawing/2014/main" id="{4FB3ECE7-B087-4FFC-BBF8-EA299DA2DB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2938" y="2078038"/>
                <a:ext cx="88900" cy="122238"/>
              </a:xfrm>
              <a:custGeom>
                <a:avLst/>
                <a:gdLst>
                  <a:gd name="T0" fmla="*/ 167 w 167"/>
                  <a:gd name="T1" fmla="*/ 23 h 230"/>
                  <a:gd name="T2" fmla="*/ 36 w 167"/>
                  <a:gd name="T3" fmla="*/ 230 h 230"/>
                  <a:gd name="T4" fmla="*/ 0 w 167"/>
                  <a:gd name="T5" fmla="*/ 207 h 230"/>
                  <a:gd name="T6" fmla="*/ 131 w 167"/>
                  <a:gd name="T7" fmla="*/ 0 h 230"/>
                  <a:gd name="T8" fmla="*/ 167 w 167"/>
                  <a:gd name="T9" fmla="*/ 23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230">
                    <a:moveTo>
                      <a:pt x="167" y="23"/>
                    </a:moveTo>
                    <a:lnTo>
                      <a:pt x="36" y="230"/>
                    </a:lnTo>
                    <a:lnTo>
                      <a:pt x="0" y="207"/>
                    </a:lnTo>
                    <a:lnTo>
                      <a:pt x="131" y="0"/>
                    </a:lnTo>
                    <a:lnTo>
                      <a:pt x="167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89" name="Freeform 169">
                <a:extLst>
                  <a:ext uri="{FF2B5EF4-FFF2-40B4-BE49-F238E27FC236}">
                    <a16:creationId xmlns:a16="http://schemas.microsoft.com/office/drawing/2014/main" id="{DD3A424C-20FF-4B7A-AE96-097B71F986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8013" y="2052638"/>
                <a:ext cx="85725" cy="123825"/>
              </a:xfrm>
              <a:custGeom>
                <a:avLst/>
                <a:gdLst>
                  <a:gd name="T0" fmla="*/ 163 w 163"/>
                  <a:gd name="T1" fmla="*/ 22 h 234"/>
                  <a:gd name="T2" fmla="*/ 37 w 163"/>
                  <a:gd name="T3" fmla="*/ 234 h 234"/>
                  <a:gd name="T4" fmla="*/ 0 w 163"/>
                  <a:gd name="T5" fmla="*/ 211 h 234"/>
                  <a:gd name="T6" fmla="*/ 127 w 163"/>
                  <a:gd name="T7" fmla="*/ 0 h 234"/>
                  <a:gd name="T8" fmla="*/ 163 w 163"/>
                  <a:gd name="T9" fmla="*/ 22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3" h="234">
                    <a:moveTo>
                      <a:pt x="163" y="22"/>
                    </a:moveTo>
                    <a:lnTo>
                      <a:pt x="37" y="234"/>
                    </a:lnTo>
                    <a:lnTo>
                      <a:pt x="0" y="211"/>
                    </a:lnTo>
                    <a:lnTo>
                      <a:pt x="127" y="0"/>
                    </a:lnTo>
                    <a:lnTo>
                      <a:pt x="163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918" name="Group 917">
              <a:extLst>
                <a:ext uri="{FF2B5EF4-FFF2-40B4-BE49-F238E27FC236}">
                  <a16:creationId xmlns:a16="http://schemas.microsoft.com/office/drawing/2014/main" id="{EAFCABD0-9933-43A8-8179-4A29DA7B901E}"/>
                </a:ext>
              </a:extLst>
            </p:cNvPr>
            <p:cNvGrpSpPr/>
            <p:nvPr/>
          </p:nvGrpSpPr>
          <p:grpSpPr>
            <a:xfrm>
              <a:off x="5845176" y="1779588"/>
              <a:ext cx="566737" cy="157163"/>
              <a:chOff x="5845176" y="1779588"/>
              <a:chExt cx="566737" cy="157163"/>
            </a:xfrm>
            <a:grpFill/>
          </p:grpSpPr>
          <p:sp>
            <p:nvSpPr>
              <p:cNvPr id="965" name="Freeform 184">
                <a:extLst>
                  <a:ext uri="{FF2B5EF4-FFF2-40B4-BE49-F238E27FC236}">
                    <a16:creationId xmlns:a16="http://schemas.microsoft.com/office/drawing/2014/main" id="{9685ECD0-837A-49C5-9BDD-6B33781C39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0638" y="1804988"/>
                <a:ext cx="41275" cy="131763"/>
              </a:xfrm>
              <a:custGeom>
                <a:avLst/>
                <a:gdLst>
                  <a:gd name="T0" fmla="*/ 79 w 79"/>
                  <a:gd name="T1" fmla="*/ 7 h 251"/>
                  <a:gd name="T2" fmla="*/ 42 w 79"/>
                  <a:gd name="T3" fmla="*/ 251 h 251"/>
                  <a:gd name="T4" fmla="*/ 0 w 79"/>
                  <a:gd name="T5" fmla="*/ 245 h 251"/>
                  <a:gd name="T6" fmla="*/ 37 w 79"/>
                  <a:gd name="T7" fmla="*/ 0 h 251"/>
                  <a:gd name="T8" fmla="*/ 79 w 79"/>
                  <a:gd name="T9" fmla="*/ 7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" h="251">
                    <a:moveTo>
                      <a:pt x="79" y="7"/>
                    </a:moveTo>
                    <a:lnTo>
                      <a:pt x="42" y="251"/>
                    </a:lnTo>
                    <a:lnTo>
                      <a:pt x="0" y="245"/>
                    </a:lnTo>
                    <a:lnTo>
                      <a:pt x="37" y="0"/>
                    </a:lnTo>
                    <a:lnTo>
                      <a:pt x="79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66" name="Freeform 185">
                <a:extLst>
                  <a:ext uri="{FF2B5EF4-FFF2-40B4-BE49-F238E27FC236}">
                    <a16:creationId xmlns:a16="http://schemas.microsoft.com/office/drawing/2014/main" id="{A2B217C2-8E29-4F51-99F3-62F8128402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7776" y="1797051"/>
                <a:ext cx="39688" cy="133350"/>
              </a:xfrm>
              <a:custGeom>
                <a:avLst/>
                <a:gdLst>
                  <a:gd name="T0" fmla="*/ 73 w 73"/>
                  <a:gd name="T1" fmla="*/ 6 h 250"/>
                  <a:gd name="T2" fmla="*/ 44 w 73"/>
                  <a:gd name="T3" fmla="*/ 250 h 250"/>
                  <a:gd name="T4" fmla="*/ 0 w 73"/>
                  <a:gd name="T5" fmla="*/ 244 h 250"/>
                  <a:gd name="T6" fmla="*/ 31 w 73"/>
                  <a:gd name="T7" fmla="*/ 0 h 250"/>
                  <a:gd name="T8" fmla="*/ 73 w 73"/>
                  <a:gd name="T9" fmla="*/ 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250">
                    <a:moveTo>
                      <a:pt x="73" y="6"/>
                    </a:moveTo>
                    <a:lnTo>
                      <a:pt x="44" y="250"/>
                    </a:lnTo>
                    <a:lnTo>
                      <a:pt x="0" y="244"/>
                    </a:lnTo>
                    <a:lnTo>
                      <a:pt x="31" y="0"/>
                    </a:lnTo>
                    <a:lnTo>
                      <a:pt x="73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67" name="Freeform 186">
                <a:extLst>
                  <a:ext uri="{FF2B5EF4-FFF2-40B4-BE49-F238E27FC236}">
                    <a16:creationId xmlns:a16="http://schemas.microsoft.com/office/drawing/2014/main" id="{B1475F85-D84D-4B43-922B-B6CFF74EF0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501" y="1792288"/>
                <a:ext cx="36513" cy="131763"/>
              </a:xfrm>
              <a:custGeom>
                <a:avLst/>
                <a:gdLst>
                  <a:gd name="T0" fmla="*/ 67 w 67"/>
                  <a:gd name="T1" fmla="*/ 4 h 249"/>
                  <a:gd name="T2" fmla="*/ 42 w 67"/>
                  <a:gd name="T3" fmla="*/ 249 h 249"/>
                  <a:gd name="T4" fmla="*/ 0 w 67"/>
                  <a:gd name="T5" fmla="*/ 245 h 249"/>
                  <a:gd name="T6" fmla="*/ 24 w 67"/>
                  <a:gd name="T7" fmla="*/ 0 h 249"/>
                  <a:gd name="T8" fmla="*/ 67 w 67"/>
                  <a:gd name="T9" fmla="*/ 4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249">
                    <a:moveTo>
                      <a:pt x="67" y="4"/>
                    </a:moveTo>
                    <a:lnTo>
                      <a:pt x="42" y="249"/>
                    </a:lnTo>
                    <a:lnTo>
                      <a:pt x="0" y="245"/>
                    </a:lnTo>
                    <a:lnTo>
                      <a:pt x="24" y="0"/>
                    </a:lnTo>
                    <a:lnTo>
                      <a:pt x="67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68" name="Freeform 187">
                <a:extLst>
                  <a:ext uri="{FF2B5EF4-FFF2-40B4-BE49-F238E27FC236}">
                    <a16:creationId xmlns:a16="http://schemas.microsoft.com/office/drawing/2014/main" id="{68FA3D54-6B12-4EC2-AED7-FEC8A78465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5226" y="1785938"/>
                <a:ext cx="31750" cy="133350"/>
              </a:xfrm>
              <a:custGeom>
                <a:avLst/>
                <a:gdLst>
                  <a:gd name="T0" fmla="*/ 61 w 61"/>
                  <a:gd name="T1" fmla="*/ 3 h 250"/>
                  <a:gd name="T2" fmla="*/ 43 w 61"/>
                  <a:gd name="T3" fmla="*/ 250 h 250"/>
                  <a:gd name="T4" fmla="*/ 0 w 61"/>
                  <a:gd name="T5" fmla="*/ 246 h 250"/>
                  <a:gd name="T6" fmla="*/ 18 w 61"/>
                  <a:gd name="T7" fmla="*/ 0 h 250"/>
                  <a:gd name="T8" fmla="*/ 61 w 61"/>
                  <a:gd name="T9" fmla="*/ 3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250">
                    <a:moveTo>
                      <a:pt x="61" y="3"/>
                    </a:moveTo>
                    <a:lnTo>
                      <a:pt x="43" y="250"/>
                    </a:lnTo>
                    <a:lnTo>
                      <a:pt x="0" y="246"/>
                    </a:lnTo>
                    <a:lnTo>
                      <a:pt x="18" y="0"/>
                    </a:lnTo>
                    <a:lnTo>
                      <a:pt x="61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69" name="Freeform 188">
                <a:extLst>
                  <a:ext uri="{FF2B5EF4-FFF2-40B4-BE49-F238E27FC236}">
                    <a16:creationId xmlns:a16="http://schemas.microsoft.com/office/drawing/2014/main" id="{668932D6-948A-48DC-AA8C-929D1DD85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2363" y="1782763"/>
                <a:ext cx="28575" cy="131763"/>
              </a:xfrm>
              <a:custGeom>
                <a:avLst/>
                <a:gdLst>
                  <a:gd name="T0" fmla="*/ 54 w 54"/>
                  <a:gd name="T1" fmla="*/ 3 h 249"/>
                  <a:gd name="T2" fmla="*/ 42 w 54"/>
                  <a:gd name="T3" fmla="*/ 249 h 249"/>
                  <a:gd name="T4" fmla="*/ 0 w 54"/>
                  <a:gd name="T5" fmla="*/ 246 h 249"/>
                  <a:gd name="T6" fmla="*/ 12 w 54"/>
                  <a:gd name="T7" fmla="*/ 0 h 249"/>
                  <a:gd name="T8" fmla="*/ 54 w 54"/>
                  <a:gd name="T9" fmla="*/ 3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249">
                    <a:moveTo>
                      <a:pt x="54" y="3"/>
                    </a:moveTo>
                    <a:lnTo>
                      <a:pt x="42" y="249"/>
                    </a:lnTo>
                    <a:lnTo>
                      <a:pt x="0" y="246"/>
                    </a:lnTo>
                    <a:lnTo>
                      <a:pt x="12" y="0"/>
                    </a:lnTo>
                    <a:lnTo>
                      <a:pt x="5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70" name="Freeform 189">
                <a:extLst>
                  <a:ext uri="{FF2B5EF4-FFF2-40B4-BE49-F238E27FC236}">
                    <a16:creationId xmlns:a16="http://schemas.microsoft.com/office/drawing/2014/main" id="{E404209E-6BBC-4160-AFC9-CB866EB9E8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9501" y="1779588"/>
                <a:ext cx="26988" cy="131763"/>
              </a:xfrm>
              <a:custGeom>
                <a:avLst/>
                <a:gdLst>
                  <a:gd name="T0" fmla="*/ 49 w 49"/>
                  <a:gd name="T1" fmla="*/ 1 h 249"/>
                  <a:gd name="T2" fmla="*/ 44 w 49"/>
                  <a:gd name="T3" fmla="*/ 249 h 249"/>
                  <a:gd name="T4" fmla="*/ 0 w 49"/>
                  <a:gd name="T5" fmla="*/ 247 h 249"/>
                  <a:gd name="T6" fmla="*/ 5 w 49"/>
                  <a:gd name="T7" fmla="*/ 0 h 249"/>
                  <a:gd name="T8" fmla="*/ 49 w 49"/>
                  <a:gd name="T9" fmla="*/ 1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249">
                    <a:moveTo>
                      <a:pt x="49" y="1"/>
                    </a:moveTo>
                    <a:lnTo>
                      <a:pt x="44" y="249"/>
                    </a:lnTo>
                    <a:lnTo>
                      <a:pt x="0" y="247"/>
                    </a:lnTo>
                    <a:lnTo>
                      <a:pt x="5" y="0"/>
                    </a:lnTo>
                    <a:lnTo>
                      <a:pt x="49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71" name="Freeform 190">
                <a:extLst>
                  <a:ext uri="{FF2B5EF4-FFF2-40B4-BE49-F238E27FC236}">
                    <a16:creationId xmlns:a16="http://schemas.microsoft.com/office/drawing/2014/main" id="{88560F42-C034-435A-8761-F7E40837F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8226" y="1779588"/>
                <a:ext cx="22225" cy="130175"/>
              </a:xfrm>
              <a:custGeom>
                <a:avLst/>
                <a:gdLst>
                  <a:gd name="T0" fmla="*/ 43 w 43"/>
                  <a:gd name="T1" fmla="*/ 0 h 247"/>
                  <a:gd name="T2" fmla="*/ 43 w 43"/>
                  <a:gd name="T3" fmla="*/ 247 h 247"/>
                  <a:gd name="T4" fmla="*/ 1 w 43"/>
                  <a:gd name="T5" fmla="*/ 247 h 247"/>
                  <a:gd name="T6" fmla="*/ 0 w 43"/>
                  <a:gd name="T7" fmla="*/ 1 h 247"/>
                  <a:gd name="T8" fmla="*/ 43 w 43"/>
                  <a:gd name="T9" fmla="*/ 0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47">
                    <a:moveTo>
                      <a:pt x="43" y="0"/>
                    </a:moveTo>
                    <a:lnTo>
                      <a:pt x="43" y="247"/>
                    </a:lnTo>
                    <a:lnTo>
                      <a:pt x="1" y="247"/>
                    </a:lnTo>
                    <a:lnTo>
                      <a:pt x="0" y="1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72" name="Freeform 191">
                <a:extLst>
                  <a:ext uri="{FF2B5EF4-FFF2-40B4-BE49-F238E27FC236}">
                    <a16:creationId xmlns:a16="http://schemas.microsoft.com/office/drawing/2014/main" id="{CF0342A7-07DF-4898-9648-22DD711DB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2188" y="1779588"/>
                <a:ext cx="26988" cy="130175"/>
              </a:xfrm>
              <a:custGeom>
                <a:avLst/>
                <a:gdLst>
                  <a:gd name="T0" fmla="*/ 42 w 50"/>
                  <a:gd name="T1" fmla="*/ 0 h 247"/>
                  <a:gd name="T2" fmla="*/ 50 w 50"/>
                  <a:gd name="T3" fmla="*/ 246 h 247"/>
                  <a:gd name="T4" fmla="*/ 7 w 50"/>
                  <a:gd name="T5" fmla="*/ 247 h 247"/>
                  <a:gd name="T6" fmla="*/ 0 w 50"/>
                  <a:gd name="T7" fmla="*/ 1 h 247"/>
                  <a:gd name="T8" fmla="*/ 42 w 50"/>
                  <a:gd name="T9" fmla="*/ 0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247">
                    <a:moveTo>
                      <a:pt x="42" y="0"/>
                    </a:moveTo>
                    <a:lnTo>
                      <a:pt x="50" y="246"/>
                    </a:lnTo>
                    <a:lnTo>
                      <a:pt x="7" y="247"/>
                    </a:lnTo>
                    <a:lnTo>
                      <a:pt x="0" y="1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73" name="Freeform 192">
                <a:extLst>
                  <a:ext uri="{FF2B5EF4-FFF2-40B4-BE49-F238E27FC236}">
                    <a16:creationId xmlns:a16="http://schemas.microsoft.com/office/drawing/2014/main" id="{C860B34A-8CAB-4865-B4DE-F38EB27DC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151" y="1779588"/>
                <a:ext cx="30163" cy="130175"/>
              </a:xfrm>
              <a:custGeom>
                <a:avLst/>
                <a:gdLst>
                  <a:gd name="T0" fmla="*/ 42 w 56"/>
                  <a:gd name="T1" fmla="*/ 0 h 248"/>
                  <a:gd name="T2" fmla="*/ 56 w 56"/>
                  <a:gd name="T3" fmla="*/ 247 h 248"/>
                  <a:gd name="T4" fmla="*/ 14 w 56"/>
                  <a:gd name="T5" fmla="*/ 248 h 248"/>
                  <a:gd name="T6" fmla="*/ 0 w 56"/>
                  <a:gd name="T7" fmla="*/ 2 h 248"/>
                  <a:gd name="T8" fmla="*/ 42 w 56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248">
                    <a:moveTo>
                      <a:pt x="42" y="0"/>
                    </a:moveTo>
                    <a:lnTo>
                      <a:pt x="56" y="247"/>
                    </a:lnTo>
                    <a:lnTo>
                      <a:pt x="14" y="248"/>
                    </a:lnTo>
                    <a:lnTo>
                      <a:pt x="0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74" name="Freeform 193">
                <a:extLst>
                  <a:ext uri="{FF2B5EF4-FFF2-40B4-BE49-F238E27FC236}">
                    <a16:creationId xmlns:a16="http://schemas.microsoft.com/office/drawing/2014/main" id="{DC9C288F-6DCD-4EE0-92B0-282D87BB8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1701" y="1781176"/>
                <a:ext cx="33338" cy="131763"/>
              </a:xfrm>
              <a:custGeom>
                <a:avLst/>
                <a:gdLst>
                  <a:gd name="T0" fmla="*/ 42 w 63"/>
                  <a:gd name="T1" fmla="*/ 0 h 250"/>
                  <a:gd name="T2" fmla="*/ 63 w 63"/>
                  <a:gd name="T3" fmla="*/ 246 h 250"/>
                  <a:gd name="T4" fmla="*/ 19 w 63"/>
                  <a:gd name="T5" fmla="*/ 250 h 250"/>
                  <a:gd name="T6" fmla="*/ 0 w 63"/>
                  <a:gd name="T7" fmla="*/ 4 h 250"/>
                  <a:gd name="T8" fmla="*/ 42 w 63"/>
                  <a:gd name="T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250">
                    <a:moveTo>
                      <a:pt x="42" y="0"/>
                    </a:moveTo>
                    <a:lnTo>
                      <a:pt x="63" y="246"/>
                    </a:lnTo>
                    <a:lnTo>
                      <a:pt x="19" y="250"/>
                    </a:lnTo>
                    <a:lnTo>
                      <a:pt x="0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75" name="Freeform 194">
                <a:extLst>
                  <a:ext uri="{FF2B5EF4-FFF2-40B4-BE49-F238E27FC236}">
                    <a16:creationId xmlns:a16="http://schemas.microsoft.com/office/drawing/2014/main" id="{A7A26DEF-99B9-413B-9D04-9959FB65A2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5663" y="1784351"/>
                <a:ext cx="36513" cy="131763"/>
              </a:xfrm>
              <a:custGeom>
                <a:avLst/>
                <a:gdLst>
                  <a:gd name="T0" fmla="*/ 42 w 68"/>
                  <a:gd name="T1" fmla="*/ 0 h 250"/>
                  <a:gd name="T2" fmla="*/ 68 w 68"/>
                  <a:gd name="T3" fmla="*/ 245 h 250"/>
                  <a:gd name="T4" fmla="*/ 26 w 68"/>
                  <a:gd name="T5" fmla="*/ 250 h 250"/>
                  <a:gd name="T6" fmla="*/ 0 w 68"/>
                  <a:gd name="T7" fmla="*/ 4 h 250"/>
                  <a:gd name="T8" fmla="*/ 42 w 68"/>
                  <a:gd name="T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250">
                    <a:moveTo>
                      <a:pt x="42" y="0"/>
                    </a:moveTo>
                    <a:lnTo>
                      <a:pt x="68" y="245"/>
                    </a:lnTo>
                    <a:lnTo>
                      <a:pt x="26" y="250"/>
                    </a:lnTo>
                    <a:lnTo>
                      <a:pt x="0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76" name="Freeform 195">
                <a:extLst>
                  <a:ext uri="{FF2B5EF4-FFF2-40B4-BE49-F238E27FC236}">
                    <a16:creationId xmlns:a16="http://schemas.microsoft.com/office/drawing/2014/main" id="{962103ED-BD36-4F65-BEDD-09E396769A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9626" y="1787526"/>
                <a:ext cx="39688" cy="133350"/>
              </a:xfrm>
              <a:custGeom>
                <a:avLst/>
                <a:gdLst>
                  <a:gd name="T0" fmla="*/ 43 w 75"/>
                  <a:gd name="T1" fmla="*/ 0 h 250"/>
                  <a:gd name="T2" fmla="*/ 75 w 75"/>
                  <a:gd name="T3" fmla="*/ 245 h 250"/>
                  <a:gd name="T4" fmla="*/ 32 w 75"/>
                  <a:gd name="T5" fmla="*/ 250 h 250"/>
                  <a:gd name="T6" fmla="*/ 0 w 75"/>
                  <a:gd name="T7" fmla="*/ 6 h 250"/>
                  <a:gd name="T8" fmla="*/ 43 w 75"/>
                  <a:gd name="T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250">
                    <a:moveTo>
                      <a:pt x="43" y="0"/>
                    </a:moveTo>
                    <a:lnTo>
                      <a:pt x="75" y="245"/>
                    </a:lnTo>
                    <a:lnTo>
                      <a:pt x="32" y="250"/>
                    </a:lnTo>
                    <a:lnTo>
                      <a:pt x="0" y="6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77" name="Freeform 196">
                <a:extLst>
                  <a:ext uri="{FF2B5EF4-FFF2-40B4-BE49-F238E27FC236}">
                    <a16:creationId xmlns:a16="http://schemas.microsoft.com/office/drawing/2014/main" id="{8FEA4FFC-80C4-4652-A759-C3806DC60C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5176" y="1793876"/>
                <a:ext cx="42863" cy="131763"/>
              </a:xfrm>
              <a:custGeom>
                <a:avLst/>
                <a:gdLst>
                  <a:gd name="T0" fmla="*/ 43 w 81"/>
                  <a:gd name="T1" fmla="*/ 0 h 250"/>
                  <a:gd name="T2" fmla="*/ 81 w 81"/>
                  <a:gd name="T3" fmla="*/ 243 h 250"/>
                  <a:gd name="T4" fmla="*/ 39 w 81"/>
                  <a:gd name="T5" fmla="*/ 250 h 250"/>
                  <a:gd name="T6" fmla="*/ 0 w 81"/>
                  <a:gd name="T7" fmla="*/ 6 h 250"/>
                  <a:gd name="T8" fmla="*/ 43 w 81"/>
                  <a:gd name="T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250">
                    <a:moveTo>
                      <a:pt x="43" y="0"/>
                    </a:moveTo>
                    <a:lnTo>
                      <a:pt x="81" y="243"/>
                    </a:lnTo>
                    <a:lnTo>
                      <a:pt x="39" y="250"/>
                    </a:lnTo>
                    <a:lnTo>
                      <a:pt x="0" y="6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919" name="Group 918">
              <a:extLst>
                <a:ext uri="{FF2B5EF4-FFF2-40B4-BE49-F238E27FC236}">
                  <a16:creationId xmlns:a16="http://schemas.microsoft.com/office/drawing/2014/main" id="{21FD98FB-9051-499E-96E6-3C8576F57F58}"/>
                </a:ext>
              </a:extLst>
            </p:cNvPr>
            <p:cNvGrpSpPr/>
            <p:nvPr/>
          </p:nvGrpSpPr>
          <p:grpSpPr>
            <a:xfrm>
              <a:off x="6384926" y="4635501"/>
              <a:ext cx="1019175" cy="657225"/>
              <a:chOff x="6384926" y="4635501"/>
              <a:chExt cx="1019175" cy="657225"/>
            </a:xfrm>
            <a:grpFill/>
          </p:grpSpPr>
          <p:sp>
            <p:nvSpPr>
              <p:cNvPr id="942" name="Freeform 94">
                <a:extLst>
                  <a:ext uri="{FF2B5EF4-FFF2-40B4-BE49-F238E27FC236}">
                    <a16:creationId xmlns:a16="http://schemas.microsoft.com/office/drawing/2014/main" id="{8FDD80D4-6023-4FDB-BD12-513D54BDDE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4926" y="5160963"/>
                <a:ext cx="49213" cy="131763"/>
              </a:xfrm>
              <a:custGeom>
                <a:avLst/>
                <a:gdLst>
                  <a:gd name="T0" fmla="*/ 52 w 94"/>
                  <a:gd name="T1" fmla="*/ 250 h 250"/>
                  <a:gd name="T2" fmla="*/ 0 w 94"/>
                  <a:gd name="T3" fmla="*/ 9 h 250"/>
                  <a:gd name="T4" fmla="*/ 41 w 94"/>
                  <a:gd name="T5" fmla="*/ 0 h 250"/>
                  <a:gd name="T6" fmla="*/ 94 w 94"/>
                  <a:gd name="T7" fmla="*/ 241 h 250"/>
                  <a:gd name="T8" fmla="*/ 52 w 94"/>
                  <a:gd name="T9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250">
                    <a:moveTo>
                      <a:pt x="52" y="250"/>
                    </a:moveTo>
                    <a:lnTo>
                      <a:pt x="0" y="9"/>
                    </a:lnTo>
                    <a:lnTo>
                      <a:pt x="41" y="0"/>
                    </a:lnTo>
                    <a:lnTo>
                      <a:pt x="94" y="241"/>
                    </a:lnTo>
                    <a:lnTo>
                      <a:pt x="52" y="2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43" name="Freeform 95">
                <a:extLst>
                  <a:ext uri="{FF2B5EF4-FFF2-40B4-BE49-F238E27FC236}">
                    <a16:creationId xmlns:a16="http://schemas.microsoft.com/office/drawing/2014/main" id="{27857B39-A761-4C68-B74A-F31F1FE4C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6201" y="5153026"/>
                <a:ext cx="52388" cy="131763"/>
              </a:xfrm>
              <a:custGeom>
                <a:avLst/>
                <a:gdLst>
                  <a:gd name="T0" fmla="*/ 57 w 98"/>
                  <a:gd name="T1" fmla="*/ 249 h 249"/>
                  <a:gd name="T2" fmla="*/ 0 w 98"/>
                  <a:gd name="T3" fmla="*/ 10 h 249"/>
                  <a:gd name="T4" fmla="*/ 41 w 98"/>
                  <a:gd name="T5" fmla="*/ 0 h 249"/>
                  <a:gd name="T6" fmla="*/ 98 w 98"/>
                  <a:gd name="T7" fmla="*/ 239 h 249"/>
                  <a:gd name="T8" fmla="*/ 57 w 98"/>
                  <a:gd name="T9" fmla="*/ 249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8" h="249">
                    <a:moveTo>
                      <a:pt x="57" y="249"/>
                    </a:moveTo>
                    <a:lnTo>
                      <a:pt x="0" y="10"/>
                    </a:lnTo>
                    <a:lnTo>
                      <a:pt x="41" y="0"/>
                    </a:lnTo>
                    <a:lnTo>
                      <a:pt x="98" y="239"/>
                    </a:lnTo>
                    <a:lnTo>
                      <a:pt x="57" y="2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44" name="Freeform 96">
                <a:extLst>
                  <a:ext uri="{FF2B5EF4-FFF2-40B4-BE49-F238E27FC236}">
                    <a16:creationId xmlns:a16="http://schemas.microsoft.com/office/drawing/2014/main" id="{A3DD65D8-0C49-4CC5-B096-28198F6F06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7476" y="5141913"/>
                <a:ext cx="55563" cy="131763"/>
              </a:xfrm>
              <a:custGeom>
                <a:avLst/>
                <a:gdLst>
                  <a:gd name="T0" fmla="*/ 64 w 105"/>
                  <a:gd name="T1" fmla="*/ 249 h 249"/>
                  <a:gd name="T2" fmla="*/ 0 w 105"/>
                  <a:gd name="T3" fmla="*/ 12 h 249"/>
                  <a:gd name="T4" fmla="*/ 41 w 105"/>
                  <a:gd name="T5" fmla="*/ 0 h 249"/>
                  <a:gd name="T6" fmla="*/ 105 w 105"/>
                  <a:gd name="T7" fmla="*/ 239 h 249"/>
                  <a:gd name="T8" fmla="*/ 64 w 105"/>
                  <a:gd name="T9" fmla="*/ 249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" h="249">
                    <a:moveTo>
                      <a:pt x="64" y="249"/>
                    </a:moveTo>
                    <a:lnTo>
                      <a:pt x="0" y="12"/>
                    </a:lnTo>
                    <a:lnTo>
                      <a:pt x="41" y="0"/>
                    </a:lnTo>
                    <a:lnTo>
                      <a:pt x="105" y="239"/>
                    </a:lnTo>
                    <a:lnTo>
                      <a:pt x="64" y="2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45" name="Freeform 97">
                <a:extLst>
                  <a:ext uri="{FF2B5EF4-FFF2-40B4-BE49-F238E27FC236}">
                    <a16:creationId xmlns:a16="http://schemas.microsoft.com/office/drawing/2014/main" id="{E86E7D15-108D-46F6-847E-972BB66075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8751" y="5130801"/>
                <a:ext cx="58738" cy="131763"/>
              </a:xfrm>
              <a:custGeom>
                <a:avLst/>
                <a:gdLst>
                  <a:gd name="T0" fmla="*/ 70 w 111"/>
                  <a:gd name="T1" fmla="*/ 248 h 248"/>
                  <a:gd name="T2" fmla="*/ 0 w 111"/>
                  <a:gd name="T3" fmla="*/ 11 h 248"/>
                  <a:gd name="T4" fmla="*/ 41 w 111"/>
                  <a:gd name="T5" fmla="*/ 0 h 248"/>
                  <a:gd name="T6" fmla="*/ 111 w 111"/>
                  <a:gd name="T7" fmla="*/ 236 h 248"/>
                  <a:gd name="T8" fmla="*/ 70 w 111"/>
                  <a:gd name="T9" fmla="*/ 248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70" y="248"/>
                    </a:moveTo>
                    <a:lnTo>
                      <a:pt x="0" y="11"/>
                    </a:lnTo>
                    <a:lnTo>
                      <a:pt x="41" y="0"/>
                    </a:lnTo>
                    <a:lnTo>
                      <a:pt x="111" y="236"/>
                    </a:lnTo>
                    <a:lnTo>
                      <a:pt x="70" y="2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46" name="Freeform 98">
                <a:extLst>
                  <a:ext uri="{FF2B5EF4-FFF2-40B4-BE49-F238E27FC236}">
                    <a16:creationId xmlns:a16="http://schemas.microsoft.com/office/drawing/2014/main" id="{3BED65FD-69F1-4064-A159-2FD29733F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8438" y="5119688"/>
                <a:ext cx="61913" cy="130175"/>
              </a:xfrm>
              <a:custGeom>
                <a:avLst/>
                <a:gdLst>
                  <a:gd name="T0" fmla="*/ 75 w 116"/>
                  <a:gd name="T1" fmla="*/ 247 h 247"/>
                  <a:gd name="T2" fmla="*/ 0 w 116"/>
                  <a:gd name="T3" fmla="*/ 13 h 247"/>
                  <a:gd name="T4" fmla="*/ 41 w 116"/>
                  <a:gd name="T5" fmla="*/ 0 h 247"/>
                  <a:gd name="T6" fmla="*/ 116 w 116"/>
                  <a:gd name="T7" fmla="*/ 233 h 247"/>
                  <a:gd name="T8" fmla="*/ 75 w 116"/>
                  <a:gd name="T9" fmla="*/ 24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247">
                    <a:moveTo>
                      <a:pt x="75" y="247"/>
                    </a:moveTo>
                    <a:lnTo>
                      <a:pt x="0" y="13"/>
                    </a:lnTo>
                    <a:lnTo>
                      <a:pt x="41" y="0"/>
                    </a:lnTo>
                    <a:lnTo>
                      <a:pt x="116" y="233"/>
                    </a:lnTo>
                    <a:lnTo>
                      <a:pt x="75" y="2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47" name="Freeform 99">
                <a:extLst>
                  <a:ext uri="{FF2B5EF4-FFF2-40B4-BE49-F238E27FC236}">
                    <a16:creationId xmlns:a16="http://schemas.microsoft.com/office/drawing/2014/main" id="{EEF76BEF-0FFA-4E8D-934C-3CAFBB41E8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5105401"/>
                <a:ext cx="63500" cy="130175"/>
              </a:xfrm>
              <a:custGeom>
                <a:avLst/>
                <a:gdLst>
                  <a:gd name="T0" fmla="*/ 82 w 122"/>
                  <a:gd name="T1" fmla="*/ 247 h 247"/>
                  <a:gd name="T2" fmla="*/ 0 w 122"/>
                  <a:gd name="T3" fmla="*/ 16 h 247"/>
                  <a:gd name="T4" fmla="*/ 40 w 122"/>
                  <a:gd name="T5" fmla="*/ 0 h 247"/>
                  <a:gd name="T6" fmla="*/ 122 w 122"/>
                  <a:gd name="T7" fmla="*/ 232 h 247"/>
                  <a:gd name="T8" fmla="*/ 82 w 122"/>
                  <a:gd name="T9" fmla="*/ 24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247">
                    <a:moveTo>
                      <a:pt x="82" y="247"/>
                    </a:moveTo>
                    <a:lnTo>
                      <a:pt x="0" y="16"/>
                    </a:lnTo>
                    <a:lnTo>
                      <a:pt x="40" y="0"/>
                    </a:lnTo>
                    <a:lnTo>
                      <a:pt x="122" y="232"/>
                    </a:lnTo>
                    <a:lnTo>
                      <a:pt x="82" y="2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48" name="Freeform 100">
                <a:extLst>
                  <a:ext uri="{FF2B5EF4-FFF2-40B4-BE49-F238E27FC236}">
                    <a16:creationId xmlns:a16="http://schemas.microsoft.com/office/drawing/2014/main" id="{85D1BBFA-15A6-4E50-A53A-2C0EB0B44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9401" y="5091113"/>
                <a:ext cx="68263" cy="130175"/>
              </a:xfrm>
              <a:custGeom>
                <a:avLst/>
                <a:gdLst>
                  <a:gd name="T0" fmla="*/ 87 w 128"/>
                  <a:gd name="T1" fmla="*/ 246 h 246"/>
                  <a:gd name="T2" fmla="*/ 0 w 128"/>
                  <a:gd name="T3" fmla="*/ 16 h 246"/>
                  <a:gd name="T4" fmla="*/ 40 w 128"/>
                  <a:gd name="T5" fmla="*/ 0 h 246"/>
                  <a:gd name="T6" fmla="*/ 128 w 128"/>
                  <a:gd name="T7" fmla="*/ 231 h 246"/>
                  <a:gd name="T8" fmla="*/ 87 w 128"/>
                  <a:gd name="T9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246">
                    <a:moveTo>
                      <a:pt x="87" y="246"/>
                    </a:moveTo>
                    <a:lnTo>
                      <a:pt x="0" y="16"/>
                    </a:lnTo>
                    <a:lnTo>
                      <a:pt x="40" y="0"/>
                    </a:lnTo>
                    <a:lnTo>
                      <a:pt x="128" y="231"/>
                    </a:lnTo>
                    <a:lnTo>
                      <a:pt x="87" y="2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49" name="Freeform 101">
                <a:extLst>
                  <a:ext uri="{FF2B5EF4-FFF2-40B4-BE49-F238E27FC236}">
                    <a16:creationId xmlns:a16="http://schemas.microsoft.com/office/drawing/2014/main" id="{E3D85014-5245-4570-93A4-724B2D74C0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9088" y="5076826"/>
                <a:ext cx="69850" cy="128588"/>
              </a:xfrm>
              <a:custGeom>
                <a:avLst/>
                <a:gdLst>
                  <a:gd name="T0" fmla="*/ 95 w 134"/>
                  <a:gd name="T1" fmla="*/ 244 h 244"/>
                  <a:gd name="T2" fmla="*/ 0 w 134"/>
                  <a:gd name="T3" fmla="*/ 17 h 244"/>
                  <a:gd name="T4" fmla="*/ 40 w 134"/>
                  <a:gd name="T5" fmla="*/ 0 h 244"/>
                  <a:gd name="T6" fmla="*/ 134 w 134"/>
                  <a:gd name="T7" fmla="*/ 227 h 244"/>
                  <a:gd name="T8" fmla="*/ 95 w 134"/>
                  <a:gd name="T9" fmla="*/ 244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244">
                    <a:moveTo>
                      <a:pt x="95" y="244"/>
                    </a:moveTo>
                    <a:lnTo>
                      <a:pt x="0" y="17"/>
                    </a:lnTo>
                    <a:lnTo>
                      <a:pt x="40" y="0"/>
                    </a:lnTo>
                    <a:lnTo>
                      <a:pt x="134" y="227"/>
                    </a:lnTo>
                    <a:lnTo>
                      <a:pt x="95" y="2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50" name="Freeform 102">
                <a:extLst>
                  <a:ext uri="{FF2B5EF4-FFF2-40B4-BE49-F238E27FC236}">
                    <a16:creationId xmlns:a16="http://schemas.microsoft.com/office/drawing/2014/main" id="{CF15A80B-06B4-446B-A3C2-C6BBE08C1B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8776" y="5059363"/>
                <a:ext cx="73025" cy="128588"/>
              </a:xfrm>
              <a:custGeom>
                <a:avLst/>
                <a:gdLst>
                  <a:gd name="T0" fmla="*/ 100 w 139"/>
                  <a:gd name="T1" fmla="*/ 243 h 243"/>
                  <a:gd name="T2" fmla="*/ 0 w 139"/>
                  <a:gd name="T3" fmla="*/ 18 h 243"/>
                  <a:gd name="T4" fmla="*/ 39 w 139"/>
                  <a:gd name="T5" fmla="*/ 0 h 243"/>
                  <a:gd name="T6" fmla="*/ 139 w 139"/>
                  <a:gd name="T7" fmla="*/ 226 h 243"/>
                  <a:gd name="T8" fmla="*/ 100 w 139"/>
                  <a:gd name="T9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243">
                    <a:moveTo>
                      <a:pt x="100" y="243"/>
                    </a:moveTo>
                    <a:lnTo>
                      <a:pt x="0" y="18"/>
                    </a:lnTo>
                    <a:lnTo>
                      <a:pt x="39" y="0"/>
                    </a:lnTo>
                    <a:lnTo>
                      <a:pt x="139" y="226"/>
                    </a:lnTo>
                    <a:lnTo>
                      <a:pt x="100" y="2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51" name="Freeform 103">
                <a:extLst>
                  <a:ext uri="{FF2B5EF4-FFF2-40B4-BE49-F238E27FC236}">
                    <a16:creationId xmlns:a16="http://schemas.microsoft.com/office/drawing/2014/main" id="{1BF703FE-FCFB-436A-83C8-29F2CF528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6876" y="5041901"/>
                <a:ext cx="76200" cy="128588"/>
              </a:xfrm>
              <a:custGeom>
                <a:avLst/>
                <a:gdLst>
                  <a:gd name="T0" fmla="*/ 105 w 143"/>
                  <a:gd name="T1" fmla="*/ 241 h 241"/>
                  <a:gd name="T2" fmla="*/ 0 w 143"/>
                  <a:gd name="T3" fmla="*/ 19 h 241"/>
                  <a:gd name="T4" fmla="*/ 38 w 143"/>
                  <a:gd name="T5" fmla="*/ 0 h 241"/>
                  <a:gd name="T6" fmla="*/ 143 w 143"/>
                  <a:gd name="T7" fmla="*/ 222 h 241"/>
                  <a:gd name="T8" fmla="*/ 105 w 143"/>
                  <a:gd name="T9" fmla="*/ 24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241">
                    <a:moveTo>
                      <a:pt x="105" y="241"/>
                    </a:moveTo>
                    <a:lnTo>
                      <a:pt x="0" y="19"/>
                    </a:lnTo>
                    <a:lnTo>
                      <a:pt x="38" y="0"/>
                    </a:lnTo>
                    <a:lnTo>
                      <a:pt x="143" y="222"/>
                    </a:lnTo>
                    <a:lnTo>
                      <a:pt x="105" y="2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52" name="Freeform 104">
                <a:extLst>
                  <a:ext uri="{FF2B5EF4-FFF2-40B4-BE49-F238E27FC236}">
                    <a16:creationId xmlns:a16="http://schemas.microsoft.com/office/drawing/2014/main" id="{A9FE9377-3CDB-46E9-8323-58F5C6F90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4976" y="5024438"/>
                <a:ext cx="79375" cy="125413"/>
              </a:xfrm>
              <a:custGeom>
                <a:avLst/>
                <a:gdLst>
                  <a:gd name="T0" fmla="*/ 111 w 150"/>
                  <a:gd name="T1" fmla="*/ 239 h 239"/>
                  <a:gd name="T2" fmla="*/ 0 w 150"/>
                  <a:gd name="T3" fmla="*/ 20 h 239"/>
                  <a:gd name="T4" fmla="*/ 38 w 150"/>
                  <a:gd name="T5" fmla="*/ 0 h 239"/>
                  <a:gd name="T6" fmla="*/ 150 w 150"/>
                  <a:gd name="T7" fmla="*/ 219 h 239"/>
                  <a:gd name="T8" fmla="*/ 111 w 150"/>
                  <a:gd name="T9" fmla="*/ 2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39">
                    <a:moveTo>
                      <a:pt x="111" y="239"/>
                    </a:moveTo>
                    <a:lnTo>
                      <a:pt x="0" y="20"/>
                    </a:lnTo>
                    <a:lnTo>
                      <a:pt x="38" y="0"/>
                    </a:lnTo>
                    <a:lnTo>
                      <a:pt x="150" y="219"/>
                    </a:lnTo>
                    <a:lnTo>
                      <a:pt x="111" y="2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53" name="Freeform 105">
                <a:extLst>
                  <a:ext uri="{FF2B5EF4-FFF2-40B4-BE49-F238E27FC236}">
                    <a16:creationId xmlns:a16="http://schemas.microsoft.com/office/drawing/2014/main" id="{E0F5025F-DC47-41F2-B7A9-B98173427D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3076" y="5003801"/>
                <a:ext cx="82550" cy="125413"/>
              </a:xfrm>
              <a:custGeom>
                <a:avLst/>
                <a:gdLst>
                  <a:gd name="T0" fmla="*/ 117 w 156"/>
                  <a:gd name="T1" fmla="*/ 237 h 237"/>
                  <a:gd name="T2" fmla="*/ 0 w 156"/>
                  <a:gd name="T3" fmla="*/ 21 h 237"/>
                  <a:gd name="T4" fmla="*/ 39 w 156"/>
                  <a:gd name="T5" fmla="*/ 0 h 237"/>
                  <a:gd name="T6" fmla="*/ 156 w 156"/>
                  <a:gd name="T7" fmla="*/ 217 h 237"/>
                  <a:gd name="T8" fmla="*/ 117 w 156"/>
                  <a:gd name="T9" fmla="*/ 237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237">
                    <a:moveTo>
                      <a:pt x="117" y="237"/>
                    </a:moveTo>
                    <a:lnTo>
                      <a:pt x="0" y="21"/>
                    </a:lnTo>
                    <a:lnTo>
                      <a:pt x="39" y="0"/>
                    </a:lnTo>
                    <a:lnTo>
                      <a:pt x="156" y="217"/>
                    </a:lnTo>
                    <a:lnTo>
                      <a:pt x="117" y="2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54" name="Freeform 106">
                <a:extLst>
                  <a:ext uri="{FF2B5EF4-FFF2-40B4-BE49-F238E27FC236}">
                    <a16:creationId xmlns:a16="http://schemas.microsoft.com/office/drawing/2014/main" id="{34114333-B490-4B0B-9C6E-F20D3AA10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1176" y="4984751"/>
                <a:ext cx="84138" cy="123825"/>
              </a:xfrm>
              <a:custGeom>
                <a:avLst/>
                <a:gdLst>
                  <a:gd name="T0" fmla="*/ 123 w 160"/>
                  <a:gd name="T1" fmla="*/ 234 h 234"/>
                  <a:gd name="T2" fmla="*/ 0 w 160"/>
                  <a:gd name="T3" fmla="*/ 21 h 234"/>
                  <a:gd name="T4" fmla="*/ 37 w 160"/>
                  <a:gd name="T5" fmla="*/ 0 h 234"/>
                  <a:gd name="T6" fmla="*/ 160 w 160"/>
                  <a:gd name="T7" fmla="*/ 212 h 234"/>
                  <a:gd name="T8" fmla="*/ 123 w 160"/>
                  <a:gd name="T9" fmla="*/ 23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234">
                    <a:moveTo>
                      <a:pt x="123" y="234"/>
                    </a:moveTo>
                    <a:lnTo>
                      <a:pt x="0" y="21"/>
                    </a:lnTo>
                    <a:lnTo>
                      <a:pt x="37" y="0"/>
                    </a:lnTo>
                    <a:lnTo>
                      <a:pt x="160" y="212"/>
                    </a:lnTo>
                    <a:lnTo>
                      <a:pt x="123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55" name="Freeform 107">
                <a:extLst>
                  <a:ext uri="{FF2B5EF4-FFF2-40B4-BE49-F238E27FC236}">
                    <a16:creationId xmlns:a16="http://schemas.microsoft.com/office/drawing/2014/main" id="{10A14344-2861-42C9-97F2-B50F5B35F7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7688" y="4962526"/>
                <a:ext cx="87313" cy="123825"/>
              </a:xfrm>
              <a:custGeom>
                <a:avLst/>
                <a:gdLst>
                  <a:gd name="T0" fmla="*/ 129 w 164"/>
                  <a:gd name="T1" fmla="*/ 233 h 233"/>
                  <a:gd name="T2" fmla="*/ 0 w 164"/>
                  <a:gd name="T3" fmla="*/ 23 h 233"/>
                  <a:gd name="T4" fmla="*/ 36 w 164"/>
                  <a:gd name="T5" fmla="*/ 0 h 233"/>
                  <a:gd name="T6" fmla="*/ 164 w 164"/>
                  <a:gd name="T7" fmla="*/ 210 h 233"/>
                  <a:gd name="T8" fmla="*/ 129 w 164"/>
                  <a:gd name="T9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4" h="233">
                    <a:moveTo>
                      <a:pt x="129" y="233"/>
                    </a:moveTo>
                    <a:lnTo>
                      <a:pt x="0" y="23"/>
                    </a:lnTo>
                    <a:lnTo>
                      <a:pt x="36" y="0"/>
                    </a:lnTo>
                    <a:lnTo>
                      <a:pt x="164" y="210"/>
                    </a:lnTo>
                    <a:lnTo>
                      <a:pt x="129" y="2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56" name="Freeform 108">
                <a:extLst>
                  <a:ext uri="{FF2B5EF4-FFF2-40B4-BE49-F238E27FC236}">
                    <a16:creationId xmlns:a16="http://schemas.microsoft.com/office/drawing/2014/main" id="{AC926075-DACA-42DB-89B6-AA1CAE792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4201" y="4940301"/>
                <a:ext cx="88900" cy="122238"/>
              </a:xfrm>
              <a:custGeom>
                <a:avLst/>
                <a:gdLst>
                  <a:gd name="T0" fmla="*/ 132 w 167"/>
                  <a:gd name="T1" fmla="*/ 231 h 231"/>
                  <a:gd name="T2" fmla="*/ 0 w 167"/>
                  <a:gd name="T3" fmla="*/ 25 h 231"/>
                  <a:gd name="T4" fmla="*/ 36 w 167"/>
                  <a:gd name="T5" fmla="*/ 0 h 231"/>
                  <a:gd name="T6" fmla="*/ 167 w 167"/>
                  <a:gd name="T7" fmla="*/ 207 h 231"/>
                  <a:gd name="T8" fmla="*/ 132 w 167"/>
                  <a:gd name="T9" fmla="*/ 231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231">
                    <a:moveTo>
                      <a:pt x="132" y="231"/>
                    </a:moveTo>
                    <a:lnTo>
                      <a:pt x="0" y="25"/>
                    </a:lnTo>
                    <a:lnTo>
                      <a:pt x="36" y="0"/>
                    </a:lnTo>
                    <a:lnTo>
                      <a:pt x="167" y="207"/>
                    </a:lnTo>
                    <a:lnTo>
                      <a:pt x="132" y="2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57" name="Freeform 109">
                <a:extLst>
                  <a:ext uri="{FF2B5EF4-FFF2-40B4-BE49-F238E27FC236}">
                    <a16:creationId xmlns:a16="http://schemas.microsoft.com/office/drawing/2014/main" id="{31863892-B2DE-4260-B687-2A2DF0E8F5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126" y="4916488"/>
                <a:ext cx="93663" cy="120650"/>
              </a:xfrm>
              <a:custGeom>
                <a:avLst/>
                <a:gdLst>
                  <a:gd name="T0" fmla="*/ 139 w 175"/>
                  <a:gd name="T1" fmla="*/ 227 h 227"/>
                  <a:gd name="T2" fmla="*/ 0 w 175"/>
                  <a:gd name="T3" fmla="*/ 24 h 227"/>
                  <a:gd name="T4" fmla="*/ 36 w 175"/>
                  <a:gd name="T5" fmla="*/ 0 h 227"/>
                  <a:gd name="T6" fmla="*/ 175 w 175"/>
                  <a:gd name="T7" fmla="*/ 202 h 227"/>
                  <a:gd name="T8" fmla="*/ 139 w 175"/>
                  <a:gd name="T9" fmla="*/ 22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" h="227">
                    <a:moveTo>
                      <a:pt x="139" y="227"/>
                    </a:moveTo>
                    <a:lnTo>
                      <a:pt x="0" y="24"/>
                    </a:lnTo>
                    <a:lnTo>
                      <a:pt x="36" y="0"/>
                    </a:lnTo>
                    <a:lnTo>
                      <a:pt x="175" y="202"/>
                    </a:lnTo>
                    <a:lnTo>
                      <a:pt x="139" y="2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58" name="Freeform 110">
                <a:extLst>
                  <a:ext uri="{FF2B5EF4-FFF2-40B4-BE49-F238E27FC236}">
                    <a16:creationId xmlns:a16="http://schemas.microsoft.com/office/drawing/2014/main" id="{9AD2D927-DEA8-4AC3-872D-2BE719A570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5638" y="4892676"/>
                <a:ext cx="93663" cy="119063"/>
              </a:xfrm>
              <a:custGeom>
                <a:avLst/>
                <a:gdLst>
                  <a:gd name="T0" fmla="*/ 143 w 178"/>
                  <a:gd name="T1" fmla="*/ 224 h 224"/>
                  <a:gd name="T2" fmla="*/ 0 w 178"/>
                  <a:gd name="T3" fmla="*/ 25 h 224"/>
                  <a:gd name="T4" fmla="*/ 34 w 178"/>
                  <a:gd name="T5" fmla="*/ 0 h 224"/>
                  <a:gd name="T6" fmla="*/ 178 w 178"/>
                  <a:gd name="T7" fmla="*/ 198 h 224"/>
                  <a:gd name="T8" fmla="*/ 143 w 178"/>
                  <a:gd name="T9" fmla="*/ 224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" h="224">
                    <a:moveTo>
                      <a:pt x="143" y="224"/>
                    </a:moveTo>
                    <a:lnTo>
                      <a:pt x="0" y="25"/>
                    </a:lnTo>
                    <a:lnTo>
                      <a:pt x="34" y="0"/>
                    </a:lnTo>
                    <a:lnTo>
                      <a:pt x="178" y="198"/>
                    </a:lnTo>
                    <a:lnTo>
                      <a:pt x="143" y="2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59" name="Freeform 114">
                <a:extLst>
                  <a:ext uri="{FF2B5EF4-FFF2-40B4-BE49-F238E27FC236}">
                    <a16:creationId xmlns:a16="http://schemas.microsoft.com/office/drawing/2014/main" id="{6977EC9F-B59F-43DF-9560-BC3C5CDBF8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8988" y="4786313"/>
                <a:ext cx="103188" cy="112713"/>
              </a:xfrm>
              <a:custGeom>
                <a:avLst/>
                <a:gdLst>
                  <a:gd name="T0" fmla="*/ 164 w 194"/>
                  <a:gd name="T1" fmla="*/ 211 h 211"/>
                  <a:gd name="T2" fmla="*/ 0 w 194"/>
                  <a:gd name="T3" fmla="*/ 28 h 211"/>
                  <a:gd name="T4" fmla="*/ 32 w 194"/>
                  <a:gd name="T5" fmla="*/ 0 h 211"/>
                  <a:gd name="T6" fmla="*/ 194 w 194"/>
                  <a:gd name="T7" fmla="*/ 182 h 211"/>
                  <a:gd name="T8" fmla="*/ 164 w 194"/>
                  <a:gd name="T9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4" h="211">
                    <a:moveTo>
                      <a:pt x="164" y="211"/>
                    </a:moveTo>
                    <a:lnTo>
                      <a:pt x="0" y="28"/>
                    </a:lnTo>
                    <a:lnTo>
                      <a:pt x="32" y="0"/>
                    </a:lnTo>
                    <a:lnTo>
                      <a:pt x="194" y="182"/>
                    </a:lnTo>
                    <a:lnTo>
                      <a:pt x="164" y="2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60" name="Freeform 115">
                <a:extLst>
                  <a:ext uri="{FF2B5EF4-FFF2-40B4-BE49-F238E27FC236}">
                    <a16:creationId xmlns:a16="http://schemas.microsoft.com/office/drawing/2014/main" id="{771A6BC7-B4B4-4CDA-A458-C5295DF7B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0738" y="4757738"/>
                <a:ext cx="104775" cy="111125"/>
              </a:xfrm>
              <a:custGeom>
                <a:avLst/>
                <a:gdLst>
                  <a:gd name="T0" fmla="*/ 168 w 198"/>
                  <a:gd name="T1" fmla="*/ 209 h 209"/>
                  <a:gd name="T2" fmla="*/ 0 w 198"/>
                  <a:gd name="T3" fmla="*/ 30 h 209"/>
                  <a:gd name="T4" fmla="*/ 31 w 198"/>
                  <a:gd name="T5" fmla="*/ 0 h 209"/>
                  <a:gd name="T6" fmla="*/ 198 w 198"/>
                  <a:gd name="T7" fmla="*/ 178 h 209"/>
                  <a:gd name="T8" fmla="*/ 168 w 198"/>
                  <a:gd name="T9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209">
                    <a:moveTo>
                      <a:pt x="168" y="209"/>
                    </a:moveTo>
                    <a:lnTo>
                      <a:pt x="0" y="30"/>
                    </a:lnTo>
                    <a:lnTo>
                      <a:pt x="31" y="0"/>
                    </a:lnTo>
                    <a:lnTo>
                      <a:pt x="198" y="178"/>
                    </a:lnTo>
                    <a:lnTo>
                      <a:pt x="168" y="2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61" name="Freeform 116">
                <a:extLst>
                  <a:ext uri="{FF2B5EF4-FFF2-40B4-BE49-F238E27FC236}">
                    <a16:creationId xmlns:a16="http://schemas.microsoft.com/office/drawing/2014/main" id="{78744359-CF20-4C66-A65D-003EB58F3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2488" y="4729163"/>
                <a:ext cx="106363" cy="106363"/>
              </a:xfrm>
              <a:custGeom>
                <a:avLst/>
                <a:gdLst>
                  <a:gd name="T0" fmla="*/ 173 w 202"/>
                  <a:gd name="T1" fmla="*/ 203 h 203"/>
                  <a:gd name="T2" fmla="*/ 0 w 202"/>
                  <a:gd name="T3" fmla="*/ 30 h 203"/>
                  <a:gd name="T4" fmla="*/ 31 w 202"/>
                  <a:gd name="T5" fmla="*/ 0 h 203"/>
                  <a:gd name="T6" fmla="*/ 202 w 202"/>
                  <a:gd name="T7" fmla="*/ 173 h 203"/>
                  <a:gd name="T8" fmla="*/ 173 w 202"/>
                  <a:gd name="T9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2" h="203">
                    <a:moveTo>
                      <a:pt x="173" y="203"/>
                    </a:moveTo>
                    <a:lnTo>
                      <a:pt x="0" y="30"/>
                    </a:lnTo>
                    <a:lnTo>
                      <a:pt x="31" y="0"/>
                    </a:lnTo>
                    <a:lnTo>
                      <a:pt x="202" y="173"/>
                    </a:lnTo>
                    <a:lnTo>
                      <a:pt x="173" y="2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62" name="Freeform 117">
                <a:extLst>
                  <a:ext uri="{FF2B5EF4-FFF2-40B4-BE49-F238E27FC236}">
                    <a16:creationId xmlns:a16="http://schemas.microsoft.com/office/drawing/2014/main" id="{DFE7CC82-F0F9-4B9B-994C-937635A3C9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2651" y="4697413"/>
                <a:ext cx="109538" cy="106363"/>
              </a:xfrm>
              <a:custGeom>
                <a:avLst/>
                <a:gdLst>
                  <a:gd name="T0" fmla="*/ 177 w 207"/>
                  <a:gd name="T1" fmla="*/ 201 h 201"/>
                  <a:gd name="T2" fmla="*/ 0 w 207"/>
                  <a:gd name="T3" fmla="*/ 32 h 201"/>
                  <a:gd name="T4" fmla="*/ 30 w 207"/>
                  <a:gd name="T5" fmla="*/ 0 h 201"/>
                  <a:gd name="T6" fmla="*/ 207 w 207"/>
                  <a:gd name="T7" fmla="*/ 169 h 201"/>
                  <a:gd name="T8" fmla="*/ 177 w 207"/>
                  <a:gd name="T9" fmla="*/ 20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1">
                    <a:moveTo>
                      <a:pt x="177" y="201"/>
                    </a:moveTo>
                    <a:lnTo>
                      <a:pt x="0" y="32"/>
                    </a:lnTo>
                    <a:lnTo>
                      <a:pt x="30" y="0"/>
                    </a:lnTo>
                    <a:lnTo>
                      <a:pt x="207" y="169"/>
                    </a:lnTo>
                    <a:lnTo>
                      <a:pt x="177" y="2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63" name="Freeform 118">
                <a:extLst>
                  <a:ext uri="{FF2B5EF4-FFF2-40B4-BE49-F238E27FC236}">
                    <a16:creationId xmlns:a16="http://schemas.microsoft.com/office/drawing/2014/main" id="{F00B8812-3B3B-4235-881C-A29941E3E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2813" y="4667251"/>
                <a:ext cx="111125" cy="103188"/>
              </a:xfrm>
              <a:custGeom>
                <a:avLst/>
                <a:gdLst>
                  <a:gd name="T0" fmla="*/ 180 w 209"/>
                  <a:gd name="T1" fmla="*/ 197 h 197"/>
                  <a:gd name="T2" fmla="*/ 0 w 209"/>
                  <a:gd name="T3" fmla="*/ 32 h 197"/>
                  <a:gd name="T4" fmla="*/ 28 w 209"/>
                  <a:gd name="T5" fmla="*/ 0 h 197"/>
                  <a:gd name="T6" fmla="*/ 209 w 209"/>
                  <a:gd name="T7" fmla="*/ 164 h 197"/>
                  <a:gd name="T8" fmla="*/ 180 w 209"/>
                  <a:gd name="T9" fmla="*/ 19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197">
                    <a:moveTo>
                      <a:pt x="180" y="197"/>
                    </a:moveTo>
                    <a:lnTo>
                      <a:pt x="0" y="32"/>
                    </a:lnTo>
                    <a:lnTo>
                      <a:pt x="28" y="0"/>
                    </a:lnTo>
                    <a:lnTo>
                      <a:pt x="209" y="164"/>
                    </a:lnTo>
                    <a:lnTo>
                      <a:pt x="180" y="19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64" name="Freeform 119">
                <a:extLst>
                  <a:ext uri="{FF2B5EF4-FFF2-40B4-BE49-F238E27FC236}">
                    <a16:creationId xmlns:a16="http://schemas.microsoft.com/office/drawing/2014/main" id="{709D139D-7DB5-4CAD-9D38-F661D3EBB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1388" y="4635501"/>
                <a:ext cx="112713" cy="101600"/>
              </a:xfrm>
              <a:custGeom>
                <a:avLst/>
                <a:gdLst>
                  <a:gd name="T0" fmla="*/ 185 w 212"/>
                  <a:gd name="T1" fmla="*/ 192 h 192"/>
                  <a:gd name="T2" fmla="*/ 0 w 212"/>
                  <a:gd name="T3" fmla="*/ 33 h 192"/>
                  <a:gd name="T4" fmla="*/ 28 w 212"/>
                  <a:gd name="T5" fmla="*/ 0 h 192"/>
                  <a:gd name="T6" fmla="*/ 212 w 212"/>
                  <a:gd name="T7" fmla="*/ 159 h 192"/>
                  <a:gd name="T8" fmla="*/ 185 w 212"/>
                  <a:gd name="T9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192">
                    <a:moveTo>
                      <a:pt x="185" y="192"/>
                    </a:moveTo>
                    <a:lnTo>
                      <a:pt x="0" y="33"/>
                    </a:lnTo>
                    <a:lnTo>
                      <a:pt x="28" y="0"/>
                    </a:lnTo>
                    <a:lnTo>
                      <a:pt x="212" y="159"/>
                    </a:lnTo>
                    <a:lnTo>
                      <a:pt x="185" y="1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920" name="Group 919">
              <a:extLst>
                <a:ext uri="{FF2B5EF4-FFF2-40B4-BE49-F238E27FC236}">
                  <a16:creationId xmlns:a16="http://schemas.microsoft.com/office/drawing/2014/main" id="{66E195BD-A3DE-4EEE-9D70-439EF63A2618}"/>
                </a:ext>
              </a:extLst>
            </p:cNvPr>
            <p:cNvGrpSpPr/>
            <p:nvPr/>
          </p:nvGrpSpPr>
          <p:grpSpPr>
            <a:xfrm>
              <a:off x="7038976" y="4814888"/>
              <a:ext cx="168275" cy="169863"/>
              <a:chOff x="7038976" y="4814888"/>
              <a:chExt cx="168275" cy="169863"/>
            </a:xfrm>
            <a:grpFill/>
          </p:grpSpPr>
          <p:sp>
            <p:nvSpPr>
              <p:cNvPr id="939" name="Freeform 111">
                <a:extLst>
                  <a:ext uri="{FF2B5EF4-FFF2-40B4-BE49-F238E27FC236}">
                    <a16:creationId xmlns:a16="http://schemas.microsoft.com/office/drawing/2014/main" id="{22DD09C9-A2DA-4863-AA97-4FFD576A3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8976" y="4867276"/>
                <a:ext cx="96838" cy="117475"/>
              </a:xfrm>
              <a:custGeom>
                <a:avLst/>
                <a:gdLst>
                  <a:gd name="T0" fmla="*/ 149 w 183"/>
                  <a:gd name="T1" fmla="*/ 222 h 222"/>
                  <a:gd name="T2" fmla="*/ 0 w 183"/>
                  <a:gd name="T3" fmla="*/ 27 h 222"/>
                  <a:gd name="T4" fmla="*/ 35 w 183"/>
                  <a:gd name="T5" fmla="*/ 0 h 222"/>
                  <a:gd name="T6" fmla="*/ 183 w 183"/>
                  <a:gd name="T7" fmla="*/ 195 h 222"/>
                  <a:gd name="T8" fmla="*/ 149 w 183"/>
                  <a:gd name="T9" fmla="*/ 222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" h="222">
                    <a:moveTo>
                      <a:pt x="149" y="222"/>
                    </a:moveTo>
                    <a:lnTo>
                      <a:pt x="0" y="27"/>
                    </a:lnTo>
                    <a:lnTo>
                      <a:pt x="35" y="0"/>
                    </a:lnTo>
                    <a:lnTo>
                      <a:pt x="183" y="195"/>
                    </a:lnTo>
                    <a:lnTo>
                      <a:pt x="149" y="2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40" name="Freeform 112">
                <a:extLst>
                  <a:ext uri="{FF2B5EF4-FFF2-40B4-BE49-F238E27FC236}">
                    <a16:creationId xmlns:a16="http://schemas.microsoft.com/office/drawing/2014/main" id="{F3B836E5-AFE4-45AE-A207-7E008D9AE6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901" y="4840288"/>
                <a:ext cx="98425" cy="115888"/>
              </a:xfrm>
              <a:custGeom>
                <a:avLst/>
                <a:gdLst>
                  <a:gd name="T0" fmla="*/ 154 w 187"/>
                  <a:gd name="T1" fmla="*/ 219 h 219"/>
                  <a:gd name="T2" fmla="*/ 0 w 187"/>
                  <a:gd name="T3" fmla="*/ 28 h 219"/>
                  <a:gd name="T4" fmla="*/ 34 w 187"/>
                  <a:gd name="T5" fmla="*/ 0 h 219"/>
                  <a:gd name="T6" fmla="*/ 187 w 187"/>
                  <a:gd name="T7" fmla="*/ 191 h 219"/>
                  <a:gd name="T8" fmla="*/ 154 w 187"/>
                  <a:gd name="T9" fmla="*/ 219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7" h="219">
                    <a:moveTo>
                      <a:pt x="154" y="219"/>
                    </a:moveTo>
                    <a:lnTo>
                      <a:pt x="0" y="28"/>
                    </a:lnTo>
                    <a:lnTo>
                      <a:pt x="34" y="0"/>
                    </a:lnTo>
                    <a:lnTo>
                      <a:pt x="187" y="191"/>
                    </a:lnTo>
                    <a:lnTo>
                      <a:pt x="154" y="2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41" name="Freeform 113">
                <a:extLst>
                  <a:ext uri="{FF2B5EF4-FFF2-40B4-BE49-F238E27FC236}">
                    <a16:creationId xmlns:a16="http://schemas.microsoft.com/office/drawing/2014/main" id="{7AE6489A-685D-4CF7-831C-FAD0676A03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238" y="4814888"/>
                <a:ext cx="100013" cy="114300"/>
              </a:xfrm>
              <a:custGeom>
                <a:avLst/>
                <a:gdLst>
                  <a:gd name="T0" fmla="*/ 159 w 191"/>
                  <a:gd name="T1" fmla="*/ 216 h 216"/>
                  <a:gd name="T2" fmla="*/ 0 w 191"/>
                  <a:gd name="T3" fmla="*/ 28 h 216"/>
                  <a:gd name="T4" fmla="*/ 33 w 191"/>
                  <a:gd name="T5" fmla="*/ 0 h 216"/>
                  <a:gd name="T6" fmla="*/ 191 w 191"/>
                  <a:gd name="T7" fmla="*/ 186 h 216"/>
                  <a:gd name="T8" fmla="*/ 159 w 191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216">
                    <a:moveTo>
                      <a:pt x="159" y="216"/>
                    </a:moveTo>
                    <a:lnTo>
                      <a:pt x="0" y="28"/>
                    </a:lnTo>
                    <a:lnTo>
                      <a:pt x="33" y="0"/>
                    </a:lnTo>
                    <a:lnTo>
                      <a:pt x="191" y="186"/>
                    </a:lnTo>
                    <a:lnTo>
                      <a:pt x="159" y="2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921" name="Group 920">
              <a:extLst>
                <a:ext uri="{FF2B5EF4-FFF2-40B4-BE49-F238E27FC236}">
                  <a16:creationId xmlns:a16="http://schemas.microsoft.com/office/drawing/2014/main" id="{F734A4CE-B613-4136-9021-76134480BBB2}"/>
                </a:ext>
              </a:extLst>
            </p:cNvPr>
            <p:cNvGrpSpPr/>
            <p:nvPr/>
          </p:nvGrpSpPr>
          <p:grpSpPr>
            <a:xfrm>
              <a:off x="5911851" y="5168901"/>
              <a:ext cx="476250" cy="153988"/>
              <a:chOff x="5911851" y="5168901"/>
              <a:chExt cx="476250" cy="153988"/>
            </a:xfrm>
            <a:grpFill/>
          </p:grpSpPr>
          <p:sp>
            <p:nvSpPr>
              <p:cNvPr id="922" name="Freeform 83">
                <a:extLst>
                  <a:ext uri="{FF2B5EF4-FFF2-40B4-BE49-F238E27FC236}">
                    <a16:creationId xmlns:a16="http://schemas.microsoft.com/office/drawing/2014/main" id="{C19960C5-9D7E-4FFA-A755-0C0EB6959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1851" y="5183188"/>
                <a:ext cx="31750" cy="131763"/>
              </a:xfrm>
              <a:custGeom>
                <a:avLst/>
                <a:gdLst>
                  <a:gd name="T0" fmla="*/ 0 w 61"/>
                  <a:gd name="T1" fmla="*/ 246 h 250"/>
                  <a:gd name="T2" fmla="*/ 18 w 61"/>
                  <a:gd name="T3" fmla="*/ 0 h 250"/>
                  <a:gd name="T4" fmla="*/ 61 w 61"/>
                  <a:gd name="T5" fmla="*/ 4 h 250"/>
                  <a:gd name="T6" fmla="*/ 43 w 61"/>
                  <a:gd name="T7" fmla="*/ 250 h 250"/>
                  <a:gd name="T8" fmla="*/ 0 w 61"/>
                  <a:gd name="T9" fmla="*/ 24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250">
                    <a:moveTo>
                      <a:pt x="0" y="246"/>
                    </a:moveTo>
                    <a:lnTo>
                      <a:pt x="18" y="0"/>
                    </a:lnTo>
                    <a:lnTo>
                      <a:pt x="61" y="4"/>
                    </a:lnTo>
                    <a:lnTo>
                      <a:pt x="43" y="250"/>
                    </a:lnTo>
                    <a:lnTo>
                      <a:pt x="0" y="2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23" name="Freeform 84">
                <a:extLst>
                  <a:ext uri="{FF2B5EF4-FFF2-40B4-BE49-F238E27FC236}">
                    <a16:creationId xmlns:a16="http://schemas.microsoft.com/office/drawing/2014/main" id="{E6CDB05D-4690-4E13-8096-D8A4775152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7888" y="5186363"/>
                <a:ext cx="28575" cy="131763"/>
              </a:xfrm>
              <a:custGeom>
                <a:avLst/>
                <a:gdLst>
                  <a:gd name="T0" fmla="*/ 0 w 54"/>
                  <a:gd name="T1" fmla="*/ 247 h 249"/>
                  <a:gd name="T2" fmla="*/ 12 w 54"/>
                  <a:gd name="T3" fmla="*/ 0 h 249"/>
                  <a:gd name="T4" fmla="*/ 54 w 54"/>
                  <a:gd name="T5" fmla="*/ 2 h 249"/>
                  <a:gd name="T6" fmla="*/ 42 w 54"/>
                  <a:gd name="T7" fmla="*/ 249 h 249"/>
                  <a:gd name="T8" fmla="*/ 0 w 54"/>
                  <a:gd name="T9" fmla="*/ 247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249">
                    <a:moveTo>
                      <a:pt x="0" y="247"/>
                    </a:moveTo>
                    <a:lnTo>
                      <a:pt x="12" y="0"/>
                    </a:lnTo>
                    <a:lnTo>
                      <a:pt x="54" y="2"/>
                    </a:lnTo>
                    <a:lnTo>
                      <a:pt x="42" y="249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24" name="Freeform 85">
                <a:extLst>
                  <a:ext uri="{FF2B5EF4-FFF2-40B4-BE49-F238E27FC236}">
                    <a16:creationId xmlns:a16="http://schemas.microsoft.com/office/drawing/2014/main" id="{5536EC1E-ECD0-465F-9A57-E33B9811B7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2338" y="5189538"/>
                <a:ext cx="25400" cy="131763"/>
              </a:xfrm>
              <a:custGeom>
                <a:avLst/>
                <a:gdLst>
                  <a:gd name="T0" fmla="*/ 0 w 47"/>
                  <a:gd name="T1" fmla="*/ 246 h 248"/>
                  <a:gd name="T2" fmla="*/ 5 w 47"/>
                  <a:gd name="T3" fmla="*/ 0 h 248"/>
                  <a:gd name="T4" fmla="*/ 47 w 47"/>
                  <a:gd name="T5" fmla="*/ 0 h 248"/>
                  <a:gd name="T6" fmla="*/ 42 w 47"/>
                  <a:gd name="T7" fmla="*/ 248 h 248"/>
                  <a:gd name="T8" fmla="*/ 0 w 47"/>
                  <a:gd name="T9" fmla="*/ 246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248">
                    <a:moveTo>
                      <a:pt x="0" y="246"/>
                    </a:moveTo>
                    <a:lnTo>
                      <a:pt x="5" y="0"/>
                    </a:lnTo>
                    <a:lnTo>
                      <a:pt x="47" y="0"/>
                    </a:lnTo>
                    <a:lnTo>
                      <a:pt x="42" y="248"/>
                    </a:lnTo>
                    <a:lnTo>
                      <a:pt x="0" y="2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25" name="Freeform 86">
                <a:extLst>
                  <a:ext uri="{FF2B5EF4-FFF2-40B4-BE49-F238E27FC236}">
                    <a16:creationId xmlns:a16="http://schemas.microsoft.com/office/drawing/2014/main" id="{849821CB-1FD8-42A7-B043-CA52D6FDF9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8376" y="5191126"/>
                <a:ext cx="22225" cy="131763"/>
              </a:xfrm>
              <a:custGeom>
                <a:avLst/>
                <a:gdLst>
                  <a:gd name="T0" fmla="*/ 1 w 44"/>
                  <a:gd name="T1" fmla="*/ 247 h 247"/>
                  <a:gd name="T2" fmla="*/ 0 w 44"/>
                  <a:gd name="T3" fmla="*/ 0 h 247"/>
                  <a:gd name="T4" fmla="*/ 43 w 44"/>
                  <a:gd name="T5" fmla="*/ 0 h 247"/>
                  <a:gd name="T6" fmla="*/ 44 w 44"/>
                  <a:gd name="T7" fmla="*/ 247 h 247"/>
                  <a:gd name="T8" fmla="*/ 1 w 44"/>
                  <a:gd name="T9" fmla="*/ 24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47">
                    <a:moveTo>
                      <a:pt x="1" y="247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4" y="247"/>
                    </a:lnTo>
                    <a:lnTo>
                      <a:pt x="1" y="2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26" name="Freeform 87">
                <a:extLst>
                  <a:ext uri="{FF2B5EF4-FFF2-40B4-BE49-F238E27FC236}">
                    <a16:creationId xmlns:a16="http://schemas.microsoft.com/office/drawing/2014/main" id="{325C8A60-EE89-4784-B522-AE83AEBD0A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651" y="5191126"/>
                <a:ext cx="26988" cy="131763"/>
              </a:xfrm>
              <a:custGeom>
                <a:avLst/>
                <a:gdLst>
                  <a:gd name="T0" fmla="*/ 8 w 50"/>
                  <a:gd name="T1" fmla="*/ 249 h 249"/>
                  <a:gd name="T2" fmla="*/ 0 w 50"/>
                  <a:gd name="T3" fmla="*/ 1 h 249"/>
                  <a:gd name="T4" fmla="*/ 43 w 50"/>
                  <a:gd name="T5" fmla="*/ 0 h 249"/>
                  <a:gd name="T6" fmla="*/ 50 w 50"/>
                  <a:gd name="T7" fmla="*/ 247 h 249"/>
                  <a:gd name="T8" fmla="*/ 8 w 50"/>
                  <a:gd name="T9" fmla="*/ 249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249">
                    <a:moveTo>
                      <a:pt x="8" y="249"/>
                    </a:moveTo>
                    <a:lnTo>
                      <a:pt x="0" y="1"/>
                    </a:lnTo>
                    <a:lnTo>
                      <a:pt x="43" y="0"/>
                    </a:lnTo>
                    <a:lnTo>
                      <a:pt x="50" y="247"/>
                    </a:lnTo>
                    <a:lnTo>
                      <a:pt x="8" y="2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27" name="Freeform 88">
                <a:extLst>
                  <a:ext uri="{FF2B5EF4-FFF2-40B4-BE49-F238E27FC236}">
                    <a16:creationId xmlns:a16="http://schemas.microsoft.com/office/drawing/2014/main" id="{C7ACD665-6D13-4299-8F22-FDAD5BBF0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2513" y="5191126"/>
                <a:ext cx="30163" cy="131763"/>
              </a:xfrm>
              <a:custGeom>
                <a:avLst/>
                <a:gdLst>
                  <a:gd name="T0" fmla="*/ 14 w 56"/>
                  <a:gd name="T1" fmla="*/ 248 h 248"/>
                  <a:gd name="T2" fmla="*/ 0 w 56"/>
                  <a:gd name="T3" fmla="*/ 2 h 248"/>
                  <a:gd name="T4" fmla="*/ 42 w 56"/>
                  <a:gd name="T5" fmla="*/ 0 h 248"/>
                  <a:gd name="T6" fmla="*/ 56 w 56"/>
                  <a:gd name="T7" fmla="*/ 246 h 248"/>
                  <a:gd name="T8" fmla="*/ 14 w 56"/>
                  <a:gd name="T9" fmla="*/ 248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248">
                    <a:moveTo>
                      <a:pt x="14" y="248"/>
                    </a:moveTo>
                    <a:lnTo>
                      <a:pt x="0" y="2"/>
                    </a:lnTo>
                    <a:lnTo>
                      <a:pt x="42" y="0"/>
                    </a:lnTo>
                    <a:lnTo>
                      <a:pt x="56" y="246"/>
                    </a:lnTo>
                    <a:lnTo>
                      <a:pt x="14" y="2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28" name="Freeform 89">
                <a:extLst>
                  <a:ext uri="{FF2B5EF4-FFF2-40B4-BE49-F238E27FC236}">
                    <a16:creationId xmlns:a16="http://schemas.microsoft.com/office/drawing/2014/main" id="{06F79B29-D7F4-434E-867E-45632B095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3788" y="5187951"/>
                <a:ext cx="33338" cy="131763"/>
              </a:xfrm>
              <a:custGeom>
                <a:avLst/>
                <a:gdLst>
                  <a:gd name="T0" fmla="*/ 21 w 63"/>
                  <a:gd name="T1" fmla="*/ 250 h 250"/>
                  <a:gd name="T2" fmla="*/ 0 w 63"/>
                  <a:gd name="T3" fmla="*/ 4 h 250"/>
                  <a:gd name="T4" fmla="*/ 44 w 63"/>
                  <a:gd name="T5" fmla="*/ 0 h 250"/>
                  <a:gd name="T6" fmla="*/ 63 w 63"/>
                  <a:gd name="T7" fmla="*/ 247 h 250"/>
                  <a:gd name="T8" fmla="*/ 21 w 63"/>
                  <a:gd name="T9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250">
                    <a:moveTo>
                      <a:pt x="21" y="250"/>
                    </a:moveTo>
                    <a:lnTo>
                      <a:pt x="0" y="4"/>
                    </a:lnTo>
                    <a:lnTo>
                      <a:pt x="44" y="0"/>
                    </a:lnTo>
                    <a:lnTo>
                      <a:pt x="63" y="247"/>
                    </a:lnTo>
                    <a:lnTo>
                      <a:pt x="21" y="2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29" name="Freeform 90">
                <a:extLst>
                  <a:ext uri="{FF2B5EF4-FFF2-40B4-BE49-F238E27FC236}">
                    <a16:creationId xmlns:a16="http://schemas.microsoft.com/office/drawing/2014/main" id="{BFCD454F-FA8C-416D-9541-77F2FA5B2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6651" y="5184776"/>
                <a:ext cx="36513" cy="133350"/>
              </a:xfrm>
              <a:custGeom>
                <a:avLst/>
                <a:gdLst>
                  <a:gd name="T0" fmla="*/ 26 w 68"/>
                  <a:gd name="T1" fmla="*/ 250 h 250"/>
                  <a:gd name="T2" fmla="*/ 0 w 68"/>
                  <a:gd name="T3" fmla="*/ 4 h 250"/>
                  <a:gd name="T4" fmla="*/ 42 w 68"/>
                  <a:gd name="T5" fmla="*/ 0 h 250"/>
                  <a:gd name="T6" fmla="*/ 68 w 68"/>
                  <a:gd name="T7" fmla="*/ 245 h 250"/>
                  <a:gd name="T8" fmla="*/ 26 w 68"/>
                  <a:gd name="T9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250">
                    <a:moveTo>
                      <a:pt x="26" y="250"/>
                    </a:moveTo>
                    <a:lnTo>
                      <a:pt x="0" y="4"/>
                    </a:lnTo>
                    <a:lnTo>
                      <a:pt x="42" y="0"/>
                    </a:lnTo>
                    <a:lnTo>
                      <a:pt x="68" y="245"/>
                    </a:lnTo>
                    <a:lnTo>
                      <a:pt x="26" y="2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30" name="Freeform 91">
                <a:extLst>
                  <a:ext uri="{FF2B5EF4-FFF2-40B4-BE49-F238E27FC236}">
                    <a16:creationId xmlns:a16="http://schemas.microsoft.com/office/drawing/2014/main" id="{F04661EC-9392-4246-85BF-4FBDADFFC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9513" y="5180013"/>
                <a:ext cx="39688" cy="133350"/>
              </a:xfrm>
              <a:custGeom>
                <a:avLst/>
                <a:gdLst>
                  <a:gd name="T0" fmla="*/ 32 w 75"/>
                  <a:gd name="T1" fmla="*/ 250 h 250"/>
                  <a:gd name="T2" fmla="*/ 0 w 75"/>
                  <a:gd name="T3" fmla="*/ 7 h 250"/>
                  <a:gd name="T4" fmla="*/ 43 w 75"/>
                  <a:gd name="T5" fmla="*/ 0 h 250"/>
                  <a:gd name="T6" fmla="*/ 75 w 75"/>
                  <a:gd name="T7" fmla="*/ 245 h 250"/>
                  <a:gd name="T8" fmla="*/ 32 w 75"/>
                  <a:gd name="T9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250">
                    <a:moveTo>
                      <a:pt x="32" y="250"/>
                    </a:moveTo>
                    <a:lnTo>
                      <a:pt x="0" y="7"/>
                    </a:lnTo>
                    <a:lnTo>
                      <a:pt x="43" y="0"/>
                    </a:lnTo>
                    <a:lnTo>
                      <a:pt x="75" y="245"/>
                    </a:lnTo>
                    <a:lnTo>
                      <a:pt x="32" y="2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31" name="Freeform 92">
                <a:extLst>
                  <a:ext uri="{FF2B5EF4-FFF2-40B4-BE49-F238E27FC236}">
                    <a16:creationId xmlns:a16="http://schemas.microsoft.com/office/drawing/2014/main" id="{1E00CE39-9922-492A-9F7F-02FF65D1D9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0788" y="5175251"/>
                <a:ext cx="42863" cy="131763"/>
              </a:xfrm>
              <a:custGeom>
                <a:avLst/>
                <a:gdLst>
                  <a:gd name="T0" fmla="*/ 38 w 81"/>
                  <a:gd name="T1" fmla="*/ 250 h 250"/>
                  <a:gd name="T2" fmla="*/ 0 w 81"/>
                  <a:gd name="T3" fmla="*/ 7 h 250"/>
                  <a:gd name="T4" fmla="*/ 41 w 81"/>
                  <a:gd name="T5" fmla="*/ 0 h 250"/>
                  <a:gd name="T6" fmla="*/ 81 w 81"/>
                  <a:gd name="T7" fmla="*/ 244 h 250"/>
                  <a:gd name="T8" fmla="*/ 38 w 81"/>
                  <a:gd name="T9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250">
                    <a:moveTo>
                      <a:pt x="38" y="250"/>
                    </a:moveTo>
                    <a:lnTo>
                      <a:pt x="0" y="7"/>
                    </a:lnTo>
                    <a:lnTo>
                      <a:pt x="41" y="0"/>
                    </a:lnTo>
                    <a:lnTo>
                      <a:pt x="81" y="244"/>
                    </a:lnTo>
                    <a:lnTo>
                      <a:pt x="38" y="2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32" name="Freeform 93">
                <a:extLst>
                  <a:ext uri="{FF2B5EF4-FFF2-40B4-BE49-F238E27FC236}">
                    <a16:creationId xmlns:a16="http://schemas.microsoft.com/office/drawing/2014/main" id="{BC0AEC61-9347-48BB-8F69-454B9120C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5168901"/>
                <a:ext cx="46038" cy="131763"/>
              </a:xfrm>
              <a:custGeom>
                <a:avLst/>
                <a:gdLst>
                  <a:gd name="T0" fmla="*/ 46 w 87"/>
                  <a:gd name="T1" fmla="*/ 250 h 250"/>
                  <a:gd name="T2" fmla="*/ 0 w 87"/>
                  <a:gd name="T3" fmla="*/ 8 h 250"/>
                  <a:gd name="T4" fmla="*/ 42 w 87"/>
                  <a:gd name="T5" fmla="*/ 0 h 250"/>
                  <a:gd name="T6" fmla="*/ 87 w 87"/>
                  <a:gd name="T7" fmla="*/ 243 h 250"/>
                  <a:gd name="T8" fmla="*/ 46 w 87"/>
                  <a:gd name="T9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250">
                    <a:moveTo>
                      <a:pt x="46" y="250"/>
                    </a:moveTo>
                    <a:lnTo>
                      <a:pt x="0" y="8"/>
                    </a:lnTo>
                    <a:lnTo>
                      <a:pt x="42" y="0"/>
                    </a:lnTo>
                    <a:lnTo>
                      <a:pt x="87" y="243"/>
                    </a:lnTo>
                    <a:lnTo>
                      <a:pt x="46" y="2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33" name="Freeform 269">
                <a:extLst>
                  <a:ext uri="{FF2B5EF4-FFF2-40B4-BE49-F238E27FC236}">
                    <a16:creationId xmlns:a16="http://schemas.microsoft.com/office/drawing/2014/main" id="{1C93AC82-83DE-447F-9C98-11853DA74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2338" y="5189538"/>
                <a:ext cx="25400" cy="131763"/>
              </a:xfrm>
              <a:custGeom>
                <a:avLst/>
                <a:gdLst>
                  <a:gd name="T0" fmla="*/ 0 w 47"/>
                  <a:gd name="T1" fmla="*/ 246 h 248"/>
                  <a:gd name="T2" fmla="*/ 5 w 47"/>
                  <a:gd name="T3" fmla="*/ 0 h 248"/>
                  <a:gd name="T4" fmla="*/ 47 w 47"/>
                  <a:gd name="T5" fmla="*/ 0 h 248"/>
                  <a:gd name="T6" fmla="*/ 42 w 47"/>
                  <a:gd name="T7" fmla="*/ 248 h 248"/>
                  <a:gd name="T8" fmla="*/ 0 w 47"/>
                  <a:gd name="T9" fmla="*/ 246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248">
                    <a:moveTo>
                      <a:pt x="0" y="246"/>
                    </a:moveTo>
                    <a:lnTo>
                      <a:pt x="5" y="0"/>
                    </a:lnTo>
                    <a:lnTo>
                      <a:pt x="47" y="0"/>
                    </a:lnTo>
                    <a:lnTo>
                      <a:pt x="42" y="248"/>
                    </a:lnTo>
                    <a:lnTo>
                      <a:pt x="0" y="2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34" name="Freeform 270">
                <a:extLst>
                  <a:ext uri="{FF2B5EF4-FFF2-40B4-BE49-F238E27FC236}">
                    <a16:creationId xmlns:a16="http://schemas.microsoft.com/office/drawing/2014/main" id="{C2260217-2A0E-4EB5-84B6-25334C9D2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8375" y="5191125"/>
                <a:ext cx="22225" cy="131763"/>
              </a:xfrm>
              <a:custGeom>
                <a:avLst/>
                <a:gdLst>
                  <a:gd name="T0" fmla="*/ 1 w 44"/>
                  <a:gd name="T1" fmla="*/ 247 h 247"/>
                  <a:gd name="T2" fmla="*/ 0 w 44"/>
                  <a:gd name="T3" fmla="*/ 0 h 247"/>
                  <a:gd name="T4" fmla="*/ 43 w 44"/>
                  <a:gd name="T5" fmla="*/ 0 h 247"/>
                  <a:gd name="T6" fmla="*/ 44 w 44"/>
                  <a:gd name="T7" fmla="*/ 247 h 247"/>
                  <a:gd name="T8" fmla="*/ 1 w 44"/>
                  <a:gd name="T9" fmla="*/ 24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47">
                    <a:moveTo>
                      <a:pt x="1" y="247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4" y="247"/>
                    </a:lnTo>
                    <a:lnTo>
                      <a:pt x="1" y="2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35" name="Freeform 271">
                <a:extLst>
                  <a:ext uri="{FF2B5EF4-FFF2-40B4-BE49-F238E27FC236}">
                    <a16:creationId xmlns:a16="http://schemas.microsoft.com/office/drawing/2014/main" id="{99991095-B964-4C4B-B0F4-88D226F96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650" y="5191125"/>
                <a:ext cx="26988" cy="131763"/>
              </a:xfrm>
              <a:custGeom>
                <a:avLst/>
                <a:gdLst>
                  <a:gd name="T0" fmla="*/ 8 w 50"/>
                  <a:gd name="T1" fmla="*/ 249 h 249"/>
                  <a:gd name="T2" fmla="*/ 0 w 50"/>
                  <a:gd name="T3" fmla="*/ 1 h 249"/>
                  <a:gd name="T4" fmla="*/ 43 w 50"/>
                  <a:gd name="T5" fmla="*/ 0 h 249"/>
                  <a:gd name="T6" fmla="*/ 50 w 50"/>
                  <a:gd name="T7" fmla="*/ 247 h 249"/>
                  <a:gd name="T8" fmla="*/ 8 w 50"/>
                  <a:gd name="T9" fmla="*/ 249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249">
                    <a:moveTo>
                      <a:pt x="8" y="249"/>
                    </a:moveTo>
                    <a:lnTo>
                      <a:pt x="0" y="1"/>
                    </a:lnTo>
                    <a:lnTo>
                      <a:pt x="43" y="0"/>
                    </a:lnTo>
                    <a:lnTo>
                      <a:pt x="50" y="247"/>
                    </a:lnTo>
                    <a:lnTo>
                      <a:pt x="8" y="2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36" name="Freeform 272">
                <a:extLst>
                  <a:ext uri="{FF2B5EF4-FFF2-40B4-BE49-F238E27FC236}">
                    <a16:creationId xmlns:a16="http://schemas.microsoft.com/office/drawing/2014/main" id="{BE0451C4-2EF5-4447-8357-FD12AE6420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2513" y="5191125"/>
                <a:ext cx="30163" cy="131763"/>
              </a:xfrm>
              <a:custGeom>
                <a:avLst/>
                <a:gdLst>
                  <a:gd name="T0" fmla="*/ 14 w 56"/>
                  <a:gd name="T1" fmla="*/ 248 h 248"/>
                  <a:gd name="T2" fmla="*/ 0 w 56"/>
                  <a:gd name="T3" fmla="*/ 2 h 248"/>
                  <a:gd name="T4" fmla="*/ 42 w 56"/>
                  <a:gd name="T5" fmla="*/ 0 h 248"/>
                  <a:gd name="T6" fmla="*/ 56 w 56"/>
                  <a:gd name="T7" fmla="*/ 246 h 248"/>
                  <a:gd name="T8" fmla="*/ 14 w 56"/>
                  <a:gd name="T9" fmla="*/ 248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248">
                    <a:moveTo>
                      <a:pt x="14" y="248"/>
                    </a:moveTo>
                    <a:lnTo>
                      <a:pt x="0" y="2"/>
                    </a:lnTo>
                    <a:lnTo>
                      <a:pt x="42" y="0"/>
                    </a:lnTo>
                    <a:lnTo>
                      <a:pt x="56" y="246"/>
                    </a:lnTo>
                    <a:lnTo>
                      <a:pt x="14" y="2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37" name="Freeform 273">
                <a:extLst>
                  <a:ext uri="{FF2B5EF4-FFF2-40B4-BE49-F238E27FC236}">
                    <a16:creationId xmlns:a16="http://schemas.microsoft.com/office/drawing/2014/main" id="{173C721F-FB80-467B-B1DD-298429878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3788" y="5187950"/>
                <a:ext cx="33338" cy="131763"/>
              </a:xfrm>
              <a:custGeom>
                <a:avLst/>
                <a:gdLst>
                  <a:gd name="T0" fmla="*/ 21 w 63"/>
                  <a:gd name="T1" fmla="*/ 250 h 250"/>
                  <a:gd name="T2" fmla="*/ 0 w 63"/>
                  <a:gd name="T3" fmla="*/ 4 h 250"/>
                  <a:gd name="T4" fmla="*/ 44 w 63"/>
                  <a:gd name="T5" fmla="*/ 0 h 250"/>
                  <a:gd name="T6" fmla="*/ 63 w 63"/>
                  <a:gd name="T7" fmla="*/ 247 h 250"/>
                  <a:gd name="T8" fmla="*/ 21 w 63"/>
                  <a:gd name="T9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250">
                    <a:moveTo>
                      <a:pt x="21" y="250"/>
                    </a:moveTo>
                    <a:lnTo>
                      <a:pt x="0" y="4"/>
                    </a:lnTo>
                    <a:lnTo>
                      <a:pt x="44" y="0"/>
                    </a:lnTo>
                    <a:lnTo>
                      <a:pt x="63" y="247"/>
                    </a:lnTo>
                    <a:lnTo>
                      <a:pt x="21" y="2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38" name="Freeform 274">
                <a:extLst>
                  <a:ext uri="{FF2B5EF4-FFF2-40B4-BE49-F238E27FC236}">
                    <a16:creationId xmlns:a16="http://schemas.microsoft.com/office/drawing/2014/main" id="{0BBB06B1-0C51-4B7A-B964-CA497C74B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6650" y="5184775"/>
                <a:ext cx="36513" cy="133350"/>
              </a:xfrm>
              <a:custGeom>
                <a:avLst/>
                <a:gdLst>
                  <a:gd name="T0" fmla="*/ 26 w 68"/>
                  <a:gd name="T1" fmla="*/ 250 h 250"/>
                  <a:gd name="T2" fmla="*/ 0 w 68"/>
                  <a:gd name="T3" fmla="*/ 4 h 250"/>
                  <a:gd name="T4" fmla="*/ 42 w 68"/>
                  <a:gd name="T5" fmla="*/ 0 h 250"/>
                  <a:gd name="T6" fmla="*/ 68 w 68"/>
                  <a:gd name="T7" fmla="*/ 245 h 250"/>
                  <a:gd name="T8" fmla="*/ 26 w 68"/>
                  <a:gd name="T9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250">
                    <a:moveTo>
                      <a:pt x="26" y="250"/>
                    </a:moveTo>
                    <a:lnTo>
                      <a:pt x="0" y="4"/>
                    </a:lnTo>
                    <a:lnTo>
                      <a:pt x="42" y="0"/>
                    </a:lnTo>
                    <a:lnTo>
                      <a:pt x="68" y="245"/>
                    </a:lnTo>
                    <a:lnTo>
                      <a:pt x="26" y="2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</p:grpSp>
      <p:grpSp>
        <p:nvGrpSpPr>
          <p:cNvPr id="396" name="Group 395">
            <a:extLst>
              <a:ext uri="{FF2B5EF4-FFF2-40B4-BE49-F238E27FC236}">
                <a16:creationId xmlns:a16="http://schemas.microsoft.com/office/drawing/2014/main" id="{1CF78790-473D-41E7-9B95-003EBBD5AF8F}"/>
              </a:ext>
            </a:extLst>
          </p:cNvPr>
          <p:cNvGrpSpPr/>
          <p:nvPr/>
        </p:nvGrpSpPr>
        <p:grpSpPr>
          <a:xfrm>
            <a:off x="4708230" y="2225826"/>
            <a:ext cx="2851151" cy="2957513"/>
            <a:chOff x="4652963" y="2068513"/>
            <a:chExt cx="2851151" cy="2957513"/>
          </a:xfrm>
        </p:grpSpPr>
        <p:sp>
          <p:nvSpPr>
            <p:cNvPr id="482" name="Freeform 63">
              <a:extLst>
                <a:ext uri="{FF2B5EF4-FFF2-40B4-BE49-F238E27FC236}">
                  <a16:creationId xmlns:a16="http://schemas.microsoft.com/office/drawing/2014/main" id="{B7609057-0201-4F01-8A8F-05FF8C0D47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9638" y="2354263"/>
              <a:ext cx="641350" cy="2181225"/>
            </a:xfrm>
            <a:custGeom>
              <a:avLst/>
              <a:gdLst>
                <a:gd name="T0" fmla="*/ 703 w 1214"/>
                <a:gd name="T1" fmla="*/ 4077 h 4122"/>
                <a:gd name="T2" fmla="*/ 621 w 1214"/>
                <a:gd name="T3" fmla="*/ 3982 h 4122"/>
                <a:gd name="T4" fmla="*/ 542 w 1214"/>
                <a:gd name="T5" fmla="*/ 3884 h 4122"/>
                <a:gd name="T6" fmla="*/ 469 w 1214"/>
                <a:gd name="T7" fmla="*/ 3782 h 4122"/>
                <a:gd name="T8" fmla="*/ 400 w 1214"/>
                <a:gd name="T9" fmla="*/ 3677 h 4122"/>
                <a:gd name="T10" fmla="*/ 337 w 1214"/>
                <a:gd name="T11" fmla="*/ 3567 h 4122"/>
                <a:gd name="T12" fmla="*/ 278 w 1214"/>
                <a:gd name="T13" fmla="*/ 3455 h 4122"/>
                <a:gd name="T14" fmla="*/ 225 w 1214"/>
                <a:gd name="T15" fmla="*/ 3340 h 4122"/>
                <a:gd name="T16" fmla="*/ 177 w 1214"/>
                <a:gd name="T17" fmla="*/ 3221 h 4122"/>
                <a:gd name="T18" fmla="*/ 134 w 1214"/>
                <a:gd name="T19" fmla="*/ 3099 h 4122"/>
                <a:gd name="T20" fmla="*/ 96 w 1214"/>
                <a:gd name="T21" fmla="*/ 2976 h 4122"/>
                <a:gd name="T22" fmla="*/ 66 w 1214"/>
                <a:gd name="T23" fmla="*/ 2849 h 4122"/>
                <a:gd name="T24" fmla="*/ 40 w 1214"/>
                <a:gd name="T25" fmla="*/ 2721 h 4122"/>
                <a:gd name="T26" fmla="*/ 21 w 1214"/>
                <a:gd name="T27" fmla="*/ 2589 h 4122"/>
                <a:gd name="T28" fmla="*/ 8 w 1214"/>
                <a:gd name="T29" fmla="*/ 2457 h 4122"/>
                <a:gd name="T30" fmla="*/ 2 w 1214"/>
                <a:gd name="T31" fmla="*/ 2322 h 4122"/>
                <a:gd name="T32" fmla="*/ 2 w 1214"/>
                <a:gd name="T33" fmla="*/ 2164 h 4122"/>
                <a:gd name="T34" fmla="*/ 13 w 1214"/>
                <a:gd name="T35" fmla="*/ 1990 h 4122"/>
                <a:gd name="T36" fmla="*/ 35 w 1214"/>
                <a:gd name="T37" fmla="*/ 1818 h 4122"/>
                <a:gd name="T38" fmla="*/ 67 w 1214"/>
                <a:gd name="T39" fmla="*/ 1650 h 4122"/>
                <a:gd name="T40" fmla="*/ 109 w 1214"/>
                <a:gd name="T41" fmla="*/ 1488 h 4122"/>
                <a:gd name="T42" fmla="*/ 162 w 1214"/>
                <a:gd name="T43" fmla="*/ 1329 h 4122"/>
                <a:gd name="T44" fmla="*/ 223 w 1214"/>
                <a:gd name="T45" fmla="*/ 1174 h 4122"/>
                <a:gd name="T46" fmla="*/ 294 w 1214"/>
                <a:gd name="T47" fmla="*/ 1025 h 4122"/>
                <a:gd name="T48" fmla="*/ 373 w 1214"/>
                <a:gd name="T49" fmla="*/ 880 h 4122"/>
                <a:gd name="T50" fmla="*/ 460 w 1214"/>
                <a:gd name="T51" fmla="*/ 742 h 4122"/>
                <a:gd name="T52" fmla="*/ 556 w 1214"/>
                <a:gd name="T53" fmla="*/ 610 h 4122"/>
                <a:gd name="T54" fmla="*/ 660 w 1214"/>
                <a:gd name="T55" fmla="*/ 483 h 4122"/>
                <a:gd name="T56" fmla="*/ 772 w 1214"/>
                <a:gd name="T57" fmla="*/ 362 h 4122"/>
                <a:gd name="T58" fmla="*/ 890 w 1214"/>
                <a:gd name="T59" fmla="*/ 250 h 4122"/>
                <a:gd name="T60" fmla="*/ 1014 w 1214"/>
                <a:gd name="T61" fmla="*/ 145 h 4122"/>
                <a:gd name="T62" fmla="*/ 1146 w 1214"/>
                <a:gd name="T63" fmla="*/ 46 h 4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14" h="4122">
                  <a:moveTo>
                    <a:pt x="745" y="4122"/>
                  </a:moveTo>
                  <a:lnTo>
                    <a:pt x="703" y="4077"/>
                  </a:lnTo>
                  <a:lnTo>
                    <a:pt x="660" y="4029"/>
                  </a:lnTo>
                  <a:lnTo>
                    <a:pt x="621" y="3982"/>
                  </a:lnTo>
                  <a:lnTo>
                    <a:pt x="581" y="3933"/>
                  </a:lnTo>
                  <a:lnTo>
                    <a:pt x="542" y="3884"/>
                  </a:lnTo>
                  <a:lnTo>
                    <a:pt x="505" y="3833"/>
                  </a:lnTo>
                  <a:lnTo>
                    <a:pt x="469" y="3782"/>
                  </a:lnTo>
                  <a:lnTo>
                    <a:pt x="435" y="3729"/>
                  </a:lnTo>
                  <a:lnTo>
                    <a:pt x="400" y="3677"/>
                  </a:lnTo>
                  <a:lnTo>
                    <a:pt x="368" y="3622"/>
                  </a:lnTo>
                  <a:lnTo>
                    <a:pt x="337" y="3567"/>
                  </a:lnTo>
                  <a:lnTo>
                    <a:pt x="307" y="3511"/>
                  </a:lnTo>
                  <a:lnTo>
                    <a:pt x="278" y="3455"/>
                  </a:lnTo>
                  <a:lnTo>
                    <a:pt x="252" y="3397"/>
                  </a:lnTo>
                  <a:lnTo>
                    <a:pt x="225" y="3340"/>
                  </a:lnTo>
                  <a:lnTo>
                    <a:pt x="200" y="3281"/>
                  </a:lnTo>
                  <a:lnTo>
                    <a:pt x="177" y="3221"/>
                  </a:lnTo>
                  <a:lnTo>
                    <a:pt x="154" y="3160"/>
                  </a:lnTo>
                  <a:lnTo>
                    <a:pt x="134" y="3099"/>
                  </a:lnTo>
                  <a:lnTo>
                    <a:pt x="114" y="3037"/>
                  </a:lnTo>
                  <a:lnTo>
                    <a:pt x="96" y="2976"/>
                  </a:lnTo>
                  <a:lnTo>
                    <a:pt x="81" y="2913"/>
                  </a:lnTo>
                  <a:lnTo>
                    <a:pt x="66" y="2849"/>
                  </a:lnTo>
                  <a:lnTo>
                    <a:pt x="52" y="2785"/>
                  </a:lnTo>
                  <a:lnTo>
                    <a:pt x="40" y="2721"/>
                  </a:lnTo>
                  <a:lnTo>
                    <a:pt x="30" y="2655"/>
                  </a:lnTo>
                  <a:lnTo>
                    <a:pt x="21" y="2589"/>
                  </a:lnTo>
                  <a:lnTo>
                    <a:pt x="13" y="2523"/>
                  </a:lnTo>
                  <a:lnTo>
                    <a:pt x="8" y="2457"/>
                  </a:lnTo>
                  <a:lnTo>
                    <a:pt x="4" y="2389"/>
                  </a:lnTo>
                  <a:lnTo>
                    <a:pt x="2" y="2322"/>
                  </a:lnTo>
                  <a:lnTo>
                    <a:pt x="0" y="2253"/>
                  </a:lnTo>
                  <a:lnTo>
                    <a:pt x="2" y="2164"/>
                  </a:lnTo>
                  <a:lnTo>
                    <a:pt x="5" y="2077"/>
                  </a:lnTo>
                  <a:lnTo>
                    <a:pt x="13" y="1990"/>
                  </a:lnTo>
                  <a:lnTo>
                    <a:pt x="22" y="1904"/>
                  </a:lnTo>
                  <a:lnTo>
                    <a:pt x="35" y="1818"/>
                  </a:lnTo>
                  <a:lnTo>
                    <a:pt x="49" y="1734"/>
                  </a:lnTo>
                  <a:lnTo>
                    <a:pt x="67" y="1650"/>
                  </a:lnTo>
                  <a:lnTo>
                    <a:pt x="86" y="1568"/>
                  </a:lnTo>
                  <a:lnTo>
                    <a:pt x="109" y="1488"/>
                  </a:lnTo>
                  <a:lnTo>
                    <a:pt x="134" y="1407"/>
                  </a:lnTo>
                  <a:lnTo>
                    <a:pt x="162" y="1329"/>
                  </a:lnTo>
                  <a:lnTo>
                    <a:pt x="191" y="1251"/>
                  </a:lnTo>
                  <a:lnTo>
                    <a:pt x="223" y="1174"/>
                  </a:lnTo>
                  <a:lnTo>
                    <a:pt x="257" y="1098"/>
                  </a:lnTo>
                  <a:lnTo>
                    <a:pt x="294" y="1025"/>
                  </a:lnTo>
                  <a:lnTo>
                    <a:pt x="332" y="952"/>
                  </a:lnTo>
                  <a:lnTo>
                    <a:pt x="373" y="880"/>
                  </a:lnTo>
                  <a:lnTo>
                    <a:pt x="416" y="811"/>
                  </a:lnTo>
                  <a:lnTo>
                    <a:pt x="460" y="742"/>
                  </a:lnTo>
                  <a:lnTo>
                    <a:pt x="508" y="675"/>
                  </a:lnTo>
                  <a:lnTo>
                    <a:pt x="556" y="610"/>
                  </a:lnTo>
                  <a:lnTo>
                    <a:pt x="608" y="546"/>
                  </a:lnTo>
                  <a:lnTo>
                    <a:pt x="660" y="483"/>
                  </a:lnTo>
                  <a:lnTo>
                    <a:pt x="714" y="423"/>
                  </a:lnTo>
                  <a:lnTo>
                    <a:pt x="772" y="362"/>
                  </a:lnTo>
                  <a:lnTo>
                    <a:pt x="829" y="306"/>
                  </a:lnTo>
                  <a:lnTo>
                    <a:pt x="890" y="250"/>
                  </a:lnTo>
                  <a:lnTo>
                    <a:pt x="951" y="196"/>
                  </a:lnTo>
                  <a:lnTo>
                    <a:pt x="1014" y="145"/>
                  </a:lnTo>
                  <a:lnTo>
                    <a:pt x="1079" y="95"/>
                  </a:lnTo>
                  <a:lnTo>
                    <a:pt x="1146" y="46"/>
                  </a:lnTo>
                  <a:lnTo>
                    <a:pt x="1214" y="0"/>
                  </a:lnTo>
                </a:path>
              </a:pathLst>
            </a:custGeom>
            <a:noFill/>
            <a:ln w="38100">
              <a:solidFill>
                <a:schemeClr val="accent4">
                  <a:alpha val="66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3" name="Freeform 64">
              <a:extLst>
                <a:ext uri="{FF2B5EF4-FFF2-40B4-BE49-F238E27FC236}">
                  <a16:creationId xmlns:a16="http://schemas.microsoft.com/office/drawing/2014/main" id="{FE081137-B154-4F4F-A86E-8F4F1784C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538" y="3952876"/>
              <a:ext cx="1965325" cy="1004888"/>
            </a:xfrm>
            <a:custGeom>
              <a:avLst/>
              <a:gdLst>
                <a:gd name="T0" fmla="*/ 3714 w 3714"/>
                <a:gd name="T1" fmla="*/ 0 h 1901"/>
                <a:gd name="T2" fmla="*/ 3682 w 3714"/>
                <a:gd name="T3" fmla="*/ 102 h 1901"/>
                <a:gd name="T4" fmla="*/ 3646 w 3714"/>
                <a:gd name="T5" fmla="*/ 203 h 1901"/>
                <a:gd name="T6" fmla="*/ 3606 w 3714"/>
                <a:gd name="T7" fmla="*/ 301 h 1901"/>
                <a:gd name="T8" fmla="*/ 3564 w 3714"/>
                <a:gd name="T9" fmla="*/ 398 h 1901"/>
                <a:gd name="T10" fmla="*/ 3516 w 3714"/>
                <a:gd name="T11" fmla="*/ 491 h 1901"/>
                <a:gd name="T12" fmla="*/ 3466 w 3714"/>
                <a:gd name="T13" fmla="*/ 583 h 1901"/>
                <a:gd name="T14" fmla="*/ 3412 w 3714"/>
                <a:gd name="T15" fmla="*/ 673 h 1901"/>
                <a:gd name="T16" fmla="*/ 3355 w 3714"/>
                <a:gd name="T17" fmla="*/ 760 h 1901"/>
                <a:gd name="T18" fmla="*/ 3295 w 3714"/>
                <a:gd name="T19" fmla="*/ 846 h 1901"/>
                <a:gd name="T20" fmla="*/ 3232 w 3714"/>
                <a:gd name="T21" fmla="*/ 928 h 1901"/>
                <a:gd name="T22" fmla="*/ 3165 w 3714"/>
                <a:gd name="T23" fmla="*/ 1008 h 1901"/>
                <a:gd name="T24" fmla="*/ 3096 w 3714"/>
                <a:gd name="T25" fmla="*/ 1085 h 1901"/>
                <a:gd name="T26" fmla="*/ 3023 w 3714"/>
                <a:gd name="T27" fmla="*/ 1159 h 1901"/>
                <a:gd name="T28" fmla="*/ 2949 w 3714"/>
                <a:gd name="T29" fmla="*/ 1229 h 1901"/>
                <a:gd name="T30" fmla="*/ 2870 w 3714"/>
                <a:gd name="T31" fmla="*/ 1297 h 1901"/>
                <a:gd name="T32" fmla="*/ 2791 w 3714"/>
                <a:gd name="T33" fmla="*/ 1363 h 1901"/>
                <a:gd name="T34" fmla="*/ 2708 w 3714"/>
                <a:gd name="T35" fmla="*/ 1424 h 1901"/>
                <a:gd name="T36" fmla="*/ 2623 w 3714"/>
                <a:gd name="T37" fmla="*/ 1483 h 1901"/>
                <a:gd name="T38" fmla="*/ 2535 w 3714"/>
                <a:gd name="T39" fmla="*/ 1538 h 1901"/>
                <a:gd name="T40" fmla="*/ 2445 w 3714"/>
                <a:gd name="T41" fmla="*/ 1590 h 1901"/>
                <a:gd name="T42" fmla="*/ 2353 w 3714"/>
                <a:gd name="T43" fmla="*/ 1637 h 1901"/>
                <a:gd name="T44" fmla="*/ 2259 w 3714"/>
                <a:gd name="T45" fmla="*/ 1682 h 1901"/>
                <a:gd name="T46" fmla="*/ 2163 w 3714"/>
                <a:gd name="T47" fmla="*/ 1722 h 1901"/>
                <a:gd name="T48" fmla="*/ 2066 w 3714"/>
                <a:gd name="T49" fmla="*/ 1759 h 1901"/>
                <a:gd name="T50" fmla="*/ 1966 w 3714"/>
                <a:gd name="T51" fmla="*/ 1791 h 1901"/>
                <a:gd name="T52" fmla="*/ 1865 w 3714"/>
                <a:gd name="T53" fmla="*/ 1820 h 1901"/>
                <a:gd name="T54" fmla="*/ 1762 w 3714"/>
                <a:gd name="T55" fmla="*/ 1845 h 1901"/>
                <a:gd name="T56" fmla="*/ 1657 w 3714"/>
                <a:gd name="T57" fmla="*/ 1864 h 1901"/>
                <a:gd name="T58" fmla="*/ 1552 w 3714"/>
                <a:gd name="T59" fmla="*/ 1881 h 1901"/>
                <a:gd name="T60" fmla="*/ 1444 w 3714"/>
                <a:gd name="T61" fmla="*/ 1892 h 1901"/>
                <a:gd name="T62" fmla="*/ 1335 w 3714"/>
                <a:gd name="T63" fmla="*/ 1898 h 1901"/>
                <a:gd name="T64" fmla="*/ 1226 w 3714"/>
                <a:gd name="T65" fmla="*/ 1901 h 1901"/>
                <a:gd name="T66" fmla="*/ 1185 w 3714"/>
                <a:gd name="T67" fmla="*/ 1901 h 1901"/>
                <a:gd name="T68" fmla="*/ 1143 w 3714"/>
                <a:gd name="T69" fmla="*/ 1900 h 1901"/>
                <a:gd name="T70" fmla="*/ 1102 w 3714"/>
                <a:gd name="T71" fmla="*/ 1898 h 1901"/>
                <a:gd name="T72" fmla="*/ 1061 w 3714"/>
                <a:gd name="T73" fmla="*/ 1896 h 1901"/>
                <a:gd name="T74" fmla="*/ 1020 w 3714"/>
                <a:gd name="T75" fmla="*/ 1893 h 1901"/>
                <a:gd name="T76" fmla="*/ 980 w 3714"/>
                <a:gd name="T77" fmla="*/ 1889 h 1901"/>
                <a:gd name="T78" fmla="*/ 939 w 3714"/>
                <a:gd name="T79" fmla="*/ 1884 h 1901"/>
                <a:gd name="T80" fmla="*/ 900 w 3714"/>
                <a:gd name="T81" fmla="*/ 1881 h 1901"/>
                <a:gd name="T82" fmla="*/ 859 w 3714"/>
                <a:gd name="T83" fmla="*/ 1874 h 1901"/>
                <a:gd name="T84" fmla="*/ 819 w 3714"/>
                <a:gd name="T85" fmla="*/ 1869 h 1901"/>
                <a:gd name="T86" fmla="*/ 779 w 3714"/>
                <a:gd name="T87" fmla="*/ 1861 h 1901"/>
                <a:gd name="T88" fmla="*/ 740 w 3714"/>
                <a:gd name="T89" fmla="*/ 1855 h 1901"/>
                <a:gd name="T90" fmla="*/ 661 w 3714"/>
                <a:gd name="T91" fmla="*/ 1838 h 1901"/>
                <a:gd name="T92" fmla="*/ 584 w 3714"/>
                <a:gd name="T93" fmla="*/ 1819 h 1901"/>
                <a:gd name="T94" fmla="*/ 508 w 3714"/>
                <a:gd name="T95" fmla="*/ 1797 h 1901"/>
                <a:gd name="T96" fmla="*/ 432 w 3714"/>
                <a:gd name="T97" fmla="*/ 1774 h 1901"/>
                <a:gd name="T98" fmla="*/ 358 w 3714"/>
                <a:gd name="T99" fmla="*/ 1748 h 1901"/>
                <a:gd name="T100" fmla="*/ 283 w 3714"/>
                <a:gd name="T101" fmla="*/ 1720 h 1901"/>
                <a:gd name="T102" fmla="*/ 212 w 3714"/>
                <a:gd name="T103" fmla="*/ 1690 h 1901"/>
                <a:gd name="T104" fmla="*/ 140 w 3714"/>
                <a:gd name="T105" fmla="*/ 1657 h 1901"/>
                <a:gd name="T106" fmla="*/ 69 w 3714"/>
                <a:gd name="T107" fmla="*/ 1623 h 1901"/>
                <a:gd name="T108" fmla="*/ 0 w 3714"/>
                <a:gd name="T109" fmla="*/ 1586 h 1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14" h="1901">
                  <a:moveTo>
                    <a:pt x="3714" y="0"/>
                  </a:moveTo>
                  <a:lnTo>
                    <a:pt x="3682" y="102"/>
                  </a:lnTo>
                  <a:lnTo>
                    <a:pt x="3646" y="203"/>
                  </a:lnTo>
                  <a:lnTo>
                    <a:pt x="3606" y="301"/>
                  </a:lnTo>
                  <a:lnTo>
                    <a:pt x="3564" y="398"/>
                  </a:lnTo>
                  <a:lnTo>
                    <a:pt x="3516" y="491"/>
                  </a:lnTo>
                  <a:lnTo>
                    <a:pt x="3466" y="583"/>
                  </a:lnTo>
                  <a:lnTo>
                    <a:pt x="3412" y="673"/>
                  </a:lnTo>
                  <a:lnTo>
                    <a:pt x="3355" y="760"/>
                  </a:lnTo>
                  <a:lnTo>
                    <a:pt x="3295" y="846"/>
                  </a:lnTo>
                  <a:lnTo>
                    <a:pt x="3232" y="928"/>
                  </a:lnTo>
                  <a:lnTo>
                    <a:pt x="3165" y="1008"/>
                  </a:lnTo>
                  <a:lnTo>
                    <a:pt x="3096" y="1085"/>
                  </a:lnTo>
                  <a:lnTo>
                    <a:pt x="3023" y="1159"/>
                  </a:lnTo>
                  <a:lnTo>
                    <a:pt x="2949" y="1229"/>
                  </a:lnTo>
                  <a:lnTo>
                    <a:pt x="2870" y="1297"/>
                  </a:lnTo>
                  <a:lnTo>
                    <a:pt x="2791" y="1363"/>
                  </a:lnTo>
                  <a:lnTo>
                    <a:pt x="2708" y="1424"/>
                  </a:lnTo>
                  <a:lnTo>
                    <a:pt x="2623" y="1483"/>
                  </a:lnTo>
                  <a:lnTo>
                    <a:pt x="2535" y="1538"/>
                  </a:lnTo>
                  <a:lnTo>
                    <a:pt x="2445" y="1590"/>
                  </a:lnTo>
                  <a:lnTo>
                    <a:pt x="2353" y="1637"/>
                  </a:lnTo>
                  <a:lnTo>
                    <a:pt x="2259" y="1682"/>
                  </a:lnTo>
                  <a:lnTo>
                    <a:pt x="2163" y="1722"/>
                  </a:lnTo>
                  <a:lnTo>
                    <a:pt x="2066" y="1759"/>
                  </a:lnTo>
                  <a:lnTo>
                    <a:pt x="1966" y="1791"/>
                  </a:lnTo>
                  <a:lnTo>
                    <a:pt x="1865" y="1820"/>
                  </a:lnTo>
                  <a:lnTo>
                    <a:pt x="1762" y="1845"/>
                  </a:lnTo>
                  <a:lnTo>
                    <a:pt x="1657" y="1864"/>
                  </a:lnTo>
                  <a:lnTo>
                    <a:pt x="1552" y="1881"/>
                  </a:lnTo>
                  <a:lnTo>
                    <a:pt x="1444" y="1892"/>
                  </a:lnTo>
                  <a:lnTo>
                    <a:pt x="1335" y="1898"/>
                  </a:lnTo>
                  <a:lnTo>
                    <a:pt x="1226" y="1901"/>
                  </a:lnTo>
                  <a:lnTo>
                    <a:pt x="1185" y="1901"/>
                  </a:lnTo>
                  <a:lnTo>
                    <a:pt x="1143" y="1900"/>
                  </a:lnTo>
                  <a:lnTo>
                    <a:pt x="1102" y="1898"/>
                  </a:lnTo>
                  <a:lnTo>
                    <a:pt x="1061" y="1896"/>
                  </a:lnTo>
                  <a:lnTo>
                    <a:pt x="1020" y="1893"/>
                  </a:lnTo>
                  <a:lnTo>
                    <a:pt x="980" y="1889"/>
                  </a:lnTo>
                  <a:lnTo>
                    <a:pt x="939" y="1884"/>
                  </a:lnTo>
                  <a:lnTo>
                    <a:pt x="900" y="1881"/>
                  </a:lnTo>
                  <a:lnTo>
                    <a:pt x="859" y="1874"/>
                  </a:lnTo>
                  <a:lnTo>
                    <a:pt x="819" y="1869"/>
                  </a:lnTo>
                  <a:lnTo>
                    <a:pt x="779" y="1861"/>
                  </a:lnTo>
                  <a:lnTo>
                    <a:pt x="740" y="1855"/>
                  </a:lnTo>
                  <a:lnTo>
                    <a:pt x="661" y="1838"/>
                  </a:lnTo>
                  <a:lnTo>
                    <a:pt x="584" y="1819"/>
                  </a:lnTo>
                  <a:lnTo>
                    <a:pt x="508" y="1797"/>
                  </a:lnTo>
                  <a:lnTo>
                    <a:pt x="432" y="1774"/>
                  </a:lnTo>
                  <a:lnTo>
                    <a:pt x="358" y="1748"/>
                  </a:lnTo>
                  <a:lnTo>
                    <a:pt x="283" y="1720"/>
                  </a:lnTo>
                  <a:lnTo>
                    <a:pt x="212" y="1690"/>
                  </a:lnTo>
                  <a:lnTo>
                    <a:pt x="140" y="1657"/>
                  </a:lnTo>
                  <a:lnTo>
                    <a:pt x="69" y="1623"/>
                  </a:lnTo>
                  <a:lnTo>
                    <a:pt x="0" y="1586"/>
                  </a:lnTo>
                </a:path>
              </a:pathLst>
            </a:custGeom>
            <a:noFill/>
            <a:ln w="38100">
              <a:solidFill>
                <a:schemeClr val="accent4">
                  <a:alpha val="66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4" name="Freeform 65">
              <a:extLst>
                <a:ext uri="{FF2B5EF4-FFF2-40B4-BE49-F238E27FC236}">
                  <a16:creationId xmlns:a16="http://schemas.microsoft.com/office/drawing/2014/main" id="{85D281EE-B52D-48A0-B541-92D61C2DF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038" y="2136776"/>
              <a:ext cx="1687513" cy="1185863"/>
            </a:xfrm>
            <a:custGeom>
              <a:avLst/>
              <a:gdLst>
                <a:gd name="T0" fmla="*/ 0 w 3189"/>
                <a:gd name="T1" fmla="*/ 76 h 2243"/>
                <a:gd name="T2" fmla="*/ 75 w 3189"/>
                <a:gd name="T3" fmla="*/ 58 h 2243"/>
                <a:gd name="T4" fmla="*/ 152 w 3189"/>
                <a:gd name="T5" fmla="*/ 42 h 2243"/>
                <a:gd name="T6" fmla="*/ 229 w 3189"/>
                <a:gd name="T7" fmla="*/ 29 h 2243"/>
                <a:gd name="T8" fmla="*/ 307 w 3189"/>
                <a:gd name="T9" fmla="*/ 19 h 2243"/>
                <a:gd name="T10" fmla="*/ 387 w 3189"/>
                <a:gd name="T11" fmla="*/ 10 h 2243"/>
                <a:gd name="T12" fmla="*/ 466 w 3189"/>
                <a:gd name="T13" fmla="*/ 5 h 2243"/>
                <a:gd name="T14" fmla="*/ 546 w 3189"/>
                <a:gd name="T15" fmla="*/ 1 h 2243"/>
                <a:gd name="T16" fmla="*/ 626 w 3189"/>
                <a:gd name="T17" fmla="*/ 0 h 2243"/>
                <a:gd name="T18" fmla="*/ 747 w 3189"/>
                <a:gd name="T19" fmla="*/ 3 h 2243"/>
                <a:gd name="T20" fmla="*/ 866 w 3189"/>
                <a:gd name="T21" fmla="*/ 12 h 2243"/>
                <a:gd name="T22" fmla="*/ 984 w 3189"/>
                <a:gd name="T23" fmla="*/ 26 h 2243"/>
                <a:gd name="T24" fmla="*/ 1099 w 3189"/>
                <a:gd name="T25" fmla="*/ 45 h 2243"/>
                <a:gd name="T26" fmla="*/ 1213 w 3189"/>
                <a:gd name="T27" fmla="*/ 69 h 2243"/>
                <a:gd name="T28" fmla="*/ 1326 w 3189"/>
                <a:gd name="T29" fmla="*/ 97 h 2243"/>
                <a:gd name="T30" fmla="*/ 1436 w 3189"/>
                <a:gd name="T31" fmla="*/ 132 h 2243"/>
                <a:gd name="T32" fmla="*/ 1545 w 3189"/>
                <a:gd name="T33" fmla="*/ 172 h 2243"/>
                <a:gd name="T34" fmla="*/ 1650 w 3189"/>
                <a:gd name="T35" fmla="*/ 215 h 2243"/>
                <a:gd name="T36" fmla="*/ 1754 w 3189"/>
                <a:gd name="T37" fmla="*/ 264 h 2243"/>
                <a:gd name="T38" fmla="*/ 1855 w 3189"/>
                <a:gd name="T39" fmla="*/ 317 h 2243"/>
                <a:gd name="T40" fmla="*/ 1954 w 3189"/>
                <a:gd name="T41" fmla="*/ 374 h 2243"/>
                <a:gd name="T42" fmla="*/ 2049 w 3189"/>
                <a:gd name="T43" fmla="*/ 436 h 2243"/>
                <a:gd name="T44" fmla="*/ 2142 w 3189"/>
                <a:gd name="T45" fmla="*/ 501 h 2243"/>
                <a:gd name="T46" fmla="*/ 2232 w 3189"/>
                <a:gd name="T47" fmla="*/ 572 h 2243"/>
                <a:gd name="T48" fmla="*/ 2319 w 3189"/>
                <a:gd name="T49" fmla="*/ 645 h 2243"/>
                <a:gd name="T50" fmla="*/ 2402 w 3189"/>
                <a:gd name="T51" fmla="*/ 722 h 2243"/>
                <a:gd name="T52" fmla="*/ 2483 w 3189"/>
                <a:gd name="T53" fmla="*/ 802 h 2243"/>
                <a:gd name="T54" fmla="*/ 2560 w 3189"/>
                <a:gd name="T55" fmla="*/ 887 h 2243"/>
                <a:gd name="T56" fmla="*/ 2633 w 3189"/>
                <a:gd name="T57" fmla="*/ 974 h 2243"/>
                <a:gd name="T58" fmla="*/ 2702 w 3189"/>
                <a:gd name="T59" fmla="*/ 1065 h 2243"/>
                <a:gd name="T60" fmla="*/ 2768 w 3189"/>
                <a:gd name="T61" fmla="*/ 1159 h 2243"/>
                <a:gd name="T62" fmla="*/ 2830 w 3189"/>
                <a:gd name="T63" fmla="*/ 1256 h 2243"/>
                <a:gd name="T64" fmla="*/ 2888 w 3189"/>
                <a:gd name="T65" fmla="*/ 1356 h 2243"/>
                <a:gd name="T66" fmla="*/ 2941 w 3189"/>
                <a:gd name="T67" fmla="*/ 1459 h 2243"/>
                <a:gd name="T68" fmla="*/ 2991 w 3189"/>
                <a:gd name="T69" fmla="*/ 1564 h 2243"/>
                <a:gd name="T70" fmla="*/ 3035 w 3189"/>
                <a:gd name="T71" fmla="*/ 1671 h 2243"/>
                <a:gd name="T72" fmla="*/ 3076 w 3189"/>
                <a:gd name="T73" fmla="*/ 1782 h 2243"/>
                <a:gd name="T74" fmla="*/ 3111 w 3189"/>
                <a:gd name="T75" fmla="*/ 1893 h 2243"/>
                <a:gd name="T76" fmla="*/ 3143 w 3189"/>
                <a:gd name="T77" fmla="*/ 2008 h 2243"/>
                <a:gd name="T78" fmla="*/ 3169 w 3189"/>
                <a:gd name="T79" fmla="*/ 2124 h 2243"/>
                <a:gd name="T80" fmla="*/ 3189 w 3189"/>
                <a:gd name="T81" fmla="*/ 2243 h 2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89" h="2243">
                  <a:moveTo>
                    <a:pt x="0" y="76"/>
                  </a:moveTo>
                  <a:lnTo>
                    <a:pt x="75" y="58"/>
                  </a:lnTo>
                  <a:lnTo>
                    <a:pt x="152" y="42"/>
                  </a:lnTo>
                  <a:lnTo>
                    <a:pt x="229" y="29"/>
                  </a:lnTo>
                  <a:lnTo>
                    <a:pt x="307" y="19"/>
                  </a:lnTo>
                  <a:lnTo>
                    <a:pt x="387" y="10"/>
                  </a:lnTo>
                  <a:lnTo>
                    <a:pt x="466" y="5"/>
                  </a:lnTo>
                  <a:lnTo>
                    <a:pt x="546" y="1"/>
                  </a:lnTo>
                  <a:lnTo>
                    <a:pt x="626" y="0"/>
                  </a:lnTo>
                  <a:lnTo>
                    <a:pt x="747" y="3"/>
                  </a:lnTo>
                  <a:lnTo>
                    <a:pt x="866" y="12"/>
                  </a:lnTo>
                  <a:lnTo>
                    <a:pt x="984" y="26"/>
                  </a:lnTo>
                  <a:lnTo>
                    <a:pt x="1099" y="45"/>
                  </a:lnTo>
                  <a:lnTo>
                    <a:pt x="1213" y="69"/>
                  </a:lnTo>
                  <a:lnTo>
                    <a:pt x="1326" y="97"/>
                  </a:lnTo>
                  <a:lnTo>
                    <a:pt x="1436" y="132"/>
                  </a:lnTo>
                  <a:lnTo>
                    <a:pt x="1545" y="172"/>
                  </a:lnTo>
                  <a:lnTo>
                    <a:pt x="1650" y="215"/>
                  </a:lnTo>
                  <a:lnTo>
                    <a:pt x="1754" y="264"/>
                  </a:lnTo>
                  <a:lnTo>
                    <a:pt x="1855" y="317"/>
                  </a:lnTo>
                  <a:lnTo>
                    <a:pt x="1954" y="374"/>
                  </a:lnTo>
                  <a:lnTo>
                    <a:pt x="2049" y="436"/>
                  </a:lnTo>
                  <a:lnTo>
                    <a:pt x="2142" y="501"/>
                  </a:lnTo>
                  <a:lnTo>
                    <a:pt x="2232" y="572"/>
                  </a:lnTo>
                  <a:lnTo>
                    <a:pt x="2319" y="645"/>
                  </a:lnTo>
                  <a:lnTo>
                    <a:pt x="2402" y="722"/>
                  </a:lnTo>
                  <a:lnTo>
                    <a:pt x="2483" y="802"/>
                  </a:lnTo>
                  <a:lnTo>
                    <a:pt x="2560" y="887"/>
                  </a:lnTo>
                  <a:lnTo>
                    <a:pt x="2633" y="974"/>
                  </a:lnTo>
                  <a:lnTo>
                    <a:pt x="2702" y="1065"/>
                  </a:lnTo>
                  <a:lnTo>
                    <a:pt x="2768" y="1159"/>
                  </a:lnTo>
                  <a:lnTo>
                    <a:pt x="2830" y="1256"/>
                  </a:lnTo>
                  <a:lnTo>
                    <a:pt x="2888" y="1356"/>
                  </a:lnTo>
                  <a:lnTo>
                    <a:pt x="2941" y="1459"/>
                  </a:lnTo>
                  <a:lnTo>
                    <a:pt x="2991" y="1564"/>
                  </a:lnTo>
                  <a:lnTo>
                    <a:pt x="3035" y="1671"/>
                  </a:lnTo>
                  <a:lnTo>
                    <a:pt x="3076" y="1782"/>
                  </a:lnTo>
                  <a:lnTo>
                    <a:pt x="3111" y="1893"/>
                  </a:lnTo>
                  <a:lnTo>
                    <a:pt x="3143" y="2008"/>
                  </a:lnTo>
                  <a:lnTo>
                    <a:pt x="3169" y="2124"/>
                  </a:lnTo>
                  <a:lnTo>
                    <a:pt x="3189" y="2243"/>
                  </a:lnTo>
                </a:path>
              </a:pathLst>
            </a:custGeom>
            <a:noFill/>
            <a:ln w="38100">
              <a:solidFill>
                <a:schemeClr val="accent4">
                  <a:alpha val="66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5" name="Freeform 67">
              <a:extLst>
                <a:ext uri="{FF2B5EF4-FFF2-40B4-BE49-F238E27FC236}">
                  <a16:creationId xmlns:a16="http://schemas.microsoft.com/office/drawing/2014/main" id="{D39EEE7C-9ECC-41A4-ADDF-D624BB908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501" y="3841751"/>
              <a:ext cx="1725613" cy="1184275"/>
            </a:xfrm>
            <a:custGeom>
              <a:avLst/>
              <a:gdLst>
                <a:gd name="T0" fmla="*/ 3261 w 3261"/>
                <a:gd name="T1" fmla="*/ 0 h 2237"/>
                <a:gd name="T2" fmla="*/ 3235 w 3261"/>
                <a:gd name="T3" fmla="*/ 120 h 2237"/>
                <a:gd name="T4" fmla="*/ 3204 w 3261"/>
                <a:gd name="T5" fmla="*/ 236 h 2237"/>
                <a:gd name="T6" fmla="*/ 3168 w 3261"/>
                <a:gd name="T7" fmla="*/ 352 h 2237"/>
                <a:gd name="T8" fmla="*/ 3129 w 3261"/>
                <a:gd name="T9" fmla="*/ 463 h 2237"/>
                <a:gd name="T10" fmla="*/ 3084 w 3261"/>
                <a:gd name="T11" fmla="*/ 573 h 2237"/>
                <a:gd name="T12" fmla="*/ 3034 w 3261"/>
                <a:gd name="T13" fmla="*/ 681 h 2237"/>
                <a:gd name="T14" fmla="*/ 2981 w 3261"/>
                <a:gd name="T15" fmla="*/ 786 h 2237"/>
                <a:gd name="T16" fmla="*/ 2924 w 3261"/>
                <a:gd name="T17" fmla="*/ 889 h 2237"/>
                <a:gd name="T18" fmla="*/ 2862 w 3261"/>
                <a:gd name="T19" fmla="*/ 989 h 2237"/>
                <a:gd name="T20" fmla="*/ 2797 w 3261"/>
                <a:gd name="T21" fmla="*/ 1085 h 2237"/>
                <a:gd name="T22" fmla="*/ 2728 w 3261"/>
                <a:gd name="T23" fmla="*/ 1178 h 2237"/>
                <a:gd name="T24" fmla="*/ 2655 w 3261"/>
                <a:gd name="T25" fmla="*/ 1269 h 2237"/>
                <a:gd name="T26" fmla="*/ 2578 w 3261"/>
                <a:gd name="T27" fmla="*/ 1356 h 2237"/>
                <a:gd name="T28" fmla="*/ 2497 w 3261"/>
                <a:gd name="T29" fmla="*/ 1440 h 2237"/>
                <a:gd name="T30" fmla="*/ 2414 w 3261"/>
                <a:gd name="T31" fmla="*/ 1520 h 2237"/>
                <a:gd name="T32" fmla="*/ 2328 w 3261"/>
                <a:gd name="T33" fmla="*/ 1597 h 2237"/>
                <a:gd name="T34" fmla="*/ 2238 w 3261"/>
                <a:gd name="T35" fmla="*/ 1670 h 2237"/>
                <a:gd name="T36" fmla="*/ 2145 w 3261"/>
                <a:gd name="T37" fmla="*/ 1740 h 2237"/>
                <a:gd name="T38" fmla="*/ 2050 w 3261"/>
                <a:gd name="T39" fmla="*/ 1805 h 2237"/>
                <a:gd name="T40" fmla="*/ 1951 w 3261"/>
                <a:gd name="T41" fmla="*/ 1866 h 2237"/>
                <a:gd name="T42" fmla="*/ 1850 w 3261"/>
                <a:gd name="T43" fmla="*/ 1923 h 2237"/>
                <a:gd name="T44" fmla="*/ 1746 w 3261"/>
                <a:gd name="T45" fmla="*/ 1975 h 2237"/>
                <a:gd name="T46" fmla="*/ 1640 w 3261"/>
                <a:gd name="T47" fmla="*/ 2024 h 2237"/>
                <a:gd name="T48" fmla="*/ 1532 w 3261"/>
                <a:gd name="T49" fmla="*/ 2068 h 2237"/>
                <a:gd name="T50" fmla="*/ 1421 w 3261"/>
                <a:gd name="T51" fmla="*/ 2106 h 2237"/>
                <a:gd name="T52" fmla="*/ 1309 w 3261"/>
                <a:gd name="T53" fmla="*/ 2139 h 2237"/>
                <a:gd name="T54" fmla="*/ 1194 w 3261"/>
                <a:gd name="T55" fmla="*/ 2169 h 2237"/>
                <a:gd name="T56" fmla="*/ 1077 w 3261"/>
                <a:gd name="T57" fmla="*/ 2193 h 2237"/>
                <a:gd name="T58" fmla="*/ 959 w 3261"/>
                <a:gd name="T59" fmla="*/ 2213 h 2237"/>
                <a:gd name="T60" fmla="*/ 839 w 3261"/>
                <a:gd name="T61" fmla="*/ 2227 h 2237"/>
                <a:gd name="T62" fmla="*/ 718 w 3261"/>
                <a:gd name="T63" fmla="*/ 2234 h 2237"/>
                <a:gd name="T64" fmla="*/ 595 w 3261"/>
                <a:gd name="T65" fmla="*/ 2237 h 2237"/>
                <a:gd name="T66" fmla="*/ 519 w 3261"/>
                <a:gd name="T67" fmla="*/ 2236 h 2237"/>
                <a:gd name="T68" fmla="*/ 443 w 3261"/>
                <a:gd name="T69" fmla="*/ 2233 h 2237"/>
                <a:gd name="T70" fmla="*/ 367 w 3261"/>
                <a:gd name="T71" fmla="*/ 2228 h 2237"/>
                <a:gd name="T72" fmla="*/ 292 w 3261"/>
                <a:gd name="T73" fmla="*/ 2220 h 2237"/>
                <a:gd name="T74" fmla="*/ 217 w 3261"/>
                <a:gd name="T75" fmla="*/ 2210 h 2237"/>
                <a:gd name="T76" fmla="*/ 144 w 3261"/>
                <a:gd name="T77" fmla="*/ 2198 h 2237"/>
                <a:gd name="T78" fmla="*/ 71 w 3261"/>
                <a:gd name="T79" fmla="*/ 2186 h 2237"/>
                <a:gd name="T80" fmla="*/ 0 w 3261"/>
                <a:gd name="T81" fmla="*/ 2170 h 2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1" h="2237">
                  <a:moveTo>
                    <a:pt x="3261" y="0"/>
                  </a:moveTo>
                  <a:lnTo>
                    <a:pt x="3235" y="120"/>
                  </a:lnTo>
                  <a:lnTo>
                    <a:pt x="3204" y="236"/>
                  </a:lnTo>
                  <a:lnTo>
                    <a:pt x="3168" y="352"/>
                  </a:lnTo>
                  <a:lnTo>
                    <a:pt x="3129" y="463"/>
                  </a:lnTo>
                  <a:lnTo>
                    <a:pt x="3084" y="573"/>
                  </a:lnTo>
                  <a:lnTo>
                    <a:pt x="3034" y="681"/>
                  </a:lnTo>
                  <a:lnTo>
                    <a:pt x="2981" y="786"/>
                  </a:lnTo>
                  <a:lnTo>
                    <a:pt x="2924" y="889"/>
                  </a:lnTo>
                  <a:lnTo>
                    <a:pt x="2862" y="989"/>
                  </a:lnTo>
                  <a:lnTo>
                    <a:pt x="2797" y="1085"/>
                  </a:lnTo>
                  <a:lnTo>
                    <a:pt x="2728" y="1178"/>
                  </a:lnTo>
                  <a:lnTo>
                    <a:pt x="2655" y="1269"/>
                  </a:lnTo>
                  <a:lnTo>
                    <a:pt x="2578" y="1356"/>
                  </a:lnTo>
                  <a:lnTo>
                    <a:pt x="2497" y="1440"/>
                  </a:lnTo>
                  <a:lnTo>
                    <a:pt x="2414" y="1520"/>
                  </a:lnTo>
                  <a:lnTo>
                    <a:pt x="2328" y="1597"/>
                  </a:lnTo>
                  <a:lnTo>
                    <a:pt x="2238" y="1670"/>
                  </a:lnTo>
                  <a:lnTo>
                    <a:pt x="2145" y="1740"/>
                  </a:lnTo>
                  <a:lnTo>
                    <a:pt x="2050" y="1805"/>
                  </a:lnTo>
                  <a:lnTo>
                    <a:pt x="1951" y="1866"/>
                  </a:lnTo>
                  <a:lnTo>
                    <a:pt x="1850" y="1923"/>
                  </a:lnTo>
                  <a:lnTo>
                    <a:pt x="1746" y="1975"/>
                  </a:lnTo>
                  <a:lnTo>
                    <a:pt x="1640" y="2024"/>
                  </a:lnTo>
                  <a:lnTo>
                    <a:pt x="1532" y="2068"/>
                  </a:lnTo>
                  <a:lnTo>
                    <a:pt x="1421" y="2106"/>
                  </a:lnTo>
                  <a:lnTo>
                    <a:pt x="1309" y="2139"/>
                  </a:lnTo>
                  <a:lnTo>
                    <a:pt x="1194" y="2169"/>
                  </a:lnTo>
                  <a:lnTo>
                    <a:pt x="1077" y="2193"/>
                  </a:lnTo>
                  <a:lnTo>
                    <a:pt x="959" y="2213"/>
                  </a:lnTo>
                  <a:lnTo>
                    <a:pt x="839" y="2227"/>
                  </a:lnTo>
                  <a:lnTo>
                    <a:pt x="718" y="2234"/>
                  </a:lnTo>
                  <a:lnTo>
                    <a:pt x="595" y="2237"/>
                  </a:lnTo>
                  <a:lnTo>
                    <a:pt x="519" y="2236"/>
                  </a:lnTo>
                  <a:lnTo>
                    <a:pt x="443" y="2233"/>
                  </a:lnTo>
                  <a:lnTo>
                    <a:pt x="367" y="2228"/>
                  </a:lnTo>
                  <a:lnTo>
                    <a:pt x="292" y="2220"/>
                  </a:lnTo>
                  <a:lnTo>
                    <a:pt x="217" y="2210"/>
                  </a:lnTo>
                  <a:lnTo>
                    <a:pt x="144" y="2198"/>
                  </a:lnTo>
                  <a:lnTo>
                    <a:pt x="71" y="2186"/>
                  </a:lnTo>
                  <a:lnTo>
                    <a:pt x="0" y="2170"/>
                  </a:lnTo>
                </a:path>
              </a:pathLst>
            </a:custGeom>
            <a:noFill/>
            <a:ln w="38100">
              <a:solidFill>
                <a:schemeClr val="accent4">
                  <a:alpha val="66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6" name="Freeform 68">
              <a:extLst>
                <a:ext uri="{FF2B5EF4-FFF2-40B4-BE49-F238E27FC236}">
                  <a16:creationId xmlns:a16="http://schemas.microsoft.com/office/drawing/2014/main" id="{357E5920-414D-4605-ACB4-F314C8C4E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2263" y="2068513"/>
              <a:ext cx="2066925" cy="1042988"/>
            </a:xfrm>
            <a:custGeom>
              <a:avLst/>
              <a:gdLst>
                <a:gd name="T0" fmla="*/ 36 w 3904"/>
                <a:gd name="T1" fmla="*/ 322 h 1971"/>
                <a:gd name="T2" fmla="*/ 110 w 3904"/>
                <a:gd name="T3" fmla="*/ 283 h 1971"/>
                <a:gd name="T4" fmla="*/ 186 w 3904"/>
                <a:gd name="T5" fmla="*/ 246 h 1971"/>
                <a:gd name="T6" fmla="*/ 261 w 3904"/>
                <a:gd name="T7" fmla="*/ 213 h 1971"/>
                <a:gd name="T8" fmla="*/ 340 w 3904"/>
                <a:gd name="T9" fmla="*/ 181 h 1971"/>
                <a:gd name="T10" fmla="*/ 419 w 3904"/>
                <a:gd name="T11" fmla="*/ 151 h 1971"/>
                <a:gd name="T12" fmla="*/ 498 w 3904"/>
                <a:gd name="T13" fmla="*/ 124 h 1971"/>
                <a:gd name="T14" fmla="*/ 579 w 3904"/>
                <a:gd name="T15" fmla="*/ 100 h 1971"/>
                <a:gd name="T16" fmla="*/ 661 w 3904"/>
                <a:gd name="T17" fmla="*/ 78 h 1971"/>
                <a:gd name="T18" fmla="*/ 744 w 3904"/>
                <a:gd name="T19" fmla="*/ 59 h 1971"/>
                <a:gd name="T20" fmla="*/ 828 w 3904"/>
                <a:gd name="T21" fmla="*/ 42 h 1971"/>
                <a:gd name="T22" fmla="*/ 912 w 3904"/>
                <a:gd name="T23" fmla="*/ 28 h 1971"/>
                <a:gd name="T24" fmla="*/ 998 w 3904"/>
                <a:gd name="T25" fmla="*/ 17 h 1971"/>
                <a:gd name="T26" fmla="*/ 1085 w 3904"/>
                <a:gd name="T27" fmla="*/ 9 h 1971"/>
                <a:gd name="T28" fmla="*/ 1172 w 3904"/>
                <a:gd name="T29" fmla="*/ 3 h 1971"/>
                <a:gd name="T30" fmla="*/ 1260 w 3904"/>
                <a:gd name="T31" fmla="*/ 0 h 1971"/>
                <a:gd name="T32" fmla="*/ 1418 w 3904"/>
                <a:gd name="T33" fmla="*/ 3 h 1971"/>
                <a:gd name="T34" fmla="*/ 1643 w 3904"/>
                <a:gd name="T35" fmla="*/ 22 h 1971"/>
                <a:gd name="T36" fmla="*/ 1861 w 3904"/>
                <a:gd name="T37" fmla="*/ 59 h 1971"/>
                <a:gd name="T38" fmla="*/ 2073 w 3904"/>
                <a:gd name="T39" fmla="*/ 114 h 1971"/>
                <a:gd name="T40" fmla="*/ 2280 w 3904"/>
                <a:gd name="T41" fmla="*/ 186 h 1971"/>
                <a:gd name="T42" fmla="*/ 2477 w 3904"/>
                <a:gd name="T43" fmla="*/ 273 h 1971"/>
                <a:gd name="T44" fmla="*/ 2667 w 3904"/>
                <a:gd name="T45" fmla="*/ 377 h 1971"/>
                <a:gd name="T46" fmla="*/ 2847 w 3904"/>
                <a:gd name="T47" fmla="*/ 494 h 1971"/>
                <a:gd name="T48" fmla="*/ 3018 w 3904"/>
                <a:gd name="T49" fmla="*/ 626 h 1971"/>
                <a:gd name="T50" fmla="*/ 3178 w 3904"/>
                <a:gd name="T51" fmla="*/ 769 h 1971"/>
                <a:gd name="T52" fmla="*/ 3325 w 3904"/>
                <a:gd name="T53" fmla="*/ 925 h 1971"/>
                <a:gd name="T54" fmla="*/ 3462 w 3904"/>
                <a:gd name="T55" fmla="*/ 1093 h 1971"/>
                <a:gd name="T56" fmla="*/ 3585 w 3904"/>
                <a:gd name="T57" fmla="*/ 1273 h 1971"/>
                <a:gd name="T58" fmla="*/ 3694 w 3904"/>
                <a:gd name="T59" fmla="*/ 1461 h 1971"/>
                <a:gd name="T60" fmla="*/ 3790 w 3904"/>
                <a:gd name="T61" fmla="*/ 1659 h 1971"/>
                <a:gd name="T62" fmla="*/ 3870 w 3904"/>
                <a:gd name="T63" fmla="*/ 1865 h 1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04" h="1971">
                  <a:moveTo>
                    <a:pt x="0" y="342"/>
                  </a:moveTo>
                  <a:lnTo>
                    <a:pt x="36" y="322"/>
                  </a:lnTo>
                  <a:lnTo>
                    <a:pt x="73" y="303"/>
                  </a:lnTo>
                  <a:lnTo>
                    <a:pt x="110" y="283"/>
                  </a:lnTo>
                  <a:lnTo>
                    <a:pt x="147" y="264"/>
                  </a:lnTo>
                  <a:lnTo>
                    <a:pt x="186" y="246"/>
                  </a:lnTo>
                  <a:lnTo>
                    <a:pt x="224" y="230"/>
                  </a:lnTo>
                  <a:lnTo>
                    <a:pt x="261" y="213"/>
                  </a:lnTo>
                  <a:lnTo>
                    <a:pt x="301" y="196"/>
                  </a:lnTo>
                  <a:lnTo>
                    <a:pt x="340" y="181"/>
                  </a:lnTo>
                  <a:lnTo>
                    <a:pt x="379" y="165"/>
                  </a:lnTo>
                  <a:lnTo>
                    <a:pt x="419" y="151"/>
                  </a:lnTo>
                  <a:lnTo>
                    <a:pt x="459" y="137"/>
                  </a:lnTo>
                  <a:lnTo>
                    <a:pt x="498" y="124"/>
                  </a:lnTo>
                  <a:lnTo>
                    <a:pt x="538" y="112"/>
                  </a:lnTo>
                  <a:lnTo>
                    <a:pt x="579" y="100"/>
                  </a:lnTo>
                  <a:lnTo>
                    <a:pt x="620" y="89"/>
                  </a:lnTo>
                  <a:lnTo>
                    <a:pt x="661" y="78"/>
                  </a:lnTo>
                  <a:lnTo>
                    <a:pt x="702" y="68"/>
                  </a:lnTo>
                  <a:lnTo>
                    <a:pt x="744" y="59"/>
                  </a:lnTo>
                  <a:lnTo>
                    <a:pt x="785" y="50"/>
                  </a:lnTo>
                  <a:lnTo>
                    <a:pt x="828" y="42"/>
                  </a:lnTo>
                  <a:lnTo>
                    <a:pt x="870" y="35"/>
                  </a:lnTo>
                  <a:lnTo>
                    <a:pt x="912" y="28"/>
                  </a:lnTo>
                  <a:lnTo>
                    <a:pt x="956" y="22"/>
                  </a:lnTo>
                  <a:lnTo>
                    <a:pt x="998" y="17"/>
                  </a:lnTo>
                  <a:lnTo>
                    <a:pt x="1042" y="13"/>
                  </a:lnTo>
                  <a:lnTo>
                    <a:pt x="1085" y="9"/>
                  </a:lnTo>
                  <a:lnTo>
                    <a:pt x="1129" y="5"/>
                  </a:lnTo>
                  <a:lnTo>
                    <a:pt x="1172" y="3"/>
                  </a:lnTo>
                  <a:lnTo>
                    <a:pt x="1216" y="1"/>
                  </a:lnTo>
                  <a:lnTo>
                    <a:pt x="1260" y="0"/>
                  </a:lnTo>
                  <a:lnTo>
                    <a:pt x="1304" y="0"/>
                  </a:lnTo>
                  <a:lnTo>
                    <a:pt x="1418" y="3"/>
                  </a:lnTo>
                  <a:lnTo>
                    <a:pt x="1531" y="9"/>
                  </a:lnTo>
                  <a:lnTo>
                    <a:pt x="1643" y="22"/>
                  </a:lnTo>
                  <a:lnTo>
                    <a:pt x="1753" y="39"/>
                  </a:lnTo>
                  <a:lnTo>
                    <a:pt x="1861" y="59"/>
                  </a:lnTo>
                  <a:lnTo>
                    <a:pt x="1968" y="85"/>
                  </a:lnTo>
                  <a:lnTo>
                    <a:pt x="2073" y="114"/>
                  </a:lnTo>
                  <a:lnTo>
                    <a:pt x="2177" y="147"/>
                  </a:lnTo>
                  <a:lnTo>
                    <a:pt x="2280" y="186"/>
                  </a:lnTo>
                  <a:lnTo>
                    <a:pt x="2380" y="228"/>
                  </a:lnTo>
                  <a:lnTo>
                    <a:pt x="2477" y="273"/>
                  </a:lnTo>
                  <a:lnTo>
                    <a:pt x="2573" y="323"/>
                  </a:lnTo>
                  <a:lnTo>
                    <a:pt x="2667" y="377"/>
                  </a:lnTo>
                  <a:lnTo>
                    <a:pt x="2758" y="433"/>
                  </a:lnTo>
                  <a:lnTo>
                    <a:pt x="2847" y="494"/>
                  </a:lnTo>
                  <a:lnTo>
                    <a:pt x="2933" y="558"/>
                  </a:lnTo>
                  <a:lnTo>
                    <a:pt x="3018" y="626"/>
                  </a:lnTo>
                  <a:lnTo>
                    <a:pt x="3098" y="696"/>
                  </a:lnTo>
                  <a:lnTo>
                    <a:pt x="3178" y="769"/>
                  </a:lnTo>
                  <a:lnTo>
                    <a:pt x="3253" y="846"/>
                  </a:lnTo>
                  <a:lnTo>
                    <a:pt x="3325" y="925"/>
                  </a:lnTo>
                  <a:lnTo>
                    <a:pt x="3396" y="1009"/>
                  </a:lnTo>
                  <a:lnTo>
                    <a:pt x="3462" y="1093"/>
                  </a:lnTo>
                  <a:lnTo>
                    <a:pt x="3525" y="1182"/>
                  </a:lnTo>
                  <a:lnTo>
                    <a:pt x="3585" y="1273"/>
                  </a:lnTo>
                  <a:lnTo>
                    <a:pt x="3642" y="1365"/>
                  </a:lnTo>
                  <a:lnTo>
                    <a:pt x="3694" y="1461"/>
                  </a:lnTo>
                  <a:lnTo>
                    <a:pt x="3744" y="1559"/>
                  </a:lnTo>
                  <a:lnTo>
                    <a:pt x="3790" y="1659"/>
                  </a:lnTo>
                  <a:lnTo>
                    <a:pt x="3831" y="1761"/>
                  </a:lnTo>
                  <a:lnTo>
                    <a:pt x="3870" y="1865"/>
                  </a:lnTo>
                  <a:lnTo>
                    <a:pt x="3904" y="1971"/>
                  </a:lnTo>
                </a:path>
              </a:pathLst>
            </a:custGeom>
            <a:noFill/>
            <a:ln w="38100">
              <a:solidFill>
                <a:schemeClr val="accent4">
                  <a:alpha val="66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7" name="Freeform 66">
              <a:extLst>
                <a:ext uri="{FF2B5EF4-FFF2-40B4-BE49-F238E27FC236}">
                  <a16:creationId xmlns:a16="http://schemas.microsoft.com/office/drawing/2014/main" id="{7578002C-EB0A-437A-A9D2-C94AFD078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2963" y="2541588"/>
              <a:ext cx="633413" cy="2230438"/>
            </a:xfrm>
            <a:custGeom>
              <a:avLst/>
              <a:gdLst>
                <a:gd name="T0" fmla="*/ 1130 w 1197"/>
                <a:gd name="T1" fmla="*/ 4168 h 4216"/>
                <a:gd name="T2" fmla="*/ 1001 w 1197"/>
                <a:gd name="T3" fmla="*/ 4066 h 4216"/>
                <a:gd name="T4" fmla="*/ 877 w 1197"/>
                <a:gd name="T5" fmla="*/ 3956 h 4216"/>
                <a:gd name="T6" fmla="*/ 760 w 1197"/>
                <a:gd name="T7" fmla="*/ 3839 h 4216"/>
                <a:gd name="T8" fmla="*/ 651 w 1197"/>
                <a:gd name="T9" fmla="*/ 3715 h 4216"/>
                <a:gd name="T10" fmla="*/ 549 w 1197"/>
                <a:gd name="T11" fmla="*/ 3585 h 4216"/>
                <a:gd name="T12" fmla="*/ 454 w 1197"/>
                <a:gd name="T13" fmla="*/ 3448 h 4216"/>
                <a:gd name="T14" fmla="*/ 367 w 1197"/>
                <a:gd name="T15" fmla="*/ 3305 h 4216"/>
                <a:gd name="T16" fmla="*/ 288 w 1197"/>
                <a:gd name="T17" fmla="*/ 3157 h 4216"/>
                <a:gd name="T18" fmla="*/ 219 w 1197"/>
                <a:gd name="T19" fmla="*/ 3003 h 4216"/>
                <a:gd name="T20" fmla="*/ 159 w 1197"/>
                <a:gd name="T21" fmla="*/ 2844 h 4216"/>
                <a:gd name="T22" fmla="*/ 106 w 1197"/>
                <a:gd name="T23" fmla="*/ 2682 h 4216"/>
                <a:gd name="T24" fmla="*/ 65 w 1197"/>
                <a:gd name="T25" fmla="*/ 2514 h 4216"/>
                <a:gd name="T26" fmla="*/ 33 w 1197"/>
                <a:gd name="T27" fmla="*/ 2343 h 4216"/>
                <a:gd name="T28" fmla="*/ 13 w 1197"/>
                <a:gd name="T29" fmla="*/ 2169 h 4216"/>
                <a:gd name="T30" fmla="*/ 1 w 1197"/>
                <a:gd name="T31" fmla="*/ 1991 h 4216"/>
                <a:gd name="T32" fmla="*/ 1 w 1197"/>
                <a:gd name="T33" fmla="*/ 1832 h 4216"/>
                <a:gd name="T34" fmla="*/ 8 w 1197"/>
                <a:gd name="T35" fmla="*/ 1696 h 4216"/>
                <a:gd name="T36" fmla="*/ 21 w 1197"/>
                <a:gd name="T37" fmla="*/ 1561 h 4216"/>
                <a:gd name="T38" fmla="*/ 40 w 1197"/>
                <a:gd name="T39" fmla="*/ 1429 h 4216"/>
                <a:gd name="T40" fmla="*/ 65 w 1197"/>
                <a:gd name="T41" fmla="*/ 1299 h 4216"/>
                <a:gd name="T42" fmla="*/ 95 w 1197"/>
                <a:gd name="T43" fmla="*/ 1171 h 4216"/>
                <a:gd name="T44" fmla="*/ 132 w 1197"/>
                <a:gd name="T45" fmla="*/ 1046 h 4216"/>
                <a:gd name="T46" fmla="*/ 173 w 1197"/>
                <a:gd name="T47" fmla="*/ 923 h 4216"/>
                <a:gd name="T48" fmla="*/ 220 w 1197"/>
                <a:gd name="T49" fmla="*/ 803 h 4216"/>
                <a:gd name="T50" fmla="*/ 273 w 1197"/>
                <a:gd name="T51" fmla="*/ 685 h 4216"/>
                <a:gd name="T52" fmla="*/ 329 w 1197"/>
                <a:gd name="T53" fmla="*/ 571 h 4216"/>
                <a:gd name="T54" fmla="*/ 392 w 1197"/>
                <a:gd name="T55" fmla="*/ 459 h 4216"/>
                <a:gd name="T56" fmla="*/ 459 w 1197"/>
                <a:gd name="T57" fmla="*/ 350 h 4216"/>
                <a:gd name="T58" fmla="*/ 531 w 1197"/>
                <a:gd name="T59" fmla="*/ 247 h 4216"/>
                <a:gd name="T60" fmla="*/ 606 w 1197"/>
                <a:gd name="T61" fmla="*/ 145 h 4216"/>
                <a:gd name="T62" fmla="*/ 687 w 1197"/>
                <a:gd name="T63" fmla="*/ 48 h 4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97" h="4216">
                  <a:moveTo>
                    <a:pt x="1197" y="4216"/>
                  </a:moveTo>
                  <a:lnTo>
                    <a:pt x="1130" y="4168"/>
                  </a:lnTo>
                  <a:lnTo>
                    <a:pt x="1065" y="4118"/>
                  </a:lnTo>
                  <a:lnTo>
                    <a:pt x="1001" y="4066"/>
                  </a:lnTo>
                  <a:lnTo>
                    <a:pt x="938" y="4012"/>
                  </a:lnTo>
                  <a:lnTo>
                    <a:pt x="877" y="3956"/>
                  </a:lnTo>
                  <a:lnTo>
                    <a:pt x="818" y="3899"/>
                  </a:lnTo>
                  <a:lnTo>
                    <a:pt x="760" y="3839"/>
                  </a:lnTo>
                  <a:lnTo>
                    <a:pt x="705" y="3779"/>
                  </a:lnTo>
                  <a:lnTo>
                    <a:pt x="651" y="3715"/>
                  </a:lnTo>
                  <a:lnTo>
                    <a:pt x="598" y="3651"/>
                  </a:lnTo>
                  <a:lnTo>
                    <a:pt x="549" y="3585"/>
                  </a:lnTo>
                  <a:lnTo>
                    <a:pt x="500" y="3517"/>
                  </a:lnTo>
                  <a:lnTo>
                    <a:pt x="454" y="3448"/>
                  </a:lnTo>
                  <a:lnTo>
                    <a:pt x="409" y="3378"/>
                  </a:lnTo>
                  <a:lnTo>
                    <a:pt x="367" y="3305"/>
                  </a:lnTo>
                  <a:lnTo>
                    <a:pt x="327" y="3232"/>
                  </a:lnTo>
                  <a:lnTo>
                    <a:pt x="288" y="3157"/>
                  </a:lnTo>
                  <a:lnTo>
                    <a:pt x="253" y="3080"/>
                  </a:lnTo>
                  <a:lnTo>
                    <a:pt x="219" y="3003"/>
                  </a:lnTo>
                  <a:lnTo>
                    <a:pt x="187" y="2925"/>
                  </a:lnTo>
                  <a:lnTo>
                    <a:pt x="159" y="2844"/>
                  </a:lnTo>
                  <a:lnTo>
                    <a:pt x="132" y="2764"/>
                  </a:lnTo>
                  <a:lnTo>
                    <a:pt x="106" y="2682"/>
                  </a:lnTo>
                  <a:lnTo>
                    <a:pt x="85" y="2598"/>
                  </a:lnTo>
                  <a:lnTo>
                    <a:pt x="65" y="2514"/>
                  </a:lnTo>
                  <a:lnTo>
                    <a:pt x="49" y="2429"/>
                  </a:lnTo>
                  <a:lnTo>
                    <a:pt x="33" y="2343"/>
                  </a:lnTo>
                  <a:lnTo>
                    <a:pt x="22" y="2256"/>
                  </a:lnTo>
                  <a:lnTo>
                    <a:pt x="13" y="2169"/>
                  </a:lnTo>
                  <a:lnTo>
                    <a:pt x="5" y="2079"/>
                  </a:lnTo>
                  <a:lnTo>
                    <a:pt x="1" y="1991"/>
                  </a:lnTo>
                  <a:lnTo>
                    <a:pt x="0" y="1900"/>
                  </a:lnTo>
                  <a:lnTo>
                    <a:pt x="1" y="1832"/>
                  </a:lnTo>
                  <a:lnTo>
                    <a:pt x="4" y="1764"/>
                  </a:lnTo>
                  <a:lnTo>
                    <a:pt x="8" y="1696"/>
                  </a:lnTo>
                  <a:lnTo>
                    <a:pt x="14" y="1628"/>
                  </a:lnTo>
                  <a:lnTo>
                    <a:pt x="21" y="1561"/>
                  </a:lnTo>
                  <a:lnTo>
                    <a:pt x="30" y="1495"/>
                  </a:lnTo>
                  <a:lnTo>
                    <a:pt x="40" y="1429"/>
                  </a:lnTo>
                  <a:lnTo>
                    <a:pt x="51" y="1364"/>
                  </a:lnTo>
                  <a:lnTo>
                    <a:pt x="65" y="1299"/>
                  </a:lnTo>
                  <a:lnTo>
                    <a:pt x="80" y="1235"/>
                  </a:lnTo>
                  <a:lnTo>
                    <a:pt x="95" y="1171"/>
                  </a:lnTo>
                  <a:lnTo>
                    <a:pt x="113" y="1108"/>
                  </a:lnTo>
                  <a:lnTo>
                    <a:pt x="132" y="1046"/>
                  </a:lnTo>
                  <a:lnTo>
                    <a:pt x="151" y="983"/>
                  </a:lnTo>
                  <a:lnTo>
                    <a:pt x="173" y="923"/>
                  </a:lnTo>
                  <a:lnTo>
                    <a:pt x="196" y="862"/>
                  </a:lnTo>
                  <a:lnTo>
                    <a:pt x="220" y="803"/>
                  </a:lnTo>
                  <a:lnTo>
                    <a:pt x="246" y="743"/>
                  </a:lnTo>
                  <a:lnTo>
                    <a:pt x="273" y="685"/>
                  </a:lnTo>
                  <a:lnTo>
                    <a:pt x="301" y="627"/>
                  </a:lnTo>
                  <a:lnTo>
                    <a:pt x="329" y="571"/>
                  </a:lnTo>
                  <a:lnTo>
                    <a:pt x="360" y="514"/>
                  </a:lnTo>
                  <a:lnTo>
                    <a:pt x="392" y="459"/>
                  </a:lnTo>
                  <a:lnTo>
                    <a:pt x="425" y="404"/>
                  </a:lnTo>
                  <a:lnTo>
                    <a:pt x="459" y="350"/>
                  </a:lnTo>
                  <a:lnTo>
                    <a:pt x="493" y="298"/>
                  </a:lnTo>
                  <a:lnTo>
                    <a:pt x="531" y="247"/>
                  </a:lnTo>
                  <a:lnTo>
                    <a:pt x="568" y="195"/>
                  </a:lnTo>
                  <a:lnTo>
                    <a:pt x="606" y="145"/>
                  </a:lnTo>
                  <a:lnTo>
                    <a:pt x="646" y="95"/>
                  </a:lnTo>
                  <a:lnTo>
                    <a:pt x="687" y="48"/>
                  </a:lnTo>
                  <a:lnTo>
                    <a:pt x="728" y="0"/>
                  </a:lnTo>
                </a:path>
              </a:pathLst>
            </a:custGeom>
            <a:noFill/>
            <a:ln w="38100">
              <a:solidFill>
                <a:schemeClr val="accent4">
                  <a:alpha val="66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cxnSp>
        <p:nvCxnSpPr>
          <p:cNvPr id="411" name="Straight Connector 410">
            <a:extLst>
              <a:ext uri="{FF2B5EF4-FFF2-40B4-BE49-F238E27FC236}">
                <a16:creationId xmlns:a16="http://schemas.microsoft.com/office/drawing/2014/main" id="{D1530522-8803-49AA-90A7-9BB95B986A5A}"/>
              </a:ext>
            </a:extLst>
          </p:cNvPr>
          <p:cNvCxnSpPr/>
          <p:nvPr/>
        </p:nvCxnSpPr>
        <p:spPr>
          <a:xfrm flipV="1">
            <a:off x="4417087" y="3968901"/>
            <a:ext cx="1009005" cy="912812"/>
          </a:xfrm>
          <a:prstGeom prst="line">
            <a:avLst/>
          </a:prstGeom>
          <a:ln w="25400">
            <a:gradFill flip="none" rotWithShape="1">
              <a:gsLst>
                <a:gs pos="14000">
                  <a:srgbClr val="0F3857"/>
                </a:gs>
                <a:gs pos="70000">
                  <a:schemeClr val="accent4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Straight Connector 411">
            <a:extLst>
              <a:ext uri="{FF2B5EF4-FFF2-40B4-BE49-F238E27FC236}">
                <a16:creationId xmlns:a16="http://schemas.microsoft.com/office/drawing/2014/main" id="{BBAF250C-06B0-4B23-BFB1-2F110EF76900}"/>
              </a:ext>
            </a:extLst>
          </p:cNvPr>
          <p:cNvCxnSpPr/>
          <p:nvPr/>
        </p:nvCxnSpPr>
        <p:spPr>
          <a:xfrm flipH="1" flipV="1">
            <a:off x="6861246" y="3968901"/>
            <a:ext cx="1009005" cy="912812"/>
          </a:xfrm>
          <a:prstGeom prst="line">
            <a:avLst/>
          </a:prstGeom>
          <a:ln w="25400">
            <a:gradFill flip="none" rotWithShape="1">
              <a:gsLst>
                <a:gs pos="14000">
                  <a:srgbClr val="0F3857"/>
                </a:gs>
                <a:gs pos="70000">
                  <a:schemeClr val="accent4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3" name="Group 412">
            <a:extLst>
              <a:ext uri="{FF2B5EF4-FFF2-40B4-BE49-F238E27FC236}">
                <a16:creationId xmlns:a16="http://schemas.microsoft.com/office/drawing/2014/main" id="{791A20B7-06B3-49A4-901D-768F5F19EC4F}"/>
              </a:ext>
            </a:extLst>
          </p:cNvPr>
          <p:cNvGrpSpPr/>
          <p:nvPr/>
        </p:nvGrpSpPr>
        <p:grpSpPr>
          <a:xfrm flipV="1">
            <a:off x="4417086" y="2560151"/>
            <a:ext cx="3453164" cy="815022"/>
            <a:chOff x="4361820" y="4030663"/>
            <a:chExt cx="3453164" cy="710806"/>
          </a:xfrm>
        </p:grpSpPr>
        <p:cxnSp>
          <p:nvCxnSpPr>
            <p:cNvPr id="416" name="Straight Connector 415">
              <a:extLst>
                <a:ext uri="{FF2B5EF4-FFF2-40B4-BE49-F238E27FC236}">
                  <a16:creationId xmlns:a16="http://schemas.microsoft.com/office/drawing/2014/main" id="{22466F24-8854-4B13-9281-ED06F6502A83}"/>
                </a:ext>
              </a:extLst>
            </p:cNvPr>
            <p:cNvCxnSpPr/>
            <p:nvPr/>
          </p:nvCxnSpPr>
          <p:spPr>
            <a:xfrm flipV="1">
              <a:off x="4361820" y="4030663"/>
              <a:ext cx="1009005" cy="710806"/>
            </a:xfrm>
            <a:prstGeom prst="line">
              <a:avLst/>
            </a:prstGeom>
            <a:ln w="25400">
              <a:gradFill flip="none" rotWithShape="1">
                <a:gsLst>
                  <a:gs pos="14000">
                    <a:srgbClr val="0F3857"/>
                  </a:gs>
                  <a:gs pos="70000">
                    <a:schemeClr val="accent4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7" name="Straight Connector 416">
              <a:extLst>
                <a:ext uri="{FF2B5EF4-FFF2-40B4-BE49-F238E27FC236}">
                  <a16:creationId xmlns:a16="http://schemas.microsoft.com/office/drawing/2014/main" id="{123C7EF5-A114-4E69-BB1A-49817869B269}"/>
                </a:ext>
              </a:extLst>
            </p:cNvPr>
            <p:cNvCxnSpPr/>
            <p:nvPr/>
          </p:nvCxnSpPr>
          <p:spPr>
            <a:xfrm flipH="1" flipV="1">
              <a:off x="6805979" y="4030663"/>
              <a:ext cx="1009005" cy="710806"/>
            </a:xfrm>
            <a:prstGeom prst="line">
              <a:avLst/>
            </a:prstGeom>
            <a:ln w="25400">
              <a:gradFill flip="none" rotWithShape="1">
                <a:gsLst>
                  <a:gs pos="14000">
                    <a:srgbClr val="0F3857"/>
                  </a:gs>
                  <a:gs pos="70000">
                    <a:schemeClr val="accent4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6" name="TextBox 1035">
            <a:extLst>
              <a:ext uri="{FF2B5EF4-FFF2-40B4-BE49-F238E27FC236}">
                <a16:creationId xmlns:a16="http://schemas.microsoft.com/office/drawing/2014/main" id="{48555E1F-F215-466E-A9C2-D95C1C6CBBA8}"/>
              </a:ext>
            </a:extLst>
          </p:cNvPr>
          <p:cNvSpPr txBox="1">
            <a:spLocks/>
          </p:cNvSpPr>
          <p:nvPr/>
        </p:nvSpPr>
        <p:spPr>
          <a:xfrm>
            <a:off x="727899" y="2045499"/>
            <a:ext cx="1976438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1218987"/>
            <a:r>
              <a:rPr lang="en-US" sz="1600" b="1" kern="0" dirty="0">
                <a:latin typeface="Arial" pitchFamily="34" charset="0"/>
                <a:cs typeface="Arial" pitchFamily="34" charset="0"/>
              </a:rPr>
              <a:t>SENDER</a:t>
            </a:r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1CA49E54-53B8-4A71-B059-4C7D68480A12}"/>
              </a:ext>
            </a:extLst>
          </p:cNvPr>
          <p:cNvSpPr txBox="1">
            <a:spLocks/>
          </p:cNvSpPr>
          <p:nvPr/>
        </p:nvSpPr>
        <p:spPr>
          <a:xfrm>
            <a:off x="9573675" y="2026233"/>
            <a:ext cx="1976438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1218987"/>
            <a:r>
              <a:rPr lang="en-US" sz="1600" b="1" kern="0" dirty="0">
                <a:latin typeface="Arial" pitchFamily="34" charset="0"/>
                <a:cs typeface="Arial" pitchFamily="34" charset="0"/>
              </a:rPr>
              <a:t>RECEIVER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4D6CB26-7A61-4187-ADF8-0DA29B4EEEB9}"/>
              </a:ext>
            </a:extLst>
          </p:cNvPr>
          <p:cNvGrpSpPr/>
          <p:nvPr/>
        </p:nvGrpSpPr>
        <p:grpSpPr>
          <a:xfrm>
            <a:off x="9312697" y="2666004"/>
            <a:ext cx="2267581" cy="339724"/>
            <a:chOff x="9311980" y="2526658"/>
            <a:chExt cx="2267581" cy="339724"/>
          </a:xfrm>
        </p:grpSpPr>
        <p:sp>
          <p:nvSpPr>
            <p:cNvPr id="384" name="Line 60">
              <a:extLst>
                <a:ext uri="{FF2B5EF4-FFF2-40B4-BE49-F238E27FC236}">
                  <a16:creationId xmlns:a16="http://schemas.microsoft.com/office/drawing/2014/main" id="{E4CB4038-6EEC-4A83-A4B8-C393CEEE396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11980" y="2719538"/>
              <a:ext cx="276225" cy="0"/>
            </a:xfrm>
            <a:prstGeom prst="line">
              <a:avLst/>
            </a:prstGeom>
            <a:noFill/>
            <a:ln w="317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369" name="Rounded Rectangle 353">
              <a:extLst>
                <a:ext uri="{FF2B5EF4-FFF2-40B4-BE49-F238E27FC236}">
                  <a16:creationId xmlns:a16="http://schemas.microsoft.com/office/drawing/2014/main" id="{4401413B-FF0B-48DC-BEE7-A05B86EDBD94}"/>
                </a:ext>
              </a:extLst>
            </p:cNvPr>
            <p:cNvSpPr/>
            <p:nvPr/>
          </p:nvSpPr>
          <p:spPr>
            <a:xfrm>
              <a:off x="9603123" y="2526658"/>
              <a:ext cx="1976438" cy="339724"/>
            </a:xfrm>
            <a:prstGeom prst="roundRect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SM Module</a:t>
              </a:r>
            </a:p>
          </p:txBody>
        </p:sp>
      </p:grpSp>
      <p:grpSp>
        <p:nvGrpSpPr>
          <p:cNvPr id="371" name="Group 370">
            <a:extLst>
              <a:ext uri="{FF2B5EF4-FFF2-40B4-BE49-F238E27FC236}">
                <a16:creationId xmlns:a16="http://schemas.microsoft.com/office/drawing/2014/main" id="{AEE5C4D1-765D-4C17-894F-CC6F4AFFF82E}"/>
              </a:ext>
            </a:extLst>
          </p:cNvPr>
          <p:cNvGrpSpPr/>
          <p:nvPr/>
        </p:nvGrpSpPr>
        <p:grpSpPr>
          <a:xfrm>
            <a:off x="9325397" y="3249763"/>
            <a:ext cx="2267581" cy="339724"/>
            <a:chOff x="9311980" y="2603211"/>
            <a:chExt cx="2267581" cy="339724"/>
          </a:xfrm>
        </p:grpSpPr>
        <p:sp>
          <p:nvSpPr>
            <p:cNvPr id="374" name="Line 60">
              <a:extLst>
                <a:ext uri="{FF2B5EF4-FFF2-40B4-BE49-F238E27FC236}">
                  <a16:creationId xmlns:a16="http://schemas.microsoft.com/office/drawing/2014/main" id="{D8C324E0-6471-458A-8C3D-2ED2D3D3ED7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11980" y="2719538"/>
              <a:ext cx="276225" cy="0"/>
            </a:xfrm>
            <a:prstGeom prst="line">
              <a:avLst/>
            </a:prstGeom>
            <a:noFill/>
            <a:ln w="317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394" name="Rounded Rectangle 353">
              <a:extLst>
                <a:ext uri="{FF2B5EF4-FFF2-40B4-BE49-F238E27FC236}">
                  <a16:creationId xmlns:a16="http://schemas.microsoft.com/office/drawing/2014/main" id="{41106783-BB33-4FE2-B050-9E44171ED6B2}"/>
                </a:ext>
              </a:extLst>
            </p:cNvPr>
            <p:cNvSpPr/>
            <p:nvPr/>
          </p:nvSpPr>
          <p:spPr>
            <a:xfrm>
              <a:off x="9603123" y="2603211"/>
              <a:ext cx="1976438" cy="339724"/>
            </a:xfrm>
            <a:prstGeom prst="roundRect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icrocontroller</a:t>
              </a:r>
            </a:p>
          </p:txBody>
        </p:sp>
      </p:grpSp>
      <p:grpSp>
        <p:nvGrpSpPr>
          <p:cNvPr id="414" name="Group 413">
            <a:extLst>
              <a:ext uri="{FF2B5EF4-FFF2-40B4-BE49-F238E27FC236}">
                <a16:creationId xmlns:a16="http://schemas.microsoft.com/office/drawing/2014/main" id="{E1F3E684-483C-4333-9FF2-4DCFBABA5897}"/>
              </a:ext>
            </a:extLst>
          </p:cNvPr>
          <p:cNvGrpSpPr/>
          <p:nvPr/>
        </p:nvGrpSpPr>
        <p:grpSpPr>
          <a:xfrm>
            <a:off x="9339598" y="3806182"/>
            <a:ext cx="2267581" cy="339724"/>
            <a:chOff x="9311980" y="2526658"/>
            <a:chExt cx="2267581" cy="339724"/>
          </a:xfrm>
        </p:grpSpPr>
        <p:sp>
          <p:nvSpPr>
            <p:cNvPr id="415" name="Line 60">
              <a:extLst>
                <a:ext uri="{FF2B5EF4-FFF2-40B4-BE49-F238E27FC236}">
                  <a16:creationId xmlns:a16="http://schemas.microsoft.com/office/drawing/2014/main" id="{1D23B90B-CAD5-4C5D-901E-E41EB4A20B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11980" y="2719538"/>
              <a:ext cx="276225" cy="0"/>
            </a:xfrm>
            <a:prstGeom prst="line">
              <a:avLst/>
            </a:prstGeom>
            <a:noFill/>
            <a:ln w="317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502" name="Rounded Rectangle 353">
              <a:extLst>
                <a:ext uri="{FF2B5EF4-FFF2-40B4-BE49-F238E27FC236}">
                  <a16:creationId xmlns:a16="http://schemas.microsoft.com/office/drawing/2014/main" id="{B86D6321-E62B-49D9-A1CC-DBE30C71D772}"/>
                </a:ext>
              </a:extLst>
            </p:cNvPr>
            <p:cNvSpPr/>
            <p:nvPr/>
          </p:nvSpPr>
          <p:spPr>
            <a:xfrm>
              <a:off x="9603123" y="2526658"/>
              <a:ext cx="1976438" cy="339724"/>
            </a:xfrm>
            <a:prstGeom prst="roundRect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creen</a:t>
              </a:r>
            </a:p>
          </p:txBody>
        </p:sp>
      </p:grpSp>
      <p:grpSp>
        <p:nvGrpSpPr>
          <p:cNvPr id="503" name="Group 502">
            <a:extLst>
              <a:ext uri="{FF2B5EF4-FFF2-40B4-BE49-F238E27FC236}">
                <a16:creationId xmlns:a16="http://schemas.microsoft.com/office/drawing/2014/main" id="{57D59879-2795-46E5-AB69-DAE598E8480D}"/>
              </a:ext>
            </a:extLst>
          </p:cNvPr>
          <p:cNvGrpSpPr/>
          <p:nvPr/>
        </p:nvGrpSpPr>
        <p:grpSpPr>
          <a:xfrm>
            <a:off x="9325397" y="4369744"/>
            <a:ext cx="2267581" cy="339724"/>
            <a:chOff x="9311980" y="2526658"/>
            <a:chExt cx="2267581" cy="339724"/>
          </a:xfrm>
        </p:grpSpPr>
        <p:sp>
          <p:nvSpPr>
            <p:cNvPr id="504" name="Line 60">
              <a:extLst>
                <a:ext uri="{FF2B5EF4-FFF2-40B4-BE49-F238E27FC236}">
                  <a16:creationId xmlns:a16="http://schemas.microsoft.com/office/drawing/2014/main" id="{2383DBE6-0436-4EFF-B754-51BC7AFF18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11980" y="2719538"/>
              <a:ext cx="276225" cy="0"/>
            </a:xfrm>
            <a:prstGeom prst="line">
              <a:avLst/>
            </a:prstGeom>
            <a:noFill/>
            <a:ln w="317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8987"/>
              <a:endParaRPr lang="en-US" sz="2400" dirty="0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505" name="Rounded Rectangle 353">
              <a:extLst>
                <a:ext uri="{FF2B5EF4-FFF2-40B4-BE49-F238E27FC236}">
                  <a16:creationId xmlns:a16="http://schemas.microsoft.com/office/drawing/2014/main" id="{FE15980D-C95E-4E5D-BB6B-26855858FB2D}"/>
                </a:ext>
              </a:extLst>
            </p:cNvPr>
            <p:cNvSpPr/>
            <p:nvPr/>
          </p:nvSpPr>
          <p:spPr>
            <a:xfrm>
              <a:off x="9603123" y="2526658"/>
              <a:ext cx="1976438" cy="339724"/>
            </a:xfrm>
            <a:prstGeom prst="roundRect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thernet Shield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EE6E606-A360-43F3-9602-F6E7F5BB7F2C}"/>
              </a:ext>
            </a:extLst>
          </p:cNvPr>
          <p:cNvGrpSpPr/>
          <p:nvPr/>
        </p:nvGrpSpPr>
        <p:grpSpPr>
          <a:xfrm>
            <a:off x="9919992" y="5280250"/>
            <a:ext cx="2085813" cy="866627"/>
            <a:chOff x="9930264" y="5450039"/>
            <a:chExt cx="2085813" cy="866627"/>
          </a:xfrm>
        </p:grpSpPr>
        <p:pic>
          <p:nvPicPr>
            <p:cNvPr id="510" name="Picture 509">
              <a:extLst>
                <a:ext uri="{FF2B5EF4-FFF2-40B4-BE49-F238E27FC236}">
                  <a16:creationId xmlns:a16="http://schemas.microsoft.com/office/drawing/2014/main" id="{EBD7996E-3FE0-4632-9F61-0067A27636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03" t="10533" r="2121" b="9678"/>
            <a:stretch/>
          </p:blipFill>
          <p:spPr>
            <a:xfrm>
              <a:off x="10928796" y="5798834"/>
              <a:ext cx="1087281" cy="517832"/>
            </a:xfrm>
            <a:prstGeom prst="rect">
              <a:avLst/>
            </a:prstGeom>
          </p:spPr>
        </p:pic>
        <p:pic>
          <p:nvPicPr>
            <p:cNvPr id="509" name="Picture 508">
              <a:extLst>
                <a:ext uri="{FF2B5EF4-FFF2-40B4-BE49-F238E27FC236}">
                  <a16:creationId xmlns:a16="http://schemas.microsoft.com/office/drawing/2014/main" id="{0BECCAE4-A365-4F55-B341-2086030144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96318" y="5450039"/>
              <a:ext cx="476119" cy="607711"/>
            </a:xfrm>
            <a:prstGeom prst="rect">
              <a:avLst/>
            </a:prstGeom>
          </p:spPr>
        </p:pic>
        <p:sp>
          <p:nvSpPr>
            <p:cNvPr id="511" name="Rectangle 1">
              <a:extLst>
                <a:ext uri="{FF2B5EF4-FFF2-40B4-BE49-F238E27FC236}">
                  <a16:creationId xmlns:a16="http://schemas.microsoft.com/office/drawing/2014/main" id="{B6F77200-ECF0-4CEF-B908-F92B2375C0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30264" y="5489725"/>
              <a:ext cx="787898" cy="784978"/>
            </a:xfrm>
            <a:custGeom>
              <a:avLst/>
              <a:gdLst/>
              <a:ahLst/>
              <a:cxnLst/>
              <a:rect l="l" t="t" r="r" b="b"/>
              <a:pathLst>
                <a:path w="3960000" h="3945309">
                  <a:moveTo>
                    <a:pt x="466104" y="2636906"/>
                  </a:moveTo>
                  <a:lnTo>
                    <a:pt x="466104" y="2780922"/>
                  </a:lnTo>
                  <a:lnTo>
                    <a:pt x="2050104" y="2780922"/>
                  </a:lnTo>
                  <a:lnTo>
                    <a:pt x="2050104" y="2636906"/>
                  </a:lnTo>
                  <a:close/>
                  <a:moveTo>
                    <a:pt x="466104" y="2407894"/>
                  </a:moveTo>
                  <a:lnTo>
                    <a:pt x="466104" y="2551910"/>
                  </a:lnTo>
                  <a:lnTo>
                    <a:pt x="2050104" y="2551910"/>
                  </a:lnTo>
                  <a:lnTo>
                    <a:pt x="2050104" y="2407894"/>
                  </a:lnTo>
                  <a:close/>
                  <a:moveTo>
                    <a:pt x="466104" y="2178881"/>
                  </a:moveTo>
                  <a:lnTo>
                    <a:pt x="466104" y="2322897"/>
                  </a:lnTo>
                  <a:lnTo>
                    <a:pt x="2050104" y="2322897"/>
                  </a:lnTo>
                  <a:lnTo>
                    <a:pt x="2050104" y="2178881"/>
                  </a:lnTo>
                  <a:close/>
                  <a:moveTo>
                    <a:pt x="3358993" y="2178880"/>
                  </a:moveTo>
                  <a:cubicBezTo>
                    <a:pt x="3299346" y="2178880"/>
                    <a:pt x="3250993" y="2227233"/>
                    <a:pt x="3250993" y="2286880"/>
                  </a:cubicBezTo>
                  <a:cubicBezTo>
                    <a:pt x="3250993" y="2346527"/>
                    <a:pt x="3299346" y="2394880"/>
                    <a:pt x="3358993" y="2394880"/>
                  </a:cubicBezTo>
                  <a:cubicBezTo>
                    <a:pt x="3418640" y="2394880"/>
                    <a:pt x="3466993" y="2346527"/>
                    <a:pt x="3466993" y="2286880"/>
                  </a:cubicBezTo>
                  <a:cubicBezTo>
                    <a:pt x="3466993" y="2227233"/>
                    <a:pt x="3418640" y="2178880"/>
                    <a:pt x="3358993" y="2178880"/>
                  </a:cubicBezTo>
                  <a:close/>
                  <a:moveTo>
                    <a:pt x="2962949" y="2178880"/>
                  </a:moveTo>
                  <a:cubicBezTo>
                    <a:pt x="2903302" y="2178880"/>
                    <a:pt x="2854949" y="2227233"/>
                    <a:pt x="2854949" y="2286880"/>
                  </a:cubicBezTo>
                  <a:cubicBezTo>
                    <a:pt x="2854949" y="2346527"/>
                    <a:pt x="2903302" y="2394880"/>
                    <a:pt x="2962949" y="2394880"/>
                  </a:cubicBezTo>
                  <a:cubicBezTo>
                    <a:pt x="3022596" y="2394880"/>
                    <a:pt x="3070949" y="2346527"/>
                    <a:pt x="3070949" y="2286880"/>
                  </a:cubicBezTo>
                  <a:cubicBezTo>
                    <a:pt x="3070949" y="2227233"/>
                    <a:pt x="3022596" y="2178880"/>
                    <a:pt x="2962949" y="2178880"/>
                  </a:cubicBezTo>
                  <a:close/>
                  <a:moveTo>
                    <a:pt x="2566905" y="2178880"/>
                  </a:moveTo>
                  <a:cubicBezTo>
                    <a:pt x="2507258" y="2178880"/>
                    <a:pt x="2458905" y="2227233"/>
                    <a:pt x="2458905" y="2286880"/>
                  </a:cubicBezTo>
                  <a:cubicBezTo>
                    <a:pt x="2458905" y="2346527"/>
                    <a:pt x="2507258" y="2394880"/>
                    <a:pt x="2566905" y="2394880"/>
                  </a:cubicBezTo>
                  <a:cubicBezTo>
                    <a:pt x="2626552" y="2394880"/>
                    <a:pt x="2674905" y="2346527"/>
                    <a:pt x="2674905" y="2286880"/>
                  </a:cubicBezTo>
                  <a:cubicBezTo>
                    <a:pt x="2674905" y="2227233"/>
                    <a:pt x="2626552" y="2178880"/>
                    <a:pt x="2566905" y="2178880"/>
                  </a:cubicBezTo>
                  <a:close/>
                  <a:moveTo>
                    <a:pt x="154649" y="2155901"/>
                  </a:moveTo>
                  <a:lnTo>
                    <a:pt x="154649" y="2803901"/>
                  </a:lnTo>
                  <a:lnTo>
                    <a:pt x="298665" y="2803901"/>
                  </a:lnTo>
                  <a:lnTo>
                    <a:pt x="298665" y="2155901"/>
                  </a:lnTo>
                  <a:close/>
                  <a:moveTo>
                    <a:pt x="3645310" y="2153519"/>
                  </a:moveTo>
                  <a:lnTo>
                    <a:pt x="3645310" y="2801519"/>
                  </a:lnTo>
                  <a:lnTo>
                    <a:pt x="3789326" y="2801519"/>
                  </a:lnTo>
                  <a:lnTo>
                    <a:pt x="3789326" y="2153519"/>
                  </a:lnTo>
                  <a:close/>
                  <a:moveTo>
                    <a:pt x="0" y="2032992"/>
                  </a:moveTo>
                  <a:lnTo>
                    <a:pt x="3960000" y="2032992"/>
                  </a:lnTo>
                  <a:lnTo>
                    <a:pt x="3960000" y="2897088"/>
                  </a:lnTo>
                  <a:lnTo>
                    <a:pt x="2124016" y="2897088"/>
                  </a:lnTo>
                  <a:lnTo>
                    <a:pt x="2124016" y="3513261"/>
                  </a:lnTo>
                  <a:lnTo>
                    <a:pt x="2268032" y="3513261"/>
                  </a:lnTo>
                  <a:cubicBezTo>
                    <a:pt x="2331437" y="3513261"/>
                    <a:pt x="2388462" y="3540577"/>
                    <a:pt x="2426674" y="3585269"/>
                  </a:cubicBezTo>
                  <a:lnTo>
                    <a:pt x="3960000" y="3585269"/>
                  </a:lnTo>
                  <a:lnTo>
                    <a:pt x="3960000" y="3873301"/>
                  </a:lnTo>
                  <a:lnTo>
                    <a:pt x="2426674" y="3873301"/>
                  </a:lnTo>
                  <a:cubicBezTo>
                    <a:pt x="2388462" y="3917993"/>
                    <a:pt x="2331437" y="3945309"/>
                    <a:pt x="2268032" y="3945309"/>
                  </a:cubicBezTo>
                  <a:lnTo>
                    <a:pt x="1691968" y="3945309"/>
                  </a:lnTo>
                  <a:cubicBezTo>
                    <a:pt x="1628563" y="3945309"/>
                    <a:pt x="1571538" y="3917993"/>
                    <a:pt x="1533326" y="3873301"/>
                  </a:cubicBezTo>
                  <a:lnTo>
                    <a:pt x="0" y="3873301"/>
                  </a:lnTo>
                  <a:lnTo>
                    <a:pt x="0" y="3585269"/>
                  </a:lnTo>
                  <a:lnTo>
                    <a:pt x="1533326" y="3585269"/>
                  </a:lnTo>
                  <a:cubicBezTo>
                    <a:pt x="1571538" y="3540577"/>
                    <a:pt x="1628563" y="3513261"/>
                    <a:pt x="1691968" y="3513261"/>
                  </a:cubicBezTo>
                  <a:lnTo>
                    <a:pt x="1835984" y="3513261"/>
                  </a:lnTo>
                  <a:lnTo>
                    <a:pt x="1835984" y="2897088"/>
                  </a:lnTo>
                  <a:lnTo>
                    <a:pt x="0" y="2897088"/>
                  </a:lnTo>
                  <a:close/>
                  <a:moveTo>
                    <a:pt x="466104" y="1620410"/>
                  </a:moveTo>
                  <a:lnTo>
                    <a:pt x="466104" y="1764426"/>
                  </a:lnTo>
                  <a:lnTo>
                    <a:pt x="2050104" y="1764426"/>
                  </a:lnTo>
                  <a:lnTo>
                    <a:pt x="2050104" y="1620410"/>
                  </a:lnTo>
                  <a:close/>
                  <a:moveTo>
                    <a:pt x="466104" y="1391398"/>
                  </a:moveTo>
                  <a:lnTo>
                    <a:pt x="466104" y="1535414"/>
                  </a:lnTo>
                  <a:lnTo>
                    <a:pt x="2050104" y="1535414"/>
                  </a:lnTo>
                  <a:lnTo>
                    <a:pt x="2050104" y="1391398"/>
                  </a:lnTo>
                  <a:close/>
                  <a:moveTo>
                    <a:pt x="466104" y="1162385"/>
                  </a:moveTo>
                  <a:lnTo>
                    <a:pt x="466104" y="1306401"/>
                  </a:lnTo>
                  <a:lnTo>
                    <a:pt x="2050104" y="1306401"/>
                  </a:lnTo>
                  <a:lnTo>
                    <a:pt x="2050104" y="1162385"/>
                  </a:lnTo>
                  <a:close/>
                  <a:moveTo>
                    <a:pt x="3358993" y="1162384"/>
                  </a:moveTo>
                  <a:cubicBezTo>
                    <a:pt x="3299346" y="1162384"/>
                    <a:pt x="3250993" y="1210737"/>
                    <a:pt x="3250993" y="1270384"/>
                  </a:cubicBezTo>
                  <a:cubicBezTo>
                    <a:pt x="3250993" y="1330031"/>
                    <a:pt x="3299346" y="1378384"/>
                    <a:pt x="3358993" y="1378384"/>
                  </a:cubicBezTo>
                  <a:cubicBezTo>
                    <a:pt x="3418640" y="1378384"/>
                    <a:pt x="3466993" y="1330031"/>
                    <a:pt x="3466993" y="1270384"/>
                  </a:cubicBezTo>
                  <a:cubicBezTo>
                    <a:pt x="3466993" y="1210737"/>
                    <a:pt x="3418640" y="1162384"/>
                    <a:pt x="3358993" y="1162384"/>
                  </a:cubicBezTo>
                  <a:close/>
                  <a:moveTo>
                    <a:pt x="2962949" y="1162384"/>
                  </a:moveTo>
                  <a:cubicBezTo>
                    <a:pt x="2903302" y="1162384"/>
                    <a:pt x="2854949" y="1210737"/>
                    <a:pt x="2854949" y="1270384"/>
                  </a:cubicBezTo>
                  <a:cubicBezTo>
                    <a:pt x="2854949" y="1330031"/>
                    <a:pt x="2903302" y="1378384"/>
                    <a:pt x="2962949" y="1378384"/>
                  </a:cubicBezTo>
                  <a:cubicBezTo>
                    <a:pt x="3022596" y="1378384"/>
                    <a:pt x="3070949" y="1330031"/>
                    <a:pt x="3070949" y="1270384"/>
                  </a:cubicBezTo>
                  <a:cubicBezTo>
                    <a:pt x="3070949" y="1210737"/>
                    <a:pt x="3022596" y="1162384"/>
                    <a:pt x="2962949" y="1162384"/>
                  </a:cubicBezTo>
                  <a:close/>
                  <a:moveTo>
                    <a:pt x="2566905" y="1162384"/>
                  </a:moveTo>
                  <a:cubicBezTo>
                    <a:pt x="2507258" y="1162384"/>
                    <a:pt x="2458905" y="1210737"/>
                    <a:pt x="2458905" y="1270384"/>
                  </a:cubicBezTo>
                  <a:cubicBezTo>
                    <a:pt x="2458905" y="1330031"/>
                    <a:pt x="2507258" y="1378384"/>
                    <a:pt x="2566905" y="1378384"/>
                  </a:cubicBezTo>
                  <a:cubicBezTo>
                    <a:pt x="2626552" y="1378384"/>
                    <a:pt x="2674905" y="1330031"/>
                    <a:pt x="2674905" y="1270384"/>
                  </a:cubicBezTo>
                  <a:cubicBezTo>
                    <a:pt x="2674905" y="1210737"/>
                    <a:pt x="2626552" y="1162384"/>
                    <a:pt x="2566905" y="1162384"/>
                  </a:cubicBezTo>
                  <a:close/>
                  <a:moveTo>
                    <a:pt x="154649" y="1139405"/>
                  </a:moveTo>
                  <a:lnTo>
                    <a:pt x="154649" y="1787405"/>
                  </a:lnTo>
                  <a:lnTo>
                    <a:pt x="298665" y="1787405"/>
                  </a:lnTo>
                  <a:lnTo>
                    <a:pt x="298665" y="1139405"/>
                  </a:lnTo>
                  <a:close/>
                  <a:moveTo>
                    <a:pt x="3645310" y="1137023"/>
                  </a:moveTo>
                  <a:lnTo>
                    <a:pt x="3645310" y="1785023"/>
                  </a:lnTo>
                  <a:lnTo>
                    <a:pt x="3789326" y="1785023"/>
                  </a:lnTo>
                  <a:lnTo>
                    <a:pt x="3789326" y="1137023"/>
                  </a:lnTo>
                  <a:close/>
                  <a:moveTo>
                    <a:pt x="0" y="1016496"/>
                  </a:moveTo>
                  <a:lnTo>
                    <a:pt x="3960000" y="1016496"/>
                  </a:lnTo>
                  <a:lnTo>
                    <a:pt x="3960000" y="1880592"/>
                  </a:lnTo>
                  <a:lnTo>
                    <a:pt x="0" y="1880592"/>
                  </a:lnTo>
                  <a:close/>
                  <a:moveTo>
                    <a:pt x="466104" y="603914"/>
                  </a:moveTo>
                  <a:lnTo>
                    <a:pt x="466104" y="747930"/>
                  </a:lnTo>
                  <a:lnTo>
                    <a:pt x="2050104" y="747930"/>
                  </a:lnTo>
                  <a:lnTo>
                    <a:pt x="2050104" y="603914"/>
                  </a:lnTo>
                  <a:close/>
                  <a:moveTo>
                    <a:pt x="466104" y="374902"/>
                  </a:moveTo>
                  <a:lnTo>
                    <a:pt x="466104" y="518918"/>
                  </a:lnTo>
                  <a:lnTo>
                    <a:pt x="2050104" y="518918"/>
                  </a:lnTo>
                  <a:lnTo>
                    <a:pt x="2050104" y="374902"/>
                  </a:lnTo>
                  <a:close/>
                  <a:moveTo>
                    <a:pt x="466104" y="145889"/>
                  </a:moveTo>
                  <a:lnTo>
                    <a:pt x="466104" y="289905"/>
                  </a:lnTo>
                  <a:lnTo>
                    <a:pt x="2050104" y="289905"/>
                  </a:lnTo>
                  <a:lnTo>
                    <a:pt x="2050104" y="145889"/>
                  </a:lnTo>
                  <a:close/>
                  <a:moveTo>
                    <a:pt x="3358993" y="145888"/>
                  </a:moveTo>
                  <a:cubicBezTo>
                    <a:pt x="3299346" y="145888"/>
                    <a:pt x="3250993" y="194241"/>
                    <a:pt x="3250993" y="253888"/>
                  </a:cubicBezTo>
                  <a:cubicBezTo>
                    <a:pt x="3250993" y="313535"/>
                    <a:pt x="3299346" y="361888"/>
                    <a:pt x="3358993" y="361888"/>
                  </a:cubicBezTo>
                  <a:cubicBezTo>
                    <a:pt x="3418640" y="361888"/>
                    <a:pt x="3466993" y="313535"/>
                    <a:pt x="3466993" y="253888"/>
                  </a:cubicBezTo>
                  <a:cubicBezTo>
                    <a:pt x="3466993" y="194241"/>
                    <a:pt x="3418640" y="145888"/>
                    <a:pt x="3358993" y="145888"/>
                  </a:cubicBezTo>
                  <a:close/>
                  <a:moveTo>
                    <a:pt x="2962949" y="145888"/>
                  </a:moveTo>
                  <a:cubicBezTo>
                    <a:pt x="2903302" y="145888"/>
                    <a:pt x="2854949" y="194241"/>
                    <a:pt x="2854949" y="253888"/>
                  </a:cubicBezTo>
                  <a:cubicBezTo>
                    <a:pt x="2854949" y="313535"/>
                    <a:pt x="2903302" y="361888"/>
                    <a:pt x="2962949" y="361888"/>
                  </a:cubicBezTo>
                  <a:cubicBezTo>
                    <a:pt x="3022596" y="361888"/>
                    <a:pt x="3070949" y="313535"/>
                    <a:pt x="3070949" y="253888"/>
                  </a:cubicBezTo>
                  <a:cubicBezTo>
                    <a:pt x="3070949" y="194241"/>
                    <a:pt x="3022596" y="145888"/>
                    <a:pt x="2962949" y="145888"/>
                  </a:cubicBezTo>
                  <a:close/>
                  <a:moveTo>
                    <a:pt x="2566905" y="145888"/>
                  </a:moveTo>
                  <a:cubicBezTo>
                    <a:pt x="2507258" y="145888"/>
                    <a:pt x="2458905" y="194241"/>
                    <a:pt x="2458905" y="253888"/>
                  </a:cubicBezTo>
                  <a:cubicBezTo>
                    <a:pt x="2458905" y="313535"/>
                    <a:pt x="2507258" y="361888"/>
                    <a:pt x="2566905" y="361888"/>
                  </a:cubicBezTo>
                  <a:cubicBezTo>
                    <a:pt x="2626552" y="361888"/>
                    <a:pt x="2674905" y="313535"/>
                    <a:pt x="2674905" y="253888"/>
                  </a:cubicBezTo>
                  <a:cubicBezTo>
                    <a:pt x="2674905" y="194241"/>
                    <a:pt x="2626552" y="145888"/>
                    <a:pt x="2566905" y="145888"/>
                  </a:cubicBezTo>
                  <a:close/>
                  <a:moveTo>
                    <a:pt x="154649" y="122909"/>
                  </a:moveTo>
                  <a:lnTo>
                    <a:pt x="154649" y="770909"/>
                  </a:lnTo>
                  <a:lnTo>
                    <a:pt x="298665" y="770909"/>
                  </a:lnTo>
                  <a:lnTo>
                    <a:pt x="298665" y="122909"/>
                  </a:lnTo>
                  <a:close/>
                  <a:moveTo>
                    <a:pt x="3645310" y="120527"/>
                  </a:moveTo>
                  <a:lnTo>
                    <a:pt x="3645310" y="768527"/>
                  </a:lnTo>
                  <a:lnTo>
                    <a:pt x="3789326" y="768527"/>
                  </a:lnTo>
                  <a:lnTo>
                    <a:pt x="3789326" y="120527"/>
                  </a:lnTo>
                  <a:close/>
                  <a:moveTo>
                    <a:pt x="0" y="0"/>
                  </a:moveTo>
                  <a:lnTo>
                    <a:pt x="3960000" y="0"/>
                  </a:lnTo>
                  <a:lnTo>
                    <a:pt x="3960000" y="864096"/>
                  </a:lnTo>
                  <a:lnTo>
                    <a:pt x="0" y="8640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22" name="Arrow: Down 21">
            <a:extLst>
              <a:ext uri="{FF2B5EF4-FFF2-40B4-BE49-F238E27FC236}">
                <a16:creationId xmlns:a16="http://schemas.microsoft.com/office/drawing/2014/main" id="{EDC55CB3-88F5-40B6-97EE-5C7EA1809938}"/>
              </a:ext>
            </a:extLst>
          </p:cNvPr>
          <p:cNvSpPr/>
          <p:nvPr/>
        </p:nvSpPr>
        <p:spPr>
          <a:xfrm>
            <a:off x="10734656" y="4674350"/>
            <a:ext cx="194140" cy="625889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27AAA-A1F3-44A4-9622-29ECC430768F}"/>
              </a:ext>
            </a:extLst>
          </p:cNvPr>
          <p:cNvSpPr txBox="1"/>
          <p:nvPr/>
        </p:nvSpPr>
        <p:spPr>
          <a:xfrm>
            <a:off x="9969951" y="6157118"/>
            <a:ext cx="17235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8987"/>
            <a:r>
              <a:rPr lang="en-US" sz="1600" kern="0">
                <a:latin typeface="Arial" pitchFamily="34" charset="0"/>
                <a:cs typeface="Arial" pitchFamily="34" charset="0"/>
              </a:rPr>
              <a:t>Database Server</a:t>
            </a:r>
            <a:endParaRPr lang="en-US" sz="1600" kern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1766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3" grpId="0" animBg="1"/>
      <p:bldP spid="392" grpId="0" animBg="1"/>
      <p:bldP spid="1036" grpId="0"/>
      <p:bldP spid="366" grpId="0"/>
      <p:bldP spid="22" grpId="0" animBg="1"/>
      <p:bldP spid="2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E72CE64-8F46-4847-A982-D4DDC2E22D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29" y="1632939"/>
            <a:ext cx="2084344" cy="351683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32B1E7C-3104-4F30-B8FA-0902173819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436" y="1642486"/>
            <a:ext cx="2084344" cy="35204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B85E872-0520-48D0-899A-B2B8607702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954" y="1642486"/>
            <a:ext cx="2092826" cy="3586589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D161BC07-9CC9-41D5-BA7F-DDDD59B4AE35}"/>
              </a:ext>
            </a:extLst>
          </p:cNvPr>
          <p:cNvSpPr/>
          <p:nvPr/>
        </p:nvSpPr>
        <p:spPr>
          <a:xfrm>
            <a:off x="931392" y="5747522"/>
            <a:ext cx="2342184" cy="159785"/>
          </a:xfrm>
          <a:prstGeom prst="ellipse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3672647-F477-4E74-96E7-28B0918A71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1" y="1690945"/>
            <a:ext cx="2079472" cy="3419136"/>
          </a:xfrm>
          <a:prstGeom prst="rect">
            <a:avLst/>
          </a:prstGeom>
        </p:spPr>
      </p:pic>
      <p:sp>
        <p:nvSpPr>
          <p:cNvPr id="9" name="Freeform 6">
            <a:extLst>
              <a:ext uri="{FF2B5EF4-FFF2-40B4-BE49-F238E27FC236}">
                <a16:creationId xmlns:a16="http://schemas.microsoft.com/office/drawing/2014/main" id="{A35F4CBE-242D-4DFE-91DE-521F19D109A2}"/>
              </a:ext>
            </a:extLst>
          </p:cNvPr>
          <p:cNvSpPr>
            <a:spLocks noEditPoints="1"/>
          </p:cNvSpPr>
          <p:nvPr/>
        </p:nvSpPr>
        <p:spPr bwMode="auto">
          <a:xfrm>
            <a:off x="931392" y="1112521"/>
            <a:ext cx="2342184" cy="4629050"/>
          </a:xfrm>
          <a:custGeom>
            <a:avLst/>
            <a:gdLst>
              <a:gd name="T0" fmla="*/ 1022 w 1022"/>
              <a:gd name="T1" fmla="*/ 890 h 2118"/>
              <a:gd name="T2" fmla="*/ 1022 w 1022"/>
              <a:gd name="T3" fmla="*/ 157 h 2118"/>
              <a:gd name="T4" fmla="*/ 1014 w 1022"/>
              <a:gd name="T5" fmla="*/ 101 h 2118"/>
              <a:gd name="T6" fmla="*/ 868 w 1022"/>
              <a:gd name="T7" fmla="*/ 1 h 2118"/>
              <a:gd name="T8" fmla="*/ 162 w 1022"/>
              <a:gd name="T9" fmla="*/ 0 h 2118"/>
              <a:gd name="T10" fmla="*/ 87 w 1022"/>
              <a:gd name="T11" fmla="*/ 16 h 2118"/>
              <a:gd name="T12" fmla="*/ 14 w 1022"/>
              <a:gd name="T13" fmla="*/ 91 h 2118"/>
              <a:gd name="T14" fmla="*/ 0 w 1022"/>
              <a:gd name="T15" fmla="*/ 166 h 2118"/>
              <a:gd name="T16" fmla="*/ 0 w 1022"/>
              <a:gd name="T17" fmla="*/ 1953 h 2118"/>
              <a:gd name="T18" fmla="*/ 1 w 1022"/>
              <a:gd name="T19" fmla="*/ 1967 h 2118"/>
              <a:gd name="T20" fmla="*/ 38 w 1022"/>
              <a:gd name="T21" fmla="*/ 2064 h 2118"/>
              <a:gd name="T22" fmla="*/ 137 w 1022"/>
              <a:gd name="T23" fmla="*/ 2115 h 2118"/>
              <a:gd name="T24" fmla="*/ 226 w 1022"/>
              <a:gd name="T25" fmla="*/ 2117 h 2118"/>
              <a:gd name="T26" fmla="*/ 872 w 1022"/>
              <a:gd name="T27" fmla="*/ 2117 h 2118"/>
              <a:gd name="T28" fmla="*/ 977 w 1022"/>
              <a:gd name="T29" fmla="*/ 2072 h 2118"/>
              <a:gd name="T30" fmla="*/ 1022 w 1022"/>
              <a:gd name="T31" fmla="*/ 1957 h 2118"/>
              <a:gd name="T32" fmla="*/ 1022 w 1022"/>
              <a:gd name="T33" fmla="*/ 890 h 2118"/>
              <a:gd name="T34" fmla="*/ 428 w 1022"/>
              <a:gd name="T35" fmla="*/ 127 h 2118"/>
              <a:gd name="T36" fmla="*/ 442 w 1022"/>
              <a:gd name="T37" fmla="*/ 116 h 2118"/>
              <a:gd name="T38" fmla="*/ 512 w 1022"/>
              <a:gd name="T39" fmla="*/ 117 h 2118"/>
              <a:gd name="T40" fmla="*/ 576 w 1022"/>
              <a:gd name="T41" fmla="*/ 116 h 2118"/>
              <a:gd name="T42" fmla="*/ 582 w 1022"/>
              <a:gd name="T43" fmla="*/ 117 h 2118"/>
              <a:gd name="T44" fmla="*/ 595 w 1022"/>
              <a:gd name="T45" fmla="*/ 128 h 2118"/>
              <a:gd name="T46" fmla="*/ 583 w 1022"/>
              <a:gd name="T47" fmla="*/ 140 h 2118"/>
              <a:gd name="T48" fmla="*/ 440 w 1022"/>
              <a:gd name="T49" fmla="*/ 140 h 2118"/>
              <a:gd name="T50" fmla="*/ 428 w 1022"/>
              <a:gd name="T51" fmla="*/ 127 h 2118"/>
              <a:gd name="T52" fmla="*/ 511 w 1022"/>
              <a:gd name="T53" fmla="*/ 2064 h 2118"/>
              <a:gd name="T54" fmla="*/ 430 w 1022"/>
              <a:gd name="T55" fmla="*/ 1983 h 2118"/>
              <a:gd name="T56" fmla="*/ 512 w 1022"/>
              <a:gd name="T57" fmla="*/ 1901 h 2118"/>
              <a:gd name="T58" fmla="*/ 593 w 1022"/>
              <a:gd name="T59" fmla="*/ 1983 h 2118"/>
              <a:gd name="T60" fmla="*/ 511 w 1022"/>
              <a:gd name="T61" fmla="*/ 2064 h 2118"/>
              <a:gd name="T62" fmla="*/ 946 w 1022"/>
              <a:gd name="T63" fmla="*/ 1848 h 2118"/>
              <a:gd name="T64" fmla="*/ 75 w 1022"/>
              <a:gd name="T65" fmla="*/ 1848 h 2118"/>
              <a:gd name="T66" fmla="*/ 62 w 1022"/>
              <a:gd name="T67" fmla="*/ 1835 h 2118"/>
              <a:gd name="T68" fmla="*/ 62 w 1022"/>
              <a:gd name="T69" fmla="*/ 270 h 2118"/>
              <a:gd name="T70" fmla="*/ 75 w 1022"/>
              <a:gd name="T71" fmla="*/ 256 h 2118"/>
              <a:gd name="T72" fmla="*/ 946 w 1022"/>
              <a:gd name="T73" fmla="*/ 256 h 2118"/>
              <a:gd name="T74" fmla="*/ 960 w 1022"/>
              <a:gd name="T75" fmla="*/ 271 h 2118"/>
              <a:gd name="T76" fmla="*/ 960 w 1022"/>
              <a:gd name="T77" fmla="*/ 1054 h 2118"/>
              <a:gd name="T78" fmla="*/ 960 w 1022"/>
              <a:gd name="T79" fmla="*/ 1834 h 2118"/>
              <a:gd name="T80" fmla="*/ 946 w 1022"/>
              <a:gd name="T81" fmla="*/ 1848 h 2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022" h="2118">
                <a:moveTo>
                  <a:pt x="1022" y="890"/>
                </a:moveTo>
                <a:cubicBezTo>
                  <a:pt x="1022" y="645"/>
                  <a:pt x="1022" y="401"/>
                  <a:pt x="1022" y="157"/>
                </a:cubicBezTo>
                <a:cubicBezTo>
                  <a:pt x="1022" y="138"/>
                  <a:pt x="1020" y="119"/>
                  <a:pt x="1014" y="101"/>
                </a:cubicBezTo>
                <a:cubicBezTo>
                  <a:pt x="991" y="40"/>
                  <a:pt x="933" y="1"/>
                  <a:pt x="868" y="1"/>
                </a:cubicBezTo>
                <a:cubicBezTo>
                  <a:pt x="632" y="1"/>
                  <a:pt x="397" y="1"/>
                  <a:pt x="162" y="0"/>
                </a:cubicBezTo>
                <a:cubicBezTo>
                  <a:pt x="136" y="0"/>
                  <a:pt x="110" y="5"/>
                  <a:pt x="87" y="16"/>
                </a:cubicBezTo>
                <a:cubicBezTo>
                  <a:pt x="54" y="32"/>
                  <a:pt x="29" y="57"/>
                  <a:pt x="14" y="91"/>
                </a:cubicBezTo>
                <a:cubicBezTo>
                  <a:pt x="3" y="115"/>
                  <a:pt x="0" y="140"/>
                  <a:pt x="0" y="166"/>
                </a:cubicBezTo>
                <a:cubicBezTo>
                  <a:pt x="1" y="762"/>
                  <a:pt x="0" y="1357"/>
                  <a:pt x="0" y="1953"/>
                </a:cubicBezTo>
                <a:cubicBezTo>
                  <a:pt x="0" y="1958"/>
                  <a:pt x="1" y="1963"/>
                  <a:pt x="1" y="1967"/>
                </a:cubicBezTo>
                <a:cubicBezTo>
                  <a:pt x="2" y="2004"/>
                  <a:pt x="12" y="2037"/>
                  <a:pt x="38" y="2064"/>
                </a:cubicBezTo>
                <a:cubicBezTo>
                  <a:pt x="65" y="2093"/>
                  <a:pt x="97" y="2113"/>
                  <a:pt x="137" y="2115"/>
                </a:cubicBezTo>
                <a:cubicBezTo>
                  <a:pt x="166" y="2117"/>
                  <a:pt x="196" y="2117"/>
                  <a:pt x="226" y="2117"/>
                </a:cubicBezTo>
                <a:cubicBezTo>
                  <a:pt x="316" y="2117"/>
                  <a:pt x="756" y="2118"/>
                  <a:pt x="872" y="2117"/>
                </a:cubicBezTo>
                <a:cubicBezTo>
                  <a:pt x="912" y="2117"/>
                  <a:pt x="948" y="2101"/>
                  <a:pt x="977" y="2072"/>
                </a:cubicBezTo>
                <a:cubicBezTo>
                  <a:pt x="1009" y="2041"/>
                  <a:pt x="1022" y="2002"/>
                  <a:pt x="1022" y="1957"/>
                </a:cubicBezTo>
                <a:cubicBezTo>
                  <a:pt x="1022" y="1601"/>
                  <a:pt x="1022" y="1245"/>
                  <a:pt x="1022" y="890"/>
                </a:cubicBezTo>
                <a:close/>
                <a:moveTo>
                  <a:pt x="428" y="127"/>
                </a:moveTo>
                <a:cubicBezTo>
                  <a:pt x="429" y="120"/>
                  <a:pt x="434" y="116"/>
                  <a:pt x="442" y="116"/>
                </a:cubicBezTo>
                <a:cubicBezTo>
                  <a:pt x="465" y="117"/>
                  <a:pt x="489" y="117"/>
                  <a:pt x="512" y="117"/>
                </a:cubicBezTo>
                <a:cubicBezTo>
                  <a:pt x="533" y="116"/>
                  <a:pt x="555" y="116"/>
                  <a:pt x="576" y="116"/>
                </a:cubicBezTo>
                <a:cubicBezTo>
                  <a:pt x="578" y="116"/>
                  <a:pt x="580" y="116"/>
                  <a:pt x="582" y="117"/>
                </a:cubicBezTo>
                <a:cubicBezTo>
                  <a:pt x="590" y="117"/>
                  <a:pt x="595" y="122"/>
                  <a:pt x="595" y="128"/>
                </a:cubicBezTo>
                <a:cubicBezTo>
                  <a:pt x="595" y="136"/>
                  <a:pt x="590" y="140"/>
                  <a:pt x="583" y="140"/>
                </a:cubicBezTo>
                <a:cubicBezTo>
                  <a:pt x="535" y="140"/>
                  <a:pt x="488" y="140"/>
                  <a:pt x="440" y="140"/>
                </a:cubicBezTo>
                <a:cubicBezTo>
                  <a:pt x="432" y="140"/>
                  <a:pt x="427" y="133"/>
                  <a:pt x="428" y="127"/>
                </a:cubicBezTo>
                <a:close/>
                <a:moveTo>
                  <a:pt x="511" y="2064"/>
                </a:moveTo>
                <a:cubicBezTo>
                  <a:pt x="466" y="2064"/>
                  <a:pt x="430" y="2029"/>
                  <a:pt x="430" y="1983"/>
                </a:cubicBezTo>
                <a:cubicBezTo>
                  <a:pt x="430" y="1936"/>
                  <a:pt x="467" y="1902"/>
                  <a:pt x="512" y="1901"/>
                </a:cubicBezTo>
                <a:cubicBezTo>
                  <a:pt x="556" y="1902"/>
                  <a:pt x="593" y="1936"/>
                  <a:pt x="593" y="1983"/>
                </a:cubicBezTo>
                <a:cubicBezTo>
                  <a:pt x="592" y="2031"/>
                  <a:pt x="554" y="2065"/>
                  <a:pt x="511" y="2064"/>
                </a:cubicBezTo>
                <a:close/>
                <a:moveTo>
                  <a:pt x="946" y="1848"/>
                </a:moveTo>
                <a:cubicBezTo>
                  <a:pt x="655" y="1848"/>
                  <a:pt x="365" y="1848"/>
                  <a:pt x="75" y="1848"/>
                </a:cubicBezTo>
                <a:cubicBezTo>
                  <a:pt x="60" y="1848"/>
                  <a:pt x="62" y="1850"/>
                  <a:pt x="62" y="1835"/>
                </a:cubicBezTo>
                <a:cubicBezTo>
                  <a:pt x="62" y="1313"/>
                  <a:pt x="62" y="791"/>
                  <a:pt x="62" y="270"/>
                </a:cubicBezTo>
                <a:cubicBezTo>
                  <a:pt x="62" y="256"/>
                  <a:pt x="62" y="256"/>
                  <a:pt x="75" y="256"/>
                </a:cubicBezTo>
                <a:cubicBezTo>
                  <a:pt x="365" y="256"/>
                  <a:pt x="656" y="256"/>
                  <a:pt x="946" y="256"/>
                </a:cubicBezTo>
                <a:cubicBezTo>
                  <a:pt x="960" y="256"/>
                  <a:pt x="960" y="256"/>
                  <a:pt x="960" y="271"/>
                </a:cubicBezTo>
                <a:cubicBezTo>
                  <a:pt x="960" y="532"/>
                  <a:pt x="960" y="793"/>
                  <a:pt x="960" y="1054"/>
                </a:cubicBezTo>
                <a:cubicBezTo>
                  <a:pt x="960" y="1314"/>
                  <a:pt x="960" y="1574"/>
                  <a:pt x="960" y="1834"/>
                </a:cubicBezTo>
                <a:cubicBezTo>
                  <a:pt x="960" y="1851"/>
                  <a:pt x="961" y="1848"/>
                  <a:pt x="946" y="184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57CE872A-EFC7-42B7-9398-9050C8204B5C}"/>
              </a:ext>
            </a:extLst>
          </p:cNvPr>
          <p:cNvSpPr>
            <a:spLocks/>
          </p:cNvSpPr>
          <p:nvPr/>
        </p:nvSpPr>
        <p:spPr bwMode="auto">
          <a:xfrm>
            <a:off x="2666918" y="4327682"/>
            <a:ext cx="963574" cy="861774"/>
          </a:xfrm>
          <a:custGeom>
            <a:avLst/>
            <a:gdLst>
              <a:gd name="T0" fmla="*/ 242 w 242"/>
              <a:gd name="T1" fmla="*/ 152 h 216"/>
              <a:gd name="T2" fmla="*/ 151 w 242"/>
              <a:gd name="T3" fmla="*/ 216 h 216"/>
              <a:gd name="T4" fmla="*/ 107 w 242"/>
              <a:gd name="T5" fmla="*/ 188 h 216"/>
              <a:gd name="T6" fmla="*/ 51 w 242"/>
              <a:gd name="T7" fmla="*/ 163 h 216"/>
              <a:gd name="T8" fmla="*/ 26 w 242"/>
              <a:gd name="T9" fmla="*/ 150 h 216"/>
              <a:gd name="T10" fmla="*/ 22 w 242"/>
              <a:gd name="T11" fmla="*/ 137 h 216"/>
              <a:gd name="T12" fmla="*/ 34 w 242"/>
              <a:gd name="T13" fmla="*/ 129 h 216"/>
              <a:gd name="T14" fmla="*/ 71 w 242"/>
              <a:gd name="T15" fmla="*/ 128 h 216"/>
              <a:gd name="T16" fmla="*/ 75 w 242"/>
              <a:gd name="T17" fmla="*/ 128 h 216"/>
              <a:gd name="T18" fmla="*/ 66 w 242"/>
              <a:gd name="T19" fmla="*/ 115 h 216"/>
              <a:gd name="T20" fmla="*/ 7 w 242"/>
              <a:gd name="T21" fmla="*/ 34 h 216"/>
              <a:gd name="T22" fmla="*/ 11 w 242"/>
              <a:gd name="T23" fmla="*/ 7 h 216"/>
              <a:gd name="T24" fmla="*/ 38 w 242"/>
              <a:gd name="T25" fmla="*/ 11 h 216"/>
              <a:gd name="T26" fmla="*/ 62 w 242"/>
              <a:gd name="T27" fmla="*/ 45 h 216"/>
              <a:gd name="T28" fmla="*/ 65 w 242"/>
              <a:gd name="T29" fmla="*/ 48 h 216"/>
              <a:gd name="T30" fmla="*/ 78 w 242"/>
              <a:gd name="T31" fmla="*/ 29 h 216"/>
              <a:gd name="T32" fmla="*/ 100 w 242"/>
              <a:gd name="T33" fmla="*/ 31 h 216"/>
              <a:gd name="T34" fmla="*/ 107 w 242"/>
              <a:gd name="T35" fmla="*/ 22 h 216"/>
              <a:gd name="T36" fmla="*/ 131 w 242"/>
              <a:gd name="T37" fmla="*/ 15 h 216"/>
              <a:gd name="T38" fmla="*/ 141 w 242"/>
              <a:gd name="T39" fmla="*/ 13 h 216"/>
              <a:gd name="T40" fmla="*/ 180 w 242"/>
              <a:gd name="T41" fmla="*/ 17 h 216"/>
              <a:gd name="T42" fmla="*/ 205 w 242"/>
              <a:gd name="T43" fmla="*/ 54 h 216"/>
              <a:gd name="T44" fmla="*/ 220 w 242"/>
              <a:gd name="T45" fmla="*/ 79 h 216"/>
              <a:gd name="T46" fmla="*/ 231 w 242"/>
              <a:gd name="T47" fmla="*/ 113 h 216"/>
              <a:gd name="T48" fmla="*/ 242 w 242"/>
              <a:gd name="T49" fmla="*/ 152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42" h="216">
                <a:moveTo>
                  <a:pt x="242" y="152"/>
                </a:moveTo>
                <a:cubicBezTo>
                  <a:pt x="212" y="173"/>
                  <a:pt x="181" y="195"/>
                  <a:pt x="151" y="216"/>
                </a:cubicBezTo>
                <a:cubicBezTo>
                  <a:pt x="136" y="207"/>
                  <a:pt x="122" y="197"/>
                  <a:pt x="107" y="188"/>
                </a:cubicBezTo>
                <a:cubicBezTo>
                  <a:pt x="90" y="177"/>
                  <a:pt x="70" y="170"/>
                  <a:pt x="51" y="163"/>
                </a:cubicBezTo>
                <a:cubicBezTo>
                  <a:pt x="42" y="160"/>
                  <a:pt x="33" y="157"/>
                  <a:pt x="26" y="150"/>
                </a:cubicBezTo>
                <a:cubicBezTo>
                  <a:pt x="23" y="147"/>
                  <a:pt x="20" y="143"/>
                  <a:pt x="22" y="137"/>
                </a:cubicBezTo>
                <a:cubicBezTo>
                  <a:pt x="24" y="132"/>
                  <a:pt x="29" y="129"/>
                  <a:pt x="34" y="129"/>
                </a:cubicBezTo>
                <a:cubicBezTo>
                  <a:pt x="47" y="128"/>
                  <a:pt x="59" y="128"/>
                  <a:pt x="71" y="128"/>
                </a:cubicBezTo>
                <a:cubicBezTo>
                  <a:pt x="72" y="128"/>
                  <a:pt x="73" y="128"/>
                  <a:pt x="75" y="128"/>
                </a:cubicBezTo>
                <a:cubicBezTo>
                  <a:pt x="72" y="123"/>
                  <a:pt x="69" y="119"/>
                  <a:pt x="66" y="115"/>
                </a:cubicBezTo>
                <a:cubicBezTo>
                  <a:pt x="47" y="88"/>
                  <a:pt x="27" y="61"/>
                  <a:pt x="7" y="34"/>
                </a:cubicBezTo>
                <a:cubicBezTo>
                  <a:pt x="0" y="24"/>
                  <a:pt x="2" y="14"/>
                  <a:pt x="11" y="7"/>
                </a:cubicBezTo>
                <a:cubicBezTo>
                  <a:pt x="20" y="0"/>
                  <a:pt x="32" y="2"/>
                  <a:pt x="38" y="11"/>
                </a:cubicBezTo>
                <a:cubicBezTo>
                  <a:pt x="46" y="22"/>
                  <a:pt x="54" y="34"/>
                  <a:pt x="62" y="45"/>
                </a:cubicBezTo>
                <a:cubicBezTo>
                  <a:pt x="63" y="46"/>
                  <a:pt x="64" y="46"/>
                  <a:pt x="65" y="48"/>
                </a:cubicBezTo>
                <a:cubicBezTo>
                  <a:pt x="67" y="40"/>
                  <a:pt x="71" y="33"/>
                  <a:pt x="78" y="29"/>
                </a:cubicBezTo>
                <a:cubicBezTo>
                  <a:pt x="86" y="25"/>
                  <a:pt x="93" y="26"/>
                  <a:pt x="100" y="31"/>
                </a:cubicBezTo>
                <a:cubicBezTo>
                  <a:pt x="102" y="27"/>
                  <a:pt x="104" y="24"/>
                  <a:pt x="107" y="22"/>
                </a:cubicBezTo>
                <a:cubicBezTo>
                  <a:pt x="114" y="15"/>
                  <a:pt x="122" y="12"/>
                  <a:pt x="131" y="15"/>
                </a:cubicBezTo>
                <a:cubicBezTo>
                  <a:pt x="135" y="16"/>
                  <a:pt x="138" y="16"/>
                  <a:pt x="141" y="13"/>
                </a:cubicBezTo>
                <a:cubicBezTo>
                  <a:pt x="155" y="2"/>
                  <a:pt x="170" y="2"/>
                  <a:pt x="180" y="17"/>
                </a:cubicBezTo>
                <a:cubicBezTo>
                  <a:pt x="189" y="29"/>
                  <a:pt x="197" y="42"/>
                  <a:pt x="205" y="54"/>
                </a:cubicBezTo>
                <a:cubicBezTo>
                  <a:pt x="211" y="62"/>
                  <a:pt x="216" y="70"/>
                  <a:pt x="220" y="79"/>
                </a:cubicBezTo>
                <a:cubicBezTo>
                  <a:pt x="225" y="90"/>
                  <a:pt x="227" y="102"/>
                  <a:pt x="231" y="113"/>
                </a:cubicBezTo>
                <a:cubicBezTo>
                  <a:pt x="235" y="125"/>
                  <a:pt x="238" y="138"/>
                  <a:pt x="242" y="15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0F61CD-59F7-44D9-A7C4-88C1ACF44EBF}"/>
              </a:ext>
            </a:extLst>
          </p:cNvPr>
          <p:cNvSpPr txBox="1"/>
          <p:nvPr/>
        </p:nvSpPr>
        <p:spPr>
          <a:xfrm>
            <a:off x="4516436" y="1226475"/>
            <a:ext cx="32099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Username and Password required to login 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8705AAB-75B2-4C4E-897A-582F542F723A}"/>
              </a:ext>
            </a:extLst>
          </p:cNvPr>
          <p:cNvSpPr/>
          <p:nvPr/>
        </p:nvSpPr>
        <p:spPr>
          <a:xfrm>
            <a:off x="3959225" y="1231683"/>
            <a:ext cx="506366" cy="50636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33D20D0-685B-469F-9EC9-FB80CFA3BD75}"/>
              </a:ext>
            </a:extLst>
          </p:cNvPr>
          <p:cNvSpPr/>
          <p:nvPr/>
        </p:nvSpPr>
        <p:spPr>
          <a:xfrm>
            <a:off x="3959225" y="2873218"/>
            <a:ext cx="506366" cy="50636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/>
              </a:rPr>
              <a:t>3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A8DDB9E-B1C8-42CB-9D53-E4AD42556808}"/>
              </a:ext>
            </a:extLst>
          </p:cNvPr>
          <p:cNvSpPr/>
          <p:nvPr/>
        </p:nvSpPr>
        <p:spPr>
          <a:xfrm>
            <a:off x="3959225" y="3731921"/>
            <a:ext cx="506366" cy="50636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/>
              </a:rPr>
              <a:t>4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F5FAC77-E64D-4029-B6CB-301EA8432BB6}"/>
              </a:ext>
            </a:extLst>
          </p:cNvPr>
          <p:cNvSpPr txBox="1"/>
          <p:nvPr/>
        </p:nvSpPr>
        <p:spPr>
          <a:xfrm>
            <a:off x="4516435" y="2873048"/>
            <a:ext cx="32099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The </a:t>
            </a:r>
            <a:r>
              <a:rPr lang="en-US" sz="1500" dirty="0">
                <a:solidFill>
                  <a:srgbClr val="282F39"/>
                </a:solidFill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interface to input the values is in tabbed menu form.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F4FF63-EBBC-4E62-9571-4781A3467E8B}"/>
              </a:ext>
            </a:extLst>
          </p:cNvPr>
          <p:cNvSpPr txBox="1"/>
          <p:nvPr/>
        </p:nvSpPr>
        <p:spPr>
          <a:xfrm>
            <a:off x="4516435" y="3731921"/>
            <a:ext cx="32099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282F39"/>
                </a:solidFill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The meters are listed in dropdown view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E2EB0F8-CA60-4115-9033-00097A0C0DD1}"/>
              </a:ext>
            </a:extLst>
          </p:cNvPr>
          <p:cNvSpPr/>
          <p:nvPr/>
        </p:nvSpPr>
        <p:spPr>
          <a:xfrm>
            <a:off x="3959225" y="2023514"/>
            <a:ext cx="506366" cy="50636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85107CA-9A21-41AD-B14E-AF368689C8E6}"/>
              </a:ext>
            </a:extLst>
          </p:cNvPr>
          <p:cNvSpPr txBox="1"/>
          <p:nvPr/>
        </p:nvSpPr>
        <p:spPr>
          <a:xfrm>
            <a:off x="4516437" y="2028088"/>
            <a:ext cx="32099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282F39"/>
                </a:solidFill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Quick Menu Interface to input or view data fast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778EDD6-0A85-4907-BEF4-D74BF577F2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578" y="1720769"/>
            <a:ext cx="2005046" cy="3429000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5E97CE9B-5EC1-420C-AE72-89433427F12B}"/>
              </a:ext>
            </a:extLst>
          </p:cNvPr>
          <p:cNvSpPr/>
          <p:nvPr/>
        </p:nvSpPr>
        <p:spPr>
          <a:xfrm>
            <a:off x="3959225" y="4505386"/>
            <a:ext cx="506366" cy="506366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noProof="0" dirty="0">
                <a:solidFill>
                  <a:srgbClr val="FFFFFF"/>
                </a:solidFill>
                <a:latin typeface="Calibri" panose="020F0502020204030204"/>
              </a:rPr>
              <a:t>5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7A2A764-B43B-41A9-A8D1-4423057D12BE}"/>
              </a:ext>
            </a:extLst>
          </p:cNvPr>
          <p:cNvSpPr txBox="1"/>
          <p:nvPr/>
        </p:nvSpPr>
        <p:spPr>
          <a:xfrm>
            <a:off x="4516435" y="4577988"/>
            <a:ext cx="320997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Confirmation Dialog</a:t>
            </a:r>
            <a:r>
              <a:rPr kumimoji="0" lang="en-US" sz="1500" b="0" i="0" u="none" strike="noStrike" kern="1200" cap="none" spc="0" normalizeH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to doublecheck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DEE4D4D-C46F-4335-9AB4-B6042412846B}"/>
              </a:ext>
            </a:extLst>
          </p:cNvPr>
          <p:cNvSpPr/>
          <p:nvPr/>
        </p:nvSpPr>
        <p:spPr>
          <a:xfrm>
            <a:off x="3959225" y="5259661"/>
            <a:ext cx="506366" cy="50636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/>
              </a:rPr>
              <a:t>6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3D79555-AC9B-4300-A032-80555E0E9418}"/>
              </a:ext>
            </a:extLst>
          </p:cNvPr>
          <p:cNvSpPr txBox="1"/>
          <p:nvPr/>
        </p:nvSpPr>
        <p:spPr>
          <a:xfrm>
            <a:off x="4516435" y="5351261"/>
            <a:ext cx="32099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Automatic</a:t>
            </a:r>
            <a:r>
              <a:rPr kumimoji="0" lang="en-US" sz="1500" b="0" i="0" u="none" strike="noStrike" kern="1200" cap="none" spc="0" normalizeH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switch to next counter after successful insertion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7830CC79-6C81-42A3-959E-66FFBC607D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98071" y="3042638"/>
            <a:ext cx="957155" cy="853514"/>
          </a:xfrm>
          <a:prstGeom prst="rect">
            <a:avLst/>
          </a:prstGeom>
        </p:spPr>
      </p:pic>
      <p:sp>
        <p:nvSpPr>
          <p:cNvPr id="29" name="Title 28">
            <a:extLst>
              <a:ext uri="{FF2B5EF4-FFF2-40B4-BE49-F238E27FC236}">
                <a16:creationId xmlns:a16="http://schemas.microsoft.com/office/drawing/2014/main" id="{B9E9AC6A-C83F-4B17-8913-DF90266A93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04262"/>
            <a:ext cx="10515600" cy="795528"/>
          </a:xfrm>
        </p:spPr>
        <p:txBody>
          <a:bodyPr>
            <a:normAutofit fontScale="90000"/>
          </a:bodyPr>
          <a:lstStyle/>
          <a:p>
            <a:pPr algn="ctr"/>
            <a:r>
              <a:rPr lang="en-IN" dirty="0">
                <a:ln w="0"/>
                <a:gradFill>
                  <a:gsLst>
                    <a:gs pos="21000">
                      <a:srgbClr val="00B0F0"/>
                    </a:gs>
                    <a:gs pos="88000">
                      <a:schemeClr val="tx2">
                        <a:lumMod val="50000"/>
                      </a:schemeClr>
                    </a:gs>
                  </a:gsLst>
                  <a:lin ang="540000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Android Monitoring System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15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1" grpId="0"/>
      <p:bldP spid="12" grpId="0" animBg="1"/>
      <p:bldP spid="13" grpId="0" animBg="1"/>
      <p:bldP spid="14" grpId="0" animBg="1"/>
      <p:bldP spid="15" grpId="0"/>
      <p:bldP spid="16" grpId="0"/>
      <p:bldP spid="17" grpId="0" animBg="1"/>
      <p:bldP spid="18" grpId="0"/>
      <p:bldP spid="20" grpId="0" animBg="1"/>
      <p:bldP spid="21" grpId="0"/>
      <p:bldP spid="22" grpId="0" animBg="1"/>
      <p:bldP spid="2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F07A40A-AD53-40F5-8EB7-294F8A2E62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188" y="1684443"/>
            <a:ext cx="2043436" cy="34440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140759A-CD58-4973-A271-B8963C0836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188" y="1665084"/>
            <a:ext cx="2043436" cy="343385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D57AF01-16C9-4E6F-AB32-66CC1CCA5B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578" y="1659134"/>
            <a:ext cx="2005046" cy="34906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772304-08FD-4AB6-81E0-8941F9DE1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4161"/>
            <a:ext cx="10515600" cy="793115"/>
          </a:xfrm>
        </p:spPr>
        <p:txBody>
          <a:bodyPr>
            <a:normAutofit/>
          </a:bodyPr>
          <a:lstStyle/>
          <a:p>
            <a:pPr algn="ctr"/>
            <a:r>
              <a:rPr lang="en-IN" sz="4000" dirty="0">
                <a:ln w="0"/>
                <a:gradFill>
                  <a:gsLst>
                    <a:gs pos="21000">
                      <a:srgbClr val="00B0F0"/>
                    </a:gs>
                    <a:gs pos="88000">
                      <a:schemeClr val="tx2">
                        <a:lumMod val="50000"/>
                      </a:schemeClr>
                    </a:gs>
                  </a:gsLst>
                  <a:lin ang="540000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Android Monitoring System</a:t>
            </a:r>
            <a:endParaRPr lang="en-GB" sz="4000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A571475-E874-4C8E-8435-789F82532886}"/>
              </a:ext>
            </a:extLst>
          </p:cNvPr>
          <p:cNvSpPr/>
          <p:nvPr/>
        </p:nvSpPr>
        <p:spPr>
          <a:xfrm>
            <a:off x="931392" y="5747522"/>
            <a:ext cx="2342184" cy="159785"/>
          </a:xfrm>
          <a:prstGeom prst="ellipse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3754E965-30F2-47A1-A395-146073EB1454}"/>
              </a:ext>
            </a:extLst>
          </p:cNvPr>
          <p:cNvSpPr>
            <a:spLocks noEditPoints="1"/>
          </p:cNvSpPr>
          <p:nvPr/>
        </p:nvSpPr>
        <p:spPr bwMode="auto">
          <a:xfrm>
            <a:off x="931392" y="1112521"/>
            <a:ext cx="2342184" cy="4629050"/>
          </a:xfrm>
          <a:custGeom>
            <a:avLst/>
            <a:gdLst>
              <a:gd name="T0" fmla="*/ 1022 w 1022"/>
              <a:gd name="T1" fmla="*/ 890 h 2118"/>
              <a:gd name="T2" fmla="*/ 1022 w 1022"/>
              <a:gd name="T3" fmla="*/ 157 h 2118"/>
              <a:gd name="T4" fmla="*/ 1014 w 1022"/>
              <a:gd name="T5" fmla="*/ 101 h 2118"/>
              <a:gd name="T6" fmla="*/ 868 w 1022"/>
              <a:gd name="T7" fmla="*/ 1 h 2118"/>
              <a:gd name="T8" fmla="*/ 162 w 1022"/>
              <a:gd name="T9" fmla="*/ 0 h 2118"/>
              <a:gd name="T10" fmla="*/ 87 w 1022"/>
              <a:gd name="T11" fmla="*/ 16 h 2118"/>
              <a:gd name="T12" fmla="*/ 14 w 1022"/>
              <a:gd name="T13" fmla="*/ 91 h 2118"/>
              <a:gd name="T14" fmla="*/ 0 w 1022"/>
              <a:gd name="T15" fmla="*/ 166 h 2118"/>
              <a:gd name="T16" fmla="*/ 0 w 1022"/>
              <a:gd name="T17" fmla="*/ 1953 h 2118"/>
              <a:gd name="T18" fmla="*/ 1 w 1022"/>
              <a:gd name="T19" fmla="*/ 1967 h 2118"/>
              <a:gd name="T20" fmla="*/ 38 w 1022"/>
              <a:gd name="T21" fmla="*/ 2064 h 2118"/>
              <a:gd name="T22" fmla="*/ 137 w 1022"/>
              <a:gd name="T23" fmla="*/ 2115 h 2118"/>
              <a:gd name="T24" fmla="*/ 226 w 1022"/>
              <a:gd name="T25" fmla="*/ 2117 h 2118"/>
              <a:gd name="T26" fmla="*/ 872 w 1022"/>
              <a:gd name="T27" fmla="*/ 2117 h 2118"/>
              <a:gd name="T28" fmla="*/ 977 w 1022"/>
              <a:gd name="T29" fmla="*/ 2072 h 2118"/>
              <a:gd name="T30" fmla="*/ 1022 w 1022"/>
              <a:gd name="T31" fmla="*/ 1957 h 2118"/>
              <a:gd name="T32" fmla="*/ 1022 w 1022"/>
              <a:gd name="T33" fmla="*/ 890 h 2118"/>
              <a:gd name="T34" fmla="*/ 428 w 1022"/>
              <a:gd name="T35" fmla="*/ 127 h 2118"/>
              <a:gd name="T36" fmla="*/ 442 w 1022"/>
              <a:gd name="T37" fmla="*/ 116 h 2118"/>
              <a:gd name="T38" fmla="*/ 512 w 1022"/>
              <a:gd name="T39" fmla="*/ 117 h 2118"/>
              <a:gd name="T40" fmla="*/ 576 w 1022"/>
              <a:gd name="T41" fmla="*/ 116 h 2118"/>
              <a:gd name="T42" fmla="*/ 582 w 1022"/>
              <a:gd name="T43" fmla="*/ 117 h 2118"/>
              <a:gd name="T44" fmla="*/ 595 w 1022"/>
              <a:gd name="T45" fmla="*/ 128 h 2118"/>
              <a:gd name="T46" fmla="*/ 583 w 1022"/>
              <a:gd name="T47" fmla="*/ 140 h 2118"/>
              <a:gd name="T48" fmla="*/ 440 w 1022"/>
              <a:gd name="T49" fmla="*/ 140 h 2118"/>
              <a:gd name="T50" fmla="*/ 428 w 1022"/>
              <a:gd name="T51" fmla="*/ 127 h 2118"/>
              <a:gd name="T52" fmla="*/ 511 w 1022"/>
              <a:gd name="T53" fmla="*/ 2064 h 2118"/>
              <a:gd name="T54" fmla="*/ 430 w 1022"/>
              <a:gd name="T55" fmla="*/ 1983 h 2118"/>
              <a:gd name="T56" fmla="*/ 512 w 1022"/>
              <a:gd name="T57" fmla="*/ 1901 h 2118"/>
              <a:gd name="T58" fmla="*/ 593 w 1022"/>
              <a:gd name="T59" fmla="*/ 1983 h 2118"/>
              <a:gd name="T60" fmla="*/ 511 w 1022"/>
              <a:gd name="T61" fmla="*/ 2064 h 2118"/>
              <a:gd name="T62" fmla="*/ 946 w 1022"/>
              <a:gd name="T63" fmla="*/ 1848 h 2118"/>
              <a:gd name="T64" fmla="*/ 75 w 1022"/>
              <a:gd name="T65" fmla="*/ 1848 h 2118"/>
              <a:gd name="T66" fmla="*/ 62 w 1022"/>
              <a:gd name="T67" fmla="*/ 1835 h 2118"/>
              <a:gd name="T68" fmla="*/ 62 w 1022"/>
              <a:gd name="T69" fmla="*/ 270 h 2118"/>
              <a:gd name="T70" fmla="*/ 75 w 1022"/>
              <a:gd name="T71" fmla="*/ 256 h 2118"/>
              <a:gd name="T72" fmla="*/ 946 w 1022"/>
              <a:gd name="T73" fmla="*/ 256 h 2118"/>
              <a:gd name="T74" fmla="*/ 960 w 1022"/>
              <a:gd name="T75" fmla="*/ 271 h 2118"/>
              <a:gd name="T76" fmla="*/ 960 w 1022"/>
              <a:gd name="T77" fmla="*/ 1054 h 2118"/>
              <a:gd name="T78" fmla="*/ 960 w 1022"/>
              <a:gd name="T79" fmla="*/ 1834 h 2118"/>
              <a:gd name="T80" fmla="*/ 946 w 1022"/>
              <a:gd name="T81" fmla="*/ 1848 h 2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022" h="2118">
                <a:moveTo>
                  <a:pt x="1022" y="890"/>
                </a:moveTo>
                <a:cubicBezTo>
                  <a:pt x="1022" y="645"/>
                  <a:pt x="1022" y="401"/>
                  <a:pt x="1022" y="157"/>
                </a:cubicBezTo>
                <a:cubicBezTo>
                  <a:pt x="1022" y="138"/>
                  <a:pt x="1020" y="119"/>
                  <a:pt x="1014" y="101"/>
                </a:cubicBezTo>
                <a:cubicBezTo>
                  <a:pt x="991" y="40"/>
                  <a:pt x="933" y="1"/>
                  <a:pt x="868" y="1"/>
                </a:cubicBezTo>
                <a:cubicBezTo>
                  <a:pt x="632" y="1"/>
                  <a:pt x="397" y="1"/>
                  <a:pt x="162" y="0"/>
                </a:cubicBezTo>
                <a:cubicBezTo>
                  <a:pt x="136" y="0"/>
                  <a:pt x="110" y="5"/>
                  <a:pt x="87" y="16"/>
                </a:cubicBezTo>
                <a:cubicBezTo>
                  <a:pt x="54" y="32"/>
                  <a:pt x="29" y="57"/>
                  <a:pt x="14" y="91"/>
                </a:cubicBezTo>
                <a:cubicBezTo>
                  <a:pt x="3" y="115"/>
                  <a:pt x="0" y="140"/>
                  <a:pt x="0" y="166"/>
                </a:cubicBezTo>
                <a:cubicBezTo>
                  <a:pt x="1" y="762"/>
                  <a:pt x="0" y="1357"/>
                  <a:pt x="0" y="1953"/>
                </a:cubicBezTo>
                <a:cubicBezTo>
                  <a:pt x="0" y="1958"/>
                  <a:pt x="1" y="1963"/>
                  <a:pt x="1" y="1967"/>
                </a:cubicBezTo>
                <a:cubicBezTo>
                  <a:pt x="2" y="2004"/>
                  <a:pt x="12" y="2037"/>
                  <a:pt x="38" y="2064"/>
                </a:cubicBezTo>
                <a:cubicBezTo>
                  <a:pt x="65" y="2093"/>
                  <a:pt x="97" y="2113"/>
                  <a:pt x="137" y="2115"/>
                </a:cubicBezTo>
                <a:cubicBezTo>
                  <a:pt x="166" y="2117"/>
                  <a:pt x="196" y="2117"/>
                  <a:pt x="226" y="2117"/>
                </a:cubicBezTo>
                <a:cubicBezTo>
                  <a:pt x="316" y="2117"/>
                  <a:pt x="756" y="2118"/>
                  <a:pt x="872" y="2117"/>
                </a:cubicBezTo>
                <a:cubicBezTo>
                  <a:pt x="912" y="2117"/>
                  <a:pt x="948" y="2101"/>
                  <a:pt x="977" y="2072"/>
                </a:cubicBezTo>
                <a:cubicBezTo>
                  <a:pt x="1009" y="2041"/>
                  <a:pt x="1022" y="2002"/>
                  <a:pt x="1022" y="1957"/>
                </a:cubicBezTo>
                <a:cubicBezTo>
                  <a:pt x="1022" y="1601"/>
                  <a:pt x="1022" y="1245"/>
                  <a:pt x="1022" y="890"/>
                </a:cubicBezTo>
                <a:close/>
                <a:moveTo>
                  <a:pt x="428" y="127"/>
                </a:moveTo>
                <a:cubicBezTo>
                  <a:pt x="429" y="120"/>
                  <a:pt x="434" y="116"/>
                  <a:pt x="442" y="116"/>
                </a:cubicBezTo>
                <a:cubicBezTo>
                  <a:pt x="465" y="117"/>
                  <a:pt x="489" y="117"/>
                  <a:pt x="512" y="117"/>
                </a:cubicBezTo>
                <a:cubicBezTo>
                  <a:pt x="533" y="116"/>
                  <a:pt x="555" y="116"/>
                  <a:pt x="576" y="116"/>
                </a:cubicBezTo>
                <a:cubicBezTo>
                  <a:pt x="578" y="116"/>
                  <a:pt x="580" y="116"/>
                  <a:pt x="582" y="117"/>
                </a:cubicBezTo>
                <a:cubicBezTo>
                  <a:pt x="590" y="117"/>
                  <a:pt x="595" y="122"/>
                  <a:pt x="595" y="128"/>
                </a:cubicBezTo>
                <a:cubicBezTo>
                  <a:pt x="595" y="136"/>
                  <a:pt x="590" y="140"/>
                  <a:pt x="583" y="140"/>
                </a:cubicBezTo>
                <a:cubicBezTo>
                  <a:pt x="535" y="140"/>
                  <a:pt x="488" y="140"/>
                  <a:pt x="440" y="140"/>
                </a:cubicBezTo>
                <a:cubicBezTo>
                  <a:pt x="432" y="140"/>
                  <a:pt x="427" y="133"/>
                  <a:pt x="428" y="127"/>
                </a:cubicBezTo>
                <a:close/>
                <a:moveTo>
                  <a:pt x="511" y="2064"/>
                </a:moveTo>
                <a:cubicBezTo>
                  <a:pt x="466" y="2064"/>
                  <a:pt x="430" y="2029"/>
                  <a:pt x="430" y="1983"/>
                </a:cubicBezTo>
                <a:cubicBezTo>
                  <a:pt x="430" y="1936"/>
                  <a:pt x="467" y="1902"/>
                  <a:pt x="512" y="1901"/>
                </a:cubicBezTo>
                <a:cubicBezTo>
                  <a:pt x="556" y="1902"/>
                  <a:pt x="593" y="1936"/>
                  <a:pt x="593" y="1983"/>
                </a:cubicBezTo>
                <a:cubicBezTo>
                  <a:pt x="592" y="2031"/>
                  <a:pt x="554" y="2065"/>
                  <a:pt x="511" y="2064"/>
                </a:cubicBezTo>
                <a:close/>
                <a:moveTo>
                  <a:pt x="946" y="1848"/>
                </a:moveTo>
                <a:cubicBezTo>
                  <a:pt x="655" y="1848"/>
                  <a:pt x="365" y="1848"/>
                  <a:pt x="75" y="1848"/>
                </a:cubicBezTo>
                <a:cubicBezTo>
                  <a:pt x="60" y="1848"/>
                  <a:pt x="62" y="1850"/>
                  <a:pt x="62" y="1835"/>
                </a:cubicBezTo>
                <a:cubicBezTo>
                  <a:pt x="62" y="1313"/>
                  <a:pt x="62" y="791"/>
                  <a:pt x="62" y="270"/>
                </a:cubicBezTo>
                <a:cubicBezTo>
                  <a:pt x="62" y="256"/>
                  <a:pt x="62" y="256"/>
                  <a:pt x="75" y="256"/>
                </a:cubicBezTo>
                <a:cubicBezTo>
                  <a:pt x="365" y="256"/>
                  <a:pt x="656" y="256"/>
                  <a:pt x="946" y="256"/>
                </a:cubicBezTo>
                <a:cubicBezTo>
                  <a:pt x="960" y="256"/>
                  <a:pt x="960" y="256"/>
                  <a:pt x="960" y="271"/>
                </a:cubicBezTo>
                <a:cubicBezTo>
                  <a:pt x="960" y="532"/>
                  <a:pt x="960" y="793"/>
                  <a:pt x="960" y="1054"/>
                </a:cubicBezTo>
                <a:cubicBezTo>
                  <a:pt x="960" y="1314"/>
                  <a:pt x="960" y="1574"/>
                  <a:pt x="960" y="1834"/>
                </a:cubicBezTo>
                <a:cubicBezTo>
                  <a:pt x="960" y="1851"/>
                  <a:pt x="961" y="1848"/>
                  <a:pt x="946" y="184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4A17D3-8E54-45E0-881C-B4FE863EAB98}"/>
              </a:ext>
            </a:extLst>
          </p:cNvPr>
          <p:cNvSpPr txBox="1"/>
          <p:nvPr/>
        </p:nvSpPr>
        <p:spPr>
          <a:xfrm>
            <a:off x="5849437" y="2946147"/>
            <a:ext cx="320997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282F39"/>
                </a:solidFill>
                <a:latin typeface="Open Sans" panose="020B0606030504020204" pitchFamily="34" charset="0"/>
              </a:rPr>
              <a:t>Simplest Interface for quick reviews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F736262-90FE-4381-86AD-AE142843BDE5}"/>
              </a:ext>
            </a:extLst>
          </p:cNvPr>
          <p:cNvSpPr/>
          <p:nvPr/>
        </p:nvSpPr>
        <p:spPr>
          <a:xfrm>
            <a:off x="5292227" y="3646378"/>
            <a:ext cx="506366" cy="50636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/>
              </a:rPr>
              <a:t>8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1EABE3-01C2-40F3-9927-8ECBC39DF5D6}"/>
              </a:ext>
            </a:extLst>
          </p:cNvPr>
          <p:cNvSpPr txBox="1"/>
          <p:nvPr/>
        </p:nvSpPr>
        <p:spPr>
          <a:xfrm>
            <a:off x="5849437" y="3737978"/>
            <a:ext cx="408497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500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Fetches the</a:t>
            </a:r>
            <a:r>
              <a:rPr kumimoji="0" lang="en-GB" sz="1500" b="0" i="0" u="none" strike="noStrike" kern="1200" cap="none" spc="0" normalizeH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 latest data from the database server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1E4ACD85-14EC-4080-9ED2-73E968D33072}"/>
              </a:ext>
            </a:extLst>
          </p:cNvPr>
          <p:cNvSpPr>
            <a:spLocks/>
          </p:cNvSpPr>
          <p:nvPr/>
        </p:nvSpPr>
        <p:spPr bwMode="auto">
          <a:xfrm>
            <a:off x="2488442" y="3807400"/>
            <a:ext cx="963574" cy="861774"/>
          </a:xfrm>
          <a:custGeom>
            <a:avLst/>
            <a:gdLst>
              <a:gd name="T0" fmla="*/ 242 w 242"/>
              <a:gd name="T1" fmla="*/ 152 h 216"/>
              <a:gd name="T2" fmla="*/ 151 w 242"/>
              <a:gd name="T3" fmla="*/ 216 h 216"/>
              <a:gd name="T4" fmla="*/ 107 w 242"/>
              <a:gd name="T5" fmla="*/ 188 h 216"/>
              <a:gd name="T6" fmla="*/ 51 w 242"/>
              <a:gd name="T7" fmla="*/ 163 h 216"/>
              <a:gd name="T8" fmla="*/ 26 w 242"/>
              <a:gd name="T9" fmla="*/ 150 h 216"/>
              <a:gd name="T10" fmla="*/ 22 w 242"/>
              <a:gd name="T11" fmla="*/ 137 h 216"/>
              <a:gd name="T12" fmla="*/ 34 w 242"/>
              <a:gd name="T13" fmla="*/ 129 h 216"/>
              <a:gd name="T14" fmla="*/ 71 w 242"/>
              <a:gd name="T15" fmla="*/ 128 h 216"/>
              <a:gd name="T16" fmla="*/ 75 w 242"/>
              <a:gd name="T17" fmla="*/ 128 h 216"/>
              <a:gd name="T18" fmla="*/ 66 w 242"/>
              <a:gd name="T19" fmla="*/ 115 h 216"/>
              <a:gd name="T20" fmla="*/ 7 w 242"/>
              <a:gd name="T21" fmla="*/ 34 h 216"/>
              <a:gd name="T22" fmla="*/ 11 w 242"/>
              <a:gd name="T23" fmla="*/ 7 h 216"/>
              <a:gd name="T24" fmla="*/ 38 w 242"/>
              <a:gd name="T25" fmla="*/ 11 h 216"/>
              <a:gd name="T26" fmla="*/ 62 w 242"/>
              <a:gd name="T27" fmla="*/ 45 h 216"/>
              <a:gd name="T28" fmla="*/ 65 w 242"/>
              <a:gd name="T29" fmla="*/ 48 h 216"/>
              <a:gd name="T30" fmla="*/ 78 w 242"/>
              <a:gd name="T31" fmla="*/ 29 h 216"/>
              <a:gd name="T32" fmla="*/ 100 w 242"/>
              <a:gd name="T33" fmla="*/ 31 h 216"/>
              <a:gd name="T34" fmla="*/ 107 w 242"/>
              <a:gd name="T35" fmla="*/ 22 h 216"/>
              <a:gd name="T36" fmla="*/ 131 w 242"/>
              <a:gd name="T37" fmla="*/ 15 h 216"/>
              <a:gd name="T38" fmla="*/ 141 w 242"/>
              <a:gd name="T39" fmla="*/ 13 h 216"/>
              <a:gd name="T40" fmla="*/ 180 w 242"/>
              <a:gd name="T41" fmla="*/ 17 h 216"/>
              <a:gd name="T42" fmla="*/ 205 w 242"/>
              <a:gd name="T43" fmla="*/ 54 h 216"/>
              <a:gd name="T44" fmla="*/ 220 w 242"/>
              <a:gd name="T45" fmla="*/ 79 h 216"/>
              <a:gd name="T46" fmla="*/ 231 w 242"/>
              <a:gd name="T47" fmla="*/ 113 h 216"/>
              <a:gd name="T48" fmla="*/ 242 w 242"/>
              <a:gd name="T49" fmla="*/ 152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42" h="216">
                <a:moveTo>
                  <a:pt x="242" y="152"/>
                </a:moveTo>
                <a:cubicBezTo>
                  <a:pt x="212" y="173"/>
                  <a:pt x="181" y="195"/>
                  <a:pt x="151" y="216"/>
                </a:cubicBezTo>
                <a:cubicBezTo>
                  <a:pt x="136" y="207"/>
                  <a:pt x="122" y="197"/>
                  <a:pt x="107" y="188"/>
                </a:cubicBezTo>
                <a:cubicBezTo>
                  <a:pt x="90" y="177"/>
                  <a:pt x="70" y="170"/>
                  <a:pt x="51" y="163"/>
                </a:cubicBezTo>
                <a:cubicBezTo>
                  <a:pt x="42" y="160"/>
                  <a:pt x="33" y="157"/>
                  <a:pt x="26" y="150"/>
                </a:cubicBezTo>
                <a:cubicBezTo>
                  <a:pt x="23" y="147"/>
                  <a:pt x="20" y="143"/>
                  <a:pt x="22" y="137"/>
                </a:cubicBezTo>
                <a:cubicBezTo>
                  <a:pt x="24" y="132"/>
                  <a:pt x="29" y="129"/>
                  <a:pt x="34" y="129"/>
                </a:cubicBezTo>
                <a:cubicBezTo>
                  <a:pt x="47" y="128"/>
                  <a:pt x="59" y="128"/>
                  <a:pt x="71" y="128"/>
                </a:cubicBezTo>
                <a:cubicBezTo>
                  <a:pt x="72" y="128"/>
                  <a:pt x="73" y="128"/>
                  <a:pt x="75" y="128"/>
                </a:cubicBezTo>
                <a:cubicBezTo>
                  <a:pt x="72" y="123"/>
                  <a:pt x="69" y="119"/>
                  <a:pt x="66" y="115"/>
                </a:cubicBezTo>
                <a:cubicBezTo>
                  <a:pt x="47" y="88"/>
                  <a:pt x="27" y="61"/>
                  <a:pt x="7" y="34"/>
                </a:cubicBezTo>
                <a:cubicBezTo>
                  <a:pt x="0" y="24"/>
                  <a:pt x="2" y="14"/>
                  <a:pt x="11" y="7"/>
                </a:cubicBezTo>
                <a:cubicBezTo>
                  <a:pt x="20" y="0"/>
                  <a:pt x="32" y="2"/>
                  <a:pt x="38" y="11"/>
                </a:cubicBezTo>
                <a:cubicBezTo>
                  <a:pt x="46" y="22"/>
                  <a:pt x="54" y="34"/>
                  <a:pt x="62" y="45"/>
                </a:cubicBezTo>
                <a:cubicBezTo>
                  <a:pt x="63" y="46"/>
                  <a:pt x="64" y="46"/>
                  <a:pt x="65" y="48"/>
                </a:cubicBezTo>
                <a:cubicBezTo>
                  <a:pt x="67" y="40"/>
                  <a:pt x="71" y="33"/>
                  <a:pt x="78" y="29"/>
                </a:cubicBezTo>
                <a:cubicBezTo>
                  <a:pt x="86" y="25"/>
                  <a:pt x="93" y="26"/>
                  <a:pt x="100" y="31"/>
                </a:cubicBezTo>
                <a:cubicBezTo>
                  <a:pt x="102" y="27"/>
                  <a:pt x="104" y="24"/>
                  <a:pt x="107" y="22"/>
                </a:cubicBezTo>
                <a:cubicBezTo>
                  <a:pt x="114" y="15"/>
                  <a:pt x="122" y="12"/>
                  <a:pt x="131" y="15"/>
                </a:cubicBezTo>
                <a:cubicBezTo>
                  <a:pt x="135" y="16"/>
                  <a:pt x="138" y="16"/>
                  <a:pt x="141" y="13"/>
                </a:cubicBezTo>
                <a:cubicBezTo>
                  <a:pt x="155" y="2"/>
                  <a:pt x="170" y="2"/>
                  <a:pt x="180" y="17"/>
                </a:cubicBezTo>
                <a:cubicBezTo>
                  <a:pt x="189" y="29"/>
                  <a:pt x="197" y="42"/>
                  <a:pt x="205" y="54"/>
                </a:cubicBezTo>
                <a:cubicBezTo>
                  <a:pt x="211" y="62"/>
                  <a:pt x="216" y="70"/>
                  <a:pt x="220" y="79"/>
                </a:cubicBezTo>
                <a:cubicBezTo>
                  <a:pt x="225" y="90"/>
                  <a:pt x="227" y="102"/>
                  <a:pt x="231" y="113"/>
                </a:cubicBezTo>
                <a:cubicBezTo>
                  <a:pt x="235" y="125"/>
                  <a:pt x="238" y="138"/>
                  <a:pt x="242" y="15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C1DB29D-85A8-40C6-8CD5-457F0814A149}"/>
              </a:ext>
            </a:extLst>
          </p:cNvPr>
          <p:cNvSpPr/>
          <p:nvPr/>
        </p:nvSpPr>
        <p:spPr>
          <a:xfrm>
            <a:off x="5292227" y="2854547"/>
            <a:ext cx="506366" cy="50636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/>
              </a:rPr>
              <a:t>7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7323302-5132-4F79-A7F6-4938924FF5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462660" y="2946147"/>
            <a:ext cx="751079" cy="669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713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1" grpId="0"/>
      <p:bldP spid="12" grpId="0" animBg="1"/>
      <p:bldP spid="12" grpId="1" animBg="1"/>
      <p:bldP spid="1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8222F4B2-2C7F-4CCA-834E-9AF13C1D84B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0702" y="1553762"/>
            <a:ext cx="5200637" cy="4414951"/>
            <a:chOff x="507" y="1182"/>
            <a:chExt cx="3091" cy="2558"/>
          </a:xfrm>
        </p:grpSpPr>
        <p:sp>
          <p:nvSpPr>
            <p:cNvPr id="43" name="AutoShape 3">
              <a:extLst>
                <a:ext uri="{FF2B5EF4-FFF2-40B4-BE49-F238E27FC236}">
                  <a16:creationId xmlns:a16="http://schemas.microsoft.com/office/drawing/2014/main" id="{FE124838-EA0B-406D-A439-A6848A9ABDF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7" y="1183"/>
              <a:ext cx="3044" cy="2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0888" tIns="45444" rIns="90888" bIns="454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086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66489610-1F45-4736-893B-97A9CF21E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" y="3289"/>
              <a:ext cx="669" cy="364"/>
            </a:xfrm>
            <a:custGeom>
              <a:avLst/>
              <a:gdLst>
                <a:gd name="T0" fmla="*/ 659 w 659"/>
                <a:gd name="T1" fmla="*/ 364 h 364"/>
                <a:gd name="T2" fmla="*/ 0 w 659"/>
                <a:gd name="T3" fmla="*/ 364 h 364"/>
                <a:gd name="T4" fmla="*/ 51 w 659"/>
                <a:gd name="T5" fmla="*/ 0 h 364"/>
                <a:gd name="T6" fmla="*/ 612 w 659"/>
                <a:gd name="T7" fmla="*/ 0 h 364"/>
                <a:gd name="T8" fmla="*/ 659 w 659"/>
                <a:gd name="T9" fmla="*/ 36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9" h="364">
                  <a:moveTo>
                    <a:pt x="659" y="364"/>
                  </a:moveTo>
                  <a:lnTo>
                    <a:pt x="0" y="364"/>
                  </a:lnTo>
                  <a:lnTo>
                    <a:pt x="51" y="0"/>
                  </a:lnTo>
                  <a:lnTo>
                    <a:pt x="612" y="0"/>
                  </a:lnTo>
                  <a:lnTo>
                    <a:pt x="659" y="36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0888" tIns="45444" rIns="90888" bIns="454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086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115D2031-F13D-4B4B-A34B-A2512C1D1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2" y="3645"/>
              <a:ext cx="765" cy="94"/>
            </a:xfrm>
            <a:custGeom>
              <a:avLst/>
              <a:gdLst>
                <a:gd name="T0" fmla="*/ 758 w 772"/>
                <a:gd name="T1" fmla="*/ 96 h 96"/>
                <a:gd name="T2" fmla="*/ 12 w 772"/>
                <a:gd name="T3" fmla="*/ 96 h 96"/>
                <a:gd name="T4" fmla="*/ 0 w 772"/>
                <a:gd name="T5" fmla="*/ 84 h 96"/>
                <a:gd name="T6" fmla="*/ 2 w 772"/>
                <a:gd name="T7" fmla="*/ 78 h 96"/>
                <a:gd name="T8" fmla="*/ 48 w 772"/>
                <a:gd name="T9" fmla="*/ 5 h 96"/>
                <a:gd name="T10" fmla="*/ 58 w 772"/>
                <a:gd name="T11" fmla="*/ 0 h 96"/>
                <a:gd name="T12" fmla="*/ 715 w 772"/>
                <a:gd name="T13" fmla="*/ 0 h 96"/>
                <a:gd name="T14" fmla="*/ 725 w 772"/>
                <a:gd name="T15" fmla="*/ 6 h 96"/>
                <a:gd name="T16" fmla="*/ 768 w 772"/>
                <a:gd name="T17" fmla="*/ 78 h 96"/>
                <a:gd name="T18" fmla="*/ 764 w 772"/>
                <a:gd name="T19" fmla="*/ 95 h 96"/>
                <a:gd name="T20" fmla="*/ 758 w 772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2" h="96">
                  <a:moveTo>
                    <a:pt x="758" y="96"/>
                  </a:moveTo>
                  <a:cubicBezTo>
                    <a:pt x="12" y="96"/>
                    <a:pt x="12" y="96"/>
                    <a:pt x="12" y="96"/>
                  </a:cubicBezTo>
                  <a:cubicBezTo>
                    <a:pt x="5" y="96"/>
                    <a:pt x="0" y="91"/>
                    <a:pt x="0" y="84"/>
                  </a:cubicBezTo>
                  <a:cubicBezTo>
                    <a:pt x="0" y="82"/>
                    <a:pt x="0" y="80"/>
                    <a:pt x="2" y="78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50" y="2"/>
                    <a:pt x="54" y="0"/>
                    <a:pt x="58" y="0"/>
                  </a:cubicBezTo>
                  <a:cubicBezTo>
                    <a:pt x="715" y="0"/>
                    <a:pt x="715" y="0"/>
                    <a:pt x="715" y="0"/>
                  </a:cubicBezTo>
                  <a:cubicBezTo>
                    <a:pt x="719" y="0"/>
                    <a:pt x="723" y="2"/>
                    <a:pt x="725" y="6"/>
                  </a:cubicBezTo>
                  <a:cubicBezTo>
                    <a:pt x="768" y="78"/>
                    <a:pt x="768" y="78"/>
                    <a:pt x="768" y="78"/>
                  </a:cubicBezTo>
                  <a:cubicBezTo>
                    <a:pt x="772" y="84"/>
                    <a:pt x="770" y="91"/>
                    <a:pt x="764" y="95"/>
                  </a:cubicBezTo>
                  <a:cubicBezTo>
                    <a:pt x="762" y="96"/>
                    <a:pt x="760" y="96"/>
                    <a:pt x="758" y="9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0888" tIns="45444" rIns="90888" bIns="454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086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4ADEE0BA-A45F-4FF5-940F-966BD2F6A8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" y="3067"/>
              <a:ext cx="3090" cy="240"/>
            </a:xfrm>
            <a:custGeom>
              <a:avLst/>
              <a:gdLst>
                <a:gd name="T0" fmla="*/ 3061 w 3114"/>
                <a:gd name="T1" fmla="*/ 246 h 246"/>
                <a:gd name="T2" fmla="*/ 56 w 3114"/>
                <a:gd name="T3" fmla="*/ 246 h 246"/>
                <a:gd name="T4" fmla="*/ 0 w 3114"/>
                <a:gd name="T5" fmla="*/ 190 h 246"/>
                <a:gd name="T6" fmla="*/ 0 w 3114"/>
                <a:gd name="T7" fmla="*/ 0 h 246"/>
                <a:gd name="T8" fmla="*/ 3114 w 3114"/>
                <a:gd name="T9" fmla="*/ 0 h 246"/>
                <a:gd name="T10" fmla="*/ 3114 w 3114"/>
                <a:gd name="T11" fmla="*/ 190 h 246"/>
                <a:gd name="T12" fmla="*/ 3061 w 3114"/>
                <a:gd name="T13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14" h="246">
                  <a:moveTo>
                    <a:pt x="3061" y="246"/>
                  </a:moveTo>
                  <a:cubicBezTo>
                    <a:pt x="56" y="246"/>
                    <a:pt x="56" y="246"/>
                    <a:pt x="56" y="246"/>
                  </a:cubicBezTo>
                  <a:cubicBezTo>
                    <a:pt x="25" y="246"/>
                    <a:pt x="0" y="221"/>
                    <a:pt x="0" y="190"/>
                  </a:cubicBezTo>
                  <a:cubicBezTo>
                    <a:pt x="0" y="190"/>
                    <a:pt x="0" y="6"/>
                    <a:pt x="0" y="0"/>
                  </a:cubicBezTo>
                  <a:cubicBezTo>
                    <a:pt x="3114" y="0"/>
                    <a:pt x="3114" y="0"/>
                    <a:pt x="3114" y="0"/>
                  </a:cubicBezTo>
                  <a:cubicBezTo>
                    <a:pt x="3114" y="3"/>
                    <a:pt x="3114" y="190"/>
                    <a:pt x="3114" y="190"/>
                  </a:cubicBezTo>
                  <a:cubicBezTo>
                    <a:pt x="3114" y="221"/>
                    <a:pt x="3092" y="246"/>
                    <a:pt x="3061" y="24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0888" tIns="45444" rIns="90888" bIns="454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086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Oval 10">
              <a:extLst>
                <a:ext uri="{FF2B5EF4-FFF2-40B4-BE49-F238E27FC236}">
                  <a16:creationId xmlns:a16="http://schemas.microsoft.com/office/drawing/2014/main" id="{9E20B46D-85CB-4E9F-A980-7AF8BD249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3" y="3140"/>
              <a:ext cx="94" cy="9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0888" tIns="45444" rIns="90888" bIns="454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086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Oval 11">
              <a:extLst>
                <a:ext uri="{FF2B5EF4-FFF2-40B4-BE49-F238E27FC236}">
                  <a16:creationId xmlns:a16="http://schemas.microsoft.com/office/drawing/2014/main" id="{15DB4A61-4002-4CDE-A6F2-B178FA328C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1" y="1243"/>
              <a:ext cx="38" cy="37"/>
            </a:xfrm>
            <a:prstGeom prst="ellipse">
              <a:avLst/>
            </a:prstGeom>
            <a:solidFill>
              <a:srgbClr val="626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0888" tIns="45444" rIns="90888" bIns="454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086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AE7747C3-1B29-4430-B52E-456B8B892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" y="1182"/>
              <a:ext cx="3090" cy="1885"/>
            </a:xfrm>
            <a:custGeom>
              <a:avLst/>
              <a:gdLst>
                <a:gd name="T0" fmla="*/ 3056 w 3114"/>
                <a:gd name="T1" fmla="*/ 0 h 1928"/>
                <a:gd name="T2" fmla="*/ 56 w 3114"/>
                <a:gd name="T3" fmla="*/ 0 h 1928"/>
                <a:gd name="T4" fmla="*/ 0 w 3114"/>
                <a:gd name="T5" fmla="*/ 56 h 1928"/>
                <a:gd name="T6" fmla="*/ 0 w 3114"/>
                <a:gd name="T7" fmla="*/ 1928 h 1928"/>
                <a:gd name="T8" fmla="*/ 3114 w 3114"/>
                <a:gd name="T9" fmla="*/ 1928 h 1928"/>
                <a:gd name="T10" fmla="*/ 3112 w 3114"/>
                <a:gd name="T11" fmla="*/ 56 h 1928"/>
                <a:gd name="T12" fmla="*/ 3056 w 3114"/>
                <a:gd name="T13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14" h="1928">
                  <a:moveTo>
                    <a:pt x="3056" y="0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25" y="0"/>
                    <a:pt x="0" y="26"/>
                    <a:pt x="0" y="56"/>
                  </a:cubicBezTo>
                  <a:cubicBezTo>
                    <a:pt x="0" y="56"/>
                    <a:pt x="0" y="1910"/>
                    <a:pt x="0" y="1928"/>
                  </a:cubicBezTo>
                  <a:cubicBezTo>
                    <a:pt x="3114" y="1928"/>
                    <a:pt x="3114" y="1928"/>
                    <a:pt x="3114" y="1928"/>
                  </a:cubicBezTo>
                  <a:cubicBezTo>
                    <a:pt x="3114" y="1896"/>
                    <a:pt x="3112" y="56"/>
                    <a:pt x="3112" y="56"/>
                  </a:cubicBezTo>
                  <a:cubicBezTo>
                    <a:pt x="3112" y="26"/>
                    <a:pt x="3087" y="0"/>
                    <a:pt x="3056" y="0"/>
                  </a:cubicBezTo>
                  <a:close/>
                </a:path>
              </a:pathLst>
            </a:custGeom>
            <a:solidFill>
              <a:sysClr val="windowText" lastClr="000000">
                <a:lumMod val="65000"/>
                <a:lumOff val="35000"/>
              </a:sys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0888" tIns="45444" rIns="90888" bIns="454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086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A414E49-3453-4156-8249-43274DB6C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04166"/>
            <a:ext cx="10515600" cy="828243"/>
          </a:xfrm>
        </p:spPr>
        <p:txBody>
          <a:bodyPr>
            <a:normAutofit/>
          </a:bodyPr>
          <a:lstStyle/>
          <a:p>
            <a:pPr algn="ctr"/>
            <a:r>
              <a:rPr lang="en-IN" sz="4000" dirty="0">
                <a:ln w="0"/>
                <a:gradFill>
                  <a:gsLst>
                    <a:gs pos="21000">
                      <a:srgbClr val="00B0F0"/>
                    </a:gs>
                    <a:gs pos="88000">
                      <a:schemeClr val="tx2">
                        <a:lumMod val="50000"/>
                      </a:schemeClr>
                    </a:gs>
                  </a:gsLst>
                  <a:lin ang="540000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Web Interface</a:t>
            </a:r>
            <a:endParaRPr lang="en-GB" sz="40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A7D5FD7-9333-44FC-B323-32B23C9167CE}"/>
              </a:ext>
            </a:extLst>
          </p:cNvPr>
          <p:cNvSpPr/>
          <p:nvPr/>
        </p:nvSpPr>
        <p:spPr>
          <a:xfrm>
            <a:off x="585515" y="1942533"/>
            <a:ext cx="4800468" cy="233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tx1"/>
                </a:solidFill>
              </a:rPr>
              <a:t>https://wytedge.tech</a:t>
            </a:r>
            <a:endParaRPr lang="en-GB" sz="700" dirty="0">
              <a:solidFill>
                <a:schemeClr val="tx1"/>
              </a:solidFill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3CC18B6C-5945-4A9A-AEED-FA4003C55961}"/>
              </a:ext>
            </a:extLst>
          </p:cNvPr>
          <p:cNvGrpSpPr/>
          <p:nvPr/>
        </p:nvGrpSpPr>
        <p:grpSpPr>
          <a:xfrm>
            <a:off x="583832" y="1704206"/>
            <a:ext cx="1278318" cy="233565"/>
            <a:chOff x="583832" y="1704206"/>
            <a:chExt cx="1278318" cy="233565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7C002F57-5CC6-4F58-8E07-58BD88B92A00}"/>
                </a:ext>
              </a:extLst>
            </p:cNvPr>
            <p:cNvGrpSpPr/>
            <p:nvPr/>
          </p:nvGrpSpPr>
          <p:grpSpPr>
            <a:xfrm>
              <a:off x="583832" y="1704206"/>
              <a:ext cx="1278318" cy="233565"/>
              <a:chOff x="583832" y="1704206"/>
              <a:chExt cx="1278318" cy="233565"/>
            </a:xfrm>
          </p:grpSpPr>
          <p:sp>
            <p:nvSpPr>
              <p:cNvPr id="22" name="Rectangle: Top Corners Rounded 21">
                <a:extLst>
                  <a:ext uri="{FF2B5EF4-FFF2-40B4-BE49-F238E27FC236}">
                    <a16:creationId xmlns:a16="http://schemas.microsoft.com/office/drawing/2014/main" id="{45EE9403-E82E-4D8F-A56F-AE9250354DB5}"/>
                  </a:ext>
                </a:extLst>
              </p:cNvPr>
              <p:cNvSpPr/>
              <p:nvPr/>
            </p:nvSpPr>
            <p:spPr>
              <a:xfrm>
                <a:off x="583832" y="1704206"/>
                <a:ext cx="1278318" cy="233565"/>
              </a:xfrm>
              <a:prstGeom prst="snip2SameRect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900" dirty="0">
                    <a:solidFill>
                      <a:schemeClr val="tx1"/>
                    </a:solidFill>
                  </a:rPr>
                  <a:t>       </a:t>
                </a:r>
                <a:r>
                  <a:rPr lang="en-US" sz="900" dirty="0" err="1">
                    <a:solidFill>
                      <a:schemeClr val="tx1"/>
                    </a:solidFill>
                  </a:rPr>
                  <a:t>WYTEdge|Home</a:t>
                </a:r>
                <a:endParaRPr lang="en-GB" sz="9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B0A17968-2AE3-4EDC-94D7-3922C4AB665F}"/>
                  </a:ext>
                </a:extLst>
              </p:cNvPr>
              <p:cNvGrpSpPr/>
              <p:nvPr/>
            </p:nvGrpSpPr>
            <p:grpSpPr>
              <a:xfrm flipH="1">
                <a:off x="1764751" y="1728687"/>
                <a:ext cx="50279" cy="45725"/>
                <a:chOff x="2953966" y="1184754"/>
                <a:chExt cx="68591" cy="79181"/>
              </a:xfrm>
              <a:solidFill>
                <a:schemeClr val="bg1"/>
              </a:solidFill>
            </p:grpSpPr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CB7E0B7D-54D1-43C0-8BE1-310E3877621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953977" y="1184754"/>
                  <a:ext cx="68580" cy="79170"/>
                </a:xfrm>
                <a:prstGeom prst="line">
                  <a:avLst/>
                </a:prstGeom>
                <a:grpFill/>
                <a:ln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282A3D50-240D-4C75-ADEE-75FBE98199C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53966" y="1184763"/>
                  <a:ext cx="68582" cy="79172"/>
                </a:xfrm>
                <a:prstGeom prst="line">
                  <a:avLst/>
                </a:prstGeom>
                <a:grpFill/>
                <a:ln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6944C000-EB7E-401C-A4B5-CB4E83E982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25000"/>
                      </a14:imgEffect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7307"/>
            <a:stretch/>
          </p:blipFill>
          <p:spPr>
            <a:xfrm>
              <a:off x="630027" y="1744943"/>
              <a:ext cx="193152" cy="157028"/>
            </a:xfrm>
            <a:prstGeom prst="rect">
              <a:avLst/>
            </a:prstGeom>
            <a:solidFill>
              <a:schemeClr val="bg1"/>
            </a:solidFill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AD2A2997-B0EB-4730-8057-6CA0C3CACA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832" y="2160072"/>
            <a:ext cx="4800468" cy="2356575"/>
          </a:xfrm>
          <a:prstGeom prst="rect">
            <a:avLst/>
          </a:prstGeom>
        </p:spPr>
      </p:pic>
      <p:sp>
        <p:nvSpPr>
          <p:cNvPr id="59" name="Block Arc 25">
            <a:extLst>
              <a:ext uri="{FF2B5EF4-FFF2-40B4-BE49-F238E27FC236}">
                <a16:creationId xmlns:a16="http://schemas.microsoft.com/office/drawing/2014/main" id="{CB3EF7E6-AF5B-41DB-AB9E-DAEB2BA81503}"/>
              </a:ext>
            </a:extLst>
          </p:cNvPr>
          <p:cNvSpPr/>
          <p:nvPr/>
        </p:nvSpPr>
        <p:spPr>
          <a:xfrm>
            <a:off x="6230214" y="2814187"/>
            <a:ext cx="349473" cy="504884"/>
          </a:xfrm>
          <a:custGeom>
            <a:avLst/>
            <a:gdLst/>
            <a:ahLst/>
            <a:cxnLst/>
            <a:rect l="l" t="t" r="r" b="b"/>
            <a:pathLst>
              <a:path w="2215656" h="3200962">
                <a:moveTo>
                  <a:pt x="1107829" y="2097026"/>
                </a:moveTo>
                <a:cubicBezTo>
                  <a:pt x="1025315" y="2097026"/>
                  <a:pt x="958423" y="2163918"/>
                  <a:pt x="958423" y="2246432"/>
                </a:cubicBezTo>
                <a:cubicBezTo>
                  <a:pt x="958423" y="2302715"/>
                  <a:pt x="989546" y="2351730"/>
                  <a:pt x="1036590" y="2375275"/>
                </a:cubicBezTo>
                <a:lnTo>
                  <a:pt x="985422" y="2684898"/>
                </a:lnTo>
                <a:lnTo>
                  <a:pt x="1230236" y="2684898"/>
                </a:lnTo>
                <a:lnTo>
                  <a:pt x="1179068" y="2375275"/>
                </a:lnTo>
                <a:cubicBezTo>
                  <a:pt x="1226112" y="2351730"/>
                  <a:pt x="1257234" y="2302715"/>
                  <a:pt x="1257234" y="2246432"/>
                </a:cubicBezTo>
                <a:cubicBezTo>
                  <a:pt x="1257234" y="2163918"/>
                  <a:pt x="1190343" y="2097026"/>
                  <a:pt x="1107829" y="2097026"/>
                </a:cubicBezTo>
                <a:close/>
                <a:moveTo>
                  <a:pt x="1102513" y="266871"/>
                </a:moveTo>
                <a:cubicBezTo>
                  <a:pt x="874876" y="269781"/>
                  <a:pt x="691868" y="455143"/>
                  <a:pt x="691868" y="682798"/>
                </a:cubicBezTo>
                <a:lnTo>
                  <a:pt x="690469" y="682798"/>
                </a:lnTo>
                <a:lnTo>
                  <a:pt x="690469" y="1580962"/>
                </a:lnTo>
                <a:lnTo>
                  <a:pt x="1525188" y="1580962"/>
                </a:lnTo>
                <a:lnTo>
                  <a:pt x="1525188" y="672127"/>
                </a:lnTo>
                <a:lnTo>
                  <a:pt x="1523654" y="672166"/>
                </a:lnTo>
                <a:cubicBezTo>
                  <a:pt x="1517835" y="444585"/>
                  <a:pt x="1330149" y="263961"/>
                  <a:pt x="1102513" y="266871"/>
                </a:cubicBezTo>
                <a:close/>
                <a:moveTo>
                  <a:pt x="1099102" y="56"/>
                </a:moveTo>
                <a:cubicBezTo>
                  <a:pt x="1472767" y="-4720"/>
                  <a:pt x="1780852" y="291773"/>
                  <a:pt x="1790404" y="665346"/>
                </a:cubicBezTo>
                <a:lnTo>
                  <a:pt x="1742843" y="666562"/>
                </a:lnTo>
                <a:lnTo>
                  <a:pt x="1790627" y="666562"/>
                </a:lnTo>
                <a:lnTo>
                  <a:pt x="1790627" y="1580962"/>
                </a:lnTo>
                <a:lnTo>
                  <a:pt x="2041344" y="1580962"/>
                </a:lnTo>
                <a:cubicBezTo>
                  <a:pt x="2137614" y="1580962"/>
                  <a:pt x="2215656" y="1659004"/>
                  <a:pt x="2215656" y="1755274"/>
                </a:cubicBezTo>
                <a:lnTo>
                  <a:pt x="2215656" y="3026650"/>
                </a:lnTo>
                <a:cubicBezTo>
                  <a:pt x="2215656" y="3122920"/>
                  <a:pt x="2137614" y="3200962"/>
                  <a:pt x="2041344" y="3200962"/>
                </a:cubicBezTo>
                <a:lnTo>
                  <a:pt x="174312" y="3200962"/>
                </a:lnTo>
                <a:cubicBezTo>
                  <a:pt x="78042" y="3200962"/>
                  <a:pt x="0" y="3122920"/>
                  <a:pt x="0" y="3026650"/>
                </a:cubicBezTo>
                <a:lnTo>
                  <a:pt x="0" y="1755274"/>
                </a:lnTo>
                <a:cubicBezTo>
                  <a:pt x="0" y="1659004"/>
                  <a:pt x="78042" y="1580962"/>
                  <a:pt x="174312" y="1580962"/>
                </a:cubicBezTo>
                <a:lnTo>
                  <a:pt x="425030" y="1580962"/>
                </a:lnTo>
                <a:lnTo>
                  <a:pt x="425030" y="676764"/>
                </a:lnTo>
                <a:lnTo>
                  <a:pt x="425634" y="676764"/>
                </a:lnTo>
                <a:cubicBezTo>
                  <a:pt x="428273" y="305830"/>
                  <a:pt x="727452" y="4806"/>
                  <a:pt x="1099102" y="56"/>
                </a:cubicBezTo>
                <a:close/>
              </a:path>
            </a:pathLst>
          </a:cu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DBE90460-CF18-4C77-B839-230804C4BF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700" y="2176098"/>
            <a:ext cx="4800600" cy="2334627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954A87A9-5D43-4BA6-91E9-5DCDE0D6EB51}"/>
              </a:ext>
            </a:extLst>
          </p:cNvPr>
          <p:cNvGrpSpPr/>
          <p:nvPr/>
        </p:nvGrpSpPr>
        <p:grpSpPr>
          <a:xfrm>
            <a:off x="582149" y="1704205"/>
            <a:ext cx="1278318" cy="233565"/>
            <a:chOff x="583832" y="1704206"/>
            <a:chExt cx="1278318" cy="233565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4CF39E82-1081-4C49-A968-245283B27F7A}"/>
                </a:ext>
              </a:extLst>
            </p:cNvPr>
            <p:cNvGrpSpPr/>
            <p:nvPr/>
          </p:nvGrpSpPr>
          <p:grpSpPr>
            <a:xfrm>
              <a:off x="583832" y="1704206"/>
              <a:ext cx="1278318" cy="233565"/>
              <a:chOff x="583832" y="1704206"/>
              <a:chExt cx="1278318" cy="233565"/>
            </a:xfrm>
          </p:grpSpPr>
          <p:sp>
            <p:nvSpPr>
              <p:cNvPr id="68" name="Rectangle: Top Corners Rounded 21">
                <a:extLst>
                  <a:ext uri="{FF2B5EF4-FFF2-40B4-BE49-F238E27FC236}">
                    <a16:creationId xmlns:a16="http://schemas.microsoft.com/office/drawing/2014/main" id="{4B637BCE-3B06-49FE-B67C-CA8EAB5CAE10}"/>
                  </a:ext>
                </a:extLst>
              </p:cNvPr>
              <p:cNvSpPr/>
              <p:nvPr/>
            </p:nvSpPr>
            <p:spPr>
              <a:xfrm>
                <a:off x="583832" y="1704206"/>
                <a:ext cx="1278318" cy="233565"/>
              </a:xfrm>
              <a:prstGeom prst="snip2SameRect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900" dirty="0">
                    <a:solidFill>
                      <a:schemeClr val="tx1"/>
                    </a:solidFill>
                  </a:rPr>
                  <a:t>       </a:t>
                </a:r>
                <a:r>
                  <a:rPr lang="en-US" sz="900" dirty="0" err="1">
                    <a:solidFill>
                      <a:schemeClr val="tx1"/>
                    </a:solidFill>
                  </a:rPr>
                  <a:t>WYTEdge|Login</a:t>
                </a:r>
                <a:endParaRPr lang="en-GB" sz="9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FFFE75DD-DDDB-460D-A9A3-7966E9C46A4C}"/>
                  </a:ext>
                </a:extLst>
              </p:cNvPr>
              <p:cNvGrpSpPr/>
              <p:nvPr/>
            </p:nvGrpSpPr>
            <p:grpSpPr>
              <a:xfrm flipH="1">
                <a:off x="1764751" y="1728687"/>
                <a:ext cx="50279" cy="45725"/>
                <a:chOff x="2953966" y="1184754"/>
                <a:chExt cx="68591" cy="79181"/>
              </a:xfrm>
              <a:solidFill>
                <a:schemeClr val="bg1"/>
              </a:solidFill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90D536CD-365D-45F9-A0A5-8FFBE59669B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953977" y="1184754"/>
                  <a:ext cx="68580" cy="79170"/>
                </a:xfrm>
                <a:prstGeom prst="line">
                  <a:avLst/>
                </a:prstGeom>
                <a:grpFill/>
                <a:ln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360C31B2-008F-4A9F-BFC1-E4CE0285106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53966" y="1184763"/>
                  <a:ext cx="68582" cy="79172"/>
                </a:xfrm>
                <a:prstGeom prst="line">
                  <a:avLst/>
                </a:prstGeom>
                <a:grpFill/>
                <a:ln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8F3FA831-BA34-400C-AB17-0FBEB620A4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25000"/>
                      </a14:imgEffect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7307"/>
            <a:stretch/>
          </p:blipFill>
          <p:spPr>
            <a:xfrm>
              <a:off x="630027" y="1744943"/>
              <a:ext cx="193152" cy="157028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D73D7831-E603-45E8-969A-5366A7960299}"/>
              </a:ext>
            </a:extLst>
          </p:cNvPr>
          <p:cNvSpPr txBox="1"/>
          <p:nvPr/>
        </p:nvSpPr>
        <p:spPr>
          <a:xfrm>
            <a:off x="6717027" y="2881963"/>
            <a:ext cx="31356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cure Login to </a:t>
            </a:r>
            <a:r>
              <a:rPr lang="en-US" dirty="0" err="1"/>
              <a:t>Wytedge</a:t>
            </a:r>
            <a:r>
              <a:rPr lang="en-US" dirty="0"/>
              <a:t> Panel</a:t>
            </a:r>
            <a:endParaRPr lang="en-GB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E4EC3E5-7554-4FC4-9E46-E0C55CDB10BA}"/>
              </a:ext>
            </a:extLst>
          </p:cNvPr>
          <p:cNvSpPr txBox="1"/>
          <p:nvPr/>
        </p:nvSpPr>
        <p:spPr>
          <a:xfrm>
            <a:off x="6903006" y="3314969"/>
            <a:ext cx="43937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fferent interfaces for technici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fferent Access Rights for different users </a:t>
            </a:r>
            <a:endParaRPr lang="en-GB" dirty="0"/>
          </a:p>
        </p:txBody>
      </p:sp>
      <p:sp>
        <p:nvSpPr>
          <p:cNvPr id="77" name="Parallelogram 30">
            <a:extLst>
              <a:ext uri="{FF2B5EF4-FFF2-40B4-BE49-F238E27FC236}">
                <a16:creationId xmlns:a16="http://schemas.microsoft.com/office/drawing/2014/main" id="{B69E3DD6-7679-4D6D-B16A-2D205F9163D3}"/>
              </a:ext>
            </a:extLst>
          </p:cNvPr>
          <p:cNvSpPr/>
          <p:nvPr/>
        </p:nvSpPr>
        <p:spPr>
          <a:xfrm flipH="1">
            <a:off x="6215753" y="4231549"/>
            <a:ext cx="392853" cy="504884"/>
          </a:xfrm>
          <a:custGeom>
            <a:avLst/>
            <a:gdLst/>
            <a:ahLst/>
            <a:cxnLst/>
            <a:rect l="l" t="t" r="r" b="b"/>
            <a:pathLst>
              <a:path w="3240000" h="3248012">
                <a:moveTo>
                  <a:pt x="712553" y="858820"/>
                </a:moveTo>
                <a:cubicBezTo>
                  <a:pt x="727950" y="858820"/>
                  <a:pt x="743348" y="864694"/>
                  <a:pt x="755096" y="876443"/>
                </a:cubicBezTo>
                <a:lnTo>
                  <a:pt x="1193671" y="1315016"/>
                </a:lnTo>
                <a:lnTo>
                  <a:pt x="1509169" y="999517"/>
                </a:lnTo>
                <a:cubicBezTo>
                  <a:pt x="1509517" y="999169"/>
                  <a:pt x="1509868" y="998827"/>
                  <a:pt x="1510414" y="998691"/>
                </a:cubicBezTo>
                <a:lnTo>
                  <a:pt x="1518932" y="988592"/>
                </a:lnTo>
                <a:cubicBezTo>
                  <a:pt x="1531945" y="978263"/>
                  <a:pt x="1547912" y="974188"/>
                  <a:pt x="1563209" y="975946"/>
                </a:cubicBezTo>
                <a:cubicBezTo>
                  <a:pt x="1578505" y="977705"/>
                  <a:pt x="1593131" y="985299"/>
                  <a:pt x="1603459" y="998313"/>
                </a:cubicBezTo>
                <a:lnTo>
                  <a:pt x="1892346" y="1362277"/>
                </a:lnTo>
                <a:lnTo>
                  <a:pt x="2149759" y="1177067"/>
                </a:lnTo>
                <a:lnTo>
                  <a:pt x="2151621" y="1174867"/>
                </a:lnTo>
                <a:cubicBezTo>
                  <a:pt x="2159033" y="1169006"/>
                  <a:pt x="2167397" y="1165168"/>
                  <a:pt x="2176160" y="1163802"/>
                </a:cubicBezTo>
                <a:cubicBezTo>
                  <a:pt x="2177188" y="1163485"/>
                  <a:pt x="2178237" y="1163269"/>
                  <a:pt x="2179375" y="1163558"/>
                </a:cubicBezTo>
                <a:cubicBezTo>
                  <a:pt x="2184768" y="1161771"/>
                  <a:pt x="2190389" y="1161654"/>
                  <a:pt x="2195921" y="1162300"/>
                </a:cubicBezTo>
                <a:cubicBezTo>
                  <a:pt x="2196662" y="1162386"/>
                  <a:pt x="2197402" y="1162487"/>
                  <a:pt x="2198081" y="1162987"/>
                </a:cubicBezTo>
                <a:cubicBezTo>
                  <a:pt x="2202197" y="1163290"/>
                  <a:pt x="2206218" y="1164270"/>
                  <a:pt x="2209739" y="1166702"/>
                </a:cubicBezTo>
                <a:cubicBezTo>
                  <a:pt x="2213116" y="1166857"/>
                  <a:pt x="2216051" y="1168231"/>
                  <a:pt x="2218766" y="1170038"/>
                </a:cubicBezTo>
                <a:cubicBezTo>
                  <a:pt x="2225342" y="1173160"/>
                  <a:pt x="2231151" y="1177875"/>
                  <a:pt x="2235489" y="1184194"/>
                </a:cubicBezTo>
                <a:lnTo>
                  <a:pt x="2236132" y="1184737"/>
                </a:lnTo>
                <a:lnTo>
                  <a:pt x="2236287" y="1184934"/>
                </a:lnTo>
                <a:lnTo>
                  <a:pt x="2238712" y="1187183"/>
                </a:lnTo>
                <a:cubicBezTo>
                  <a:pt x="2239115" y="1187744"/>
                  <a:pt x="2239507" y="1188310"/>
                  <a:pt x="2239574" y="1189090"/>
                </a:cubicBezTo>
                <a:lnTo>
                  <a:pt x="2540580" y="1569705"/>
                </a:lnTo>
                <a:cubicBezTo>
                  <a:pt x="2561191" y="1595768"/>
                  <a:pt x="2556772" y="1633604"/>
                  <a:pt x="2530710" y="1654215"/>
                </a:cubicBezTo>
                <a:cubicBezTo>
                  <a:pt x="2504647" y="1674827"/>
                  <a:pt x="2466811" y="1670408"/>
                  <a:pt x="2446199" y="1644345"/>
                </a:cubicBezTo>
                <a:lnTo>
                  <a:pt x="2177884" y="1305067"/>
                </a:lnTo>
                <a:lnTo>
                  <a:pt x="1934804" y="1479967"/>
                </a:lnTo>
                <a:cubicBezTo>
                  <a:pt x="1927367" y="1485317"/>
                  <a:pt x="1919123" y="1488726"/>
                  <a:pt x="1910598" y="1489881"/>
                </a:cubicBezTo>
                <a:cubicBezTo>
                  <a:pt x="1885257" y="1507791"/>
                  <a:pt x="1850121" y="1502627"/>
                  <a:pt x="1830495" y="1477903"/>
                </a:cubicBezTo>
                <a:lnTo>
                  <a:pt x="1551924" y="1126933"/>
                </a:lnTo>
                <a:lnTo>
                  <a:pt x="1239041" y="1439816"/>
                </a:lnTo>
                <a:cubicBezTo>
                  <a:pt x="1226569" y="1452288"/>
                  <a:pt x="1209983" y="1458139"/>
                  <a:pt x="1193674" y="1456888"/>
                </a:cubicBezTo>
                <a:cubicBezTo>
                  <a:pt x="1177363" y="1458142"/>
                  <a:pt x="1160774" y="1452290"/>
                  <a:pt x="1148301" y="1439816"/>
                </a:cubicBezTo>
                <a:lnTo>
                  <a:pt x="670011" y="961527"/>
                </a:lnTo>
                <a:cubicBezTo>
                  <a:pt x="646515" y="938031"/>
                  <a:pt x="646515" y="899938"/>
                  <a:pt x="670011" y="876442"/>
                </a:cubicBezTo>
                <a:cubicBezTo>
                  <a:pt x="681760" y="864694"/>
                  <a:pt x="697157" y="858820"/>
                  <a:pt x="712553" y="858820"/>
                </a:cubicBezTo>
                <a:close/>
                <a:moveTo>
                  <a:pt x="2790000" y="699581"/>
                </a:moveTo>
                <a:lnTo>
                  <a:pt x="450000" y="699581"/>
                </a:lnTo>
                <a:lnTo>
                  <a:pt x="450000" y="1851581"/>
                </a:lnTo>
                <a:lnTo>
                  <a:pt x="2790000" y="1851581"/>
                </a:lnTo>
                <a:close/>
                <a:moveTo>
                  <a:pt x="2987972" y="519497"/>
                </a:moveTo>
                <a:lnTo>
                  <a:pt x="2987972" y="2031665"/>
                </a:lnTo>
                <a:lnTo>
                  <a:pt x="252028" y="2031665"/>
                </a:lnTo>
                <a:lnTo>
                  <a:pt x="252028" y="519497"/>
                </a:lnTo>
                <a:close/>
                <a:moveTo>
                  <a:pt x="1620000" y="0"/>
                </a:moveTo>
                <a:cubicBezTo>
                  <a:pt x="1540462" y="0"/>
                  <a:pt x="1475984" y="64478"/>
                  <a:pt x="1475984" y="144016"/>
                </a:cubicBezTo>
                <a:lnTo>
                  <a:pt x="1475984" y="267469"/>
                </a:lnTo>
                <a:lnTo>
                  <a:pt x="0" y="267469"/>
                </a:lnTo>
                <a:lnTo>
                  <a:pt x="0" y="2283693"/>
                </a:lnTo>
                <a:lnTo>
                  <a:pt x="852101" y="2283693"/>
                </a:lnTo>
                <a:lnTo>
                  <a:pt x="323771" y="3248012"/>
                </a:lnTo>
                <a:lnTo>
                  <a:pt x="621526" y="3248012"/>
                </a:lnTo>
                <a:lnTo>
                  <a:pt x="1149856" y="2283693"/>
                </a:lnTo>
                <a:lnTo>
                  <a:pt x="2090146" y="2283693"/>
                </a:lnTo>
                <a:lnTo>
                  <a:pt x="2618476" y="3248012"/>
                </a:lnTo>
                <a:lnTo>
                  <a:pt x="2916231" y="3248012"/>
                </a:lnTo>
                <a:lnTo>
                  <a:pt x="2387901" y="2283693"/>
                </a:lnTo>
                <a:lnTo>
                  <a:pt x="3240000" y="2283693"/>
                </a:lnTo>
                <a:lnTo>
                  <a:pt x="3240000" y="267469"/>
                </a:lnTo>
                <a:lnTo>
                  <a:pt x="1764016" y="267469"/>
                </a:lnTo>
                <a:lnTo>
                  <a:pt x="1764016" y="144016"/>
                </a:lnTo>
                <a:cubicBezTo>
                  <a:pt x="1764016" y="64478"/>
                  <a:pt x="1699538" y="0"/>
                  <a:pt x="1620000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C7EBD2B-4383-42E3-852F-6850C79074B2}"/>
              </a:ext>
            </a:extLst>
          </p:cNvPr>
          <p:cNvSpPr txBox="1"/>
          <p:nvPr/>
        </p:nvSpPr>
        <p:spPr>
          <a:xfrm>
            <a:off x="6717027" y="4160825"/>
            <a:ext cx="49045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ble view &amp; Graph generator for different time periods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09DBE7-A005-48C5-9665-C44D52F06B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700" y="2170176"/>
            <a:ext cx="4800600" cy="2334626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0FCFFEF7-2D21-4BD1-82EE-3EF0E8E614B8}"/>
              </a:ext>
            </a:extLst>
          </p:cNvPr>
          <p:cNvGrpSpPr/>
          <p:nvPr/>
        </p:nvGrpSpPr>
        <p:grpSpPr>
          <a:xfrm>
            <a:off x="582148" y="1698282"/>
            <a:ext cx="1469765" cy="238329"/>
            <a:chOff x="583832" y="1704206"/>
            <a:chExt cx="1278318" cy="233565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A4120AD0-6456-40A5-9144-F1C33E30C8BC}"/>
                </a:ext>
              </a:extLst>
            </p:cNvPr>
            <p:cNvGrpSpPr/>
            <p:nvPr/>
          </p:nvGrpSpPr>
          <p:grpSpPr>
            <a:xfrm>
              <a:off x="583832" y="1704206"/>
              <a:ext cx="1278318" cy="233565"/>
              <a:chOff x="583832" y="1704206"/>
              <a:chExt cx="1278318" cy="233565"/>
            </a:xfrm>
          </p:grpSpPr>
          <p:sp>
            <p:nvSpPr>
              <p:cNvPr id="40" name="Rectangle: Top Corners Rounded 21">
                <a:extLst>
                  <a:ext uri="{FF2B5EF4-FFF2-40B4-BE49-F238E27FC236}">
                    <a16:creationId xmlns:a16="http://schemas.microsoft.com/office/drawing/2014/main" id="{7701DFC8-2BCF-4325-818E-94E871B22568}"/>
                  </a:ext>
                </a:extLst>
              </p:cNvPr>
              <p:cNvSpPr/>
              <p:nvPr/>
            </p:nvSpPr>
            <p:spPr>
              <a:xfrm>
                <a:off x="583832" y="1704206"/>
                <a:ext cx="1278318" cy="233565"/>
              </a:xfrm>
              <a:prstGeom prst="snip2SameRect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900" dirty="0">
                    <a:solidFill>
                      <a:schemeClr val="tx1"/>
                    </a:solidFill>
                  </a:rPr>
                  <a:t>       </a:t>
                </a:r>
                <a:r>
                  <a:rPr lang="en-US" sz="900" dirty="0" err="1">
                    <a:solidFill>
                      <a:schemeClr val="tx1"/>
                    </a:solidFill>
                  </a:rPr>
                  <a:t>WYTEdge|WYTBoard</a:t>
                </a:r>
                <a:endParaRPr lang="en-GB" sz="9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17C15CB2-666F-4EC3-91D2-40E9D3B79E4B}"/>
                  </a:ext>
                </a:extLst>
              </p:cNvPr>
              <p:cNvGrpSpPr/>
              <p:nvPr/>
            </p:nvGrpSpPr>
            <p:grpSpPr>
              <a:xfrm flipH="1">
                <a:off x="1764751" y="1728687"/>
                <a:ext cx="50279" cy="45725"/>
                <a:chOff x="2953966" y="1184754"/>
                <a:chExt cx="68591" cy="79181"/>
              </a:xfrm>
              <a:solidFill>
                <a:schemeClr val="bg1"/>
              </a:solidFill>
            </p:grpSpPr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D388D406-F4A9-49F4-A7C3-0447B12CB6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953977" y="1184754"/>
                  <a:ext cx="68580" cy="79170"/>
                </a:xfrm>
                <a:prstGeom prst="line">
                  <a:avLst/>
                </a:prstGeom>
                <a:grpFill/>
                <a:ln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Straight Connector 50">
                  <a:extLst>
                    <a:ext uri="{FF2B5EF4-FFF2-40B4-BE49-F238E27FC236}">
                      <a16:creationId xmlns:a16="http://schemas.microsoft.com/office/drawing/2014/main" id="{7CF68B7C-DE4C-4DF8-9E7F-B564FD31876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53966" y="1184763"/>
                  <a:ext cx="68582" cy="79172"/>
                </a:xfrm>
                <a:prstGeom prst="line">
                  <a:avLst/>
                </a:prstGeom>
                <a:grpFill/>
                <a:ln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2B6FCFA8-C40C-42BB-BF82-5FAE2D94EB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25000"/>
                      </a14:imgEffect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7307"/>
            <a:stretch/>
          </p:blipFill>
          <p:spPr>
            <a:xfrm>
              <a:off x="630027" y="1744943"/>
              <a:ext cx="193152" cy="157028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53" name="Block Arc 14">
            <a:extLst>
              <a:ext uri="{FF2B5EF4-FFF2-40B4-BE49-F238E27FC236}">
                <a16:creationId xmlns:a16="http://schemas.microsoft.com/office/drawing/2014/main" id="{B06915F5-B697-4448-8089-15DB04677358}"/>
              </a:ext>
            </a:extLst>
          </p:cNvPr>
          <p:cNvSpPr/>
          <p:nvPr/>
        </p:nvSpPr>
        <p:spPr>
          <a:xfrm rot="16200000">
            <a:off x="6246487" y="2183406"/>
            <a:ext cx="384007" cy="432950"/>
          </a:xfrm>
          <a:custGeom>
            <a:avLst/>
            <a:gdLst/>
            <a:ahLst/>
            <a:cxnLst/>
            <a:rect l="l" t="t" r="r" b="b"/>
            <a:pathLst>
              <a:path w="3185463" h="3187558">
                <a:moveTo>
                  <a:pt x="764000" y="2343999"/>
                </a:moveTo>
                <a:cubicBezTo>
                  <a:pt x="566798" y="2256389"/>
                  <a:pt x="385374" y="2134753"/>
                  <a:pt x="230072" y="1981662"/>
                </a:cubicBezTo>
                <a:cubicBezTo>
                  <a:pt x="297001" y="2223876"/>
                  <a:pt x="428049" y="2439341"/>
                  <a:pt x="603989" y="2608945"/>
                </a:cubicBezTo>
                <a:cubicBezTo>
                  <a:pt x="667739" y="2525681"/>
                  <a:pt x="720588" y="2436567"/>
                  <a:pt x="764000" y="2343999"/>
                </a:cubicBezTo>
                <a:close/>
                <a:moveTo>
                  <a:pt x="783530" y="862903"/>
                </a:moveTo>
                <a:cubicBezTo>
                  <a:pt x="737619" y="760936"/>
                  <a:pt x="681240" y="662513"/>
                  <a:pt x="611676" y="571152"/>
                </a:cubicBezTo>
                <a:cubicBezTo>
                  <a:pt x="419218" y="754019"/>
                  <a:pt x="279227" y="991173"/>
                  <a:pt x="215545" y="1258034"/>
                </a:cubicBezTo>
                <a:cubicBezTo>
                  <a:pt x="378729" y="1090139"/>
                  <a:pt x="571934" y="956907"/>
                  <a:pt x="783530" y="862903"/>
                </a:cubicBezTo>
                <a:close/>
                <a:moveTo>
                  <a:pt x="935657" y="1673146"/>
                </a:moveTo>
                <a:lnTo>
                  <a:pt x="227023" y="1673146"/>
                </a:lnTo>
                <a:cubicBezTo>
                  <a:pt x="393068" y="1882941"/>
                  <a:pt x="605618" y="2045968"/>
                  <a:pt x="844267" y="2153109"/>
                </a:cubicBezTo>
                <a:cubicBezTo>
                  <a:pt x="897907" y="1997390"/>
                  <a:pt x="928862" y="1835739"/>
                  <a:pt x="935657" y="1673146"/>
                </a:cubicBezTo>
                <a:close/>
                <a:moveTo>
                  <a:pt x="935928" y="1493146"/>
                </a:moveTo>
                <a:cubicBezTo>
                  <a:pt x="928922" y="1345638"/>
                  <a:pt x="902278" y="1198995"/>
                  <a:pt x="856775" y="1056956"/>
                </a:cubicBezTo>
                <a:cubicBezTo>
                  <a:pt x="636768" y="1156959"/>
                  <a:pt x="439487" y="1304654"/>
                  <a:pt x="281464" y="1493146"/>
                </a:cubicBezTo>
                <a:close/>
                <a:moveTo>
                  <a:pt x="1469785" y="2515107"/>
                </a:moveTo>
                <a:cubicBezTo>
                  <a:pt x="1283000" y="2508124"/>
                  <a:pt x="1100523" y="2472287"/>
                  <a:pt x="927628" y="2411229"/>
                </a:cubicBezTo>
                <a:cubicBezTo>
                  <a:pt x="876831" y="2520843"/>
                  <a:pt x="814172" y="2626182"/>
                  <a:pt x="738220" y="2724387"/>
                </a:cubicBezTo>
                <a:cubicBezTo>
                  <a:pt x="944637" y="2881665"/>
                  <a:pt x="1196120" y="2982471"/>
                  <a:pt x="1469785" y="3005418"/>
                </a:cubicBezTo>
                <a:close/>
                <a:moveTo>
                  <a:pt x="1469785" y="1673146"/>
                </a:moveTo>
                <a:lnTo>
                  <a:pt x="1112275" y="1673146"/>
                </a:lnTo>
                <a:cubicBezTo>
                  <a:pt x="1105327" y="1858153"/>
                  <a:pt x="1070032" y="2042144"/>
                  <a:pt x="1008001" y="2219039"/>
                </a:cubicBezTo>
                <a:cubicBezTo>
                  <a:pt x="1155519" y="2270408"/>
                  <a:pt x="1310845" y="2300826"/>
                  <a:pt x="1469785" y="2307834"/>
                </a:cubicBezTo>
                <a:close/>
                <a:moveTo>
                  <a:pt x="1469785" y="898989"/>
                </a:moveTo>
                <a:cubicBezTo>
                  <a:pt x="1315103" y="907762"/>
                  <a:pt x="1164166" y="938783"/>
                  <a:pt x="1020939" y="990066"/>
                </a:cubicBezTo>
                <a:cubicBezTo>
                  <a:pt x="1074574" y="1153655"/>
                  <a:pt x="1105461" y="1322925"/>
                  <a:pt x="1112368" y="1493146"/>
                </a:cubicBezTo>
                <a:lnTo>
                  <a:pt x="1469785" y="1493146"/>
                </a:lnTo>
                <a:close/>
                <a:moveTo>
                  <a:pt x="1469785" y="182141"/>
                </a:moveTo>
                <a:cubicBezTo>
                  <a:pt x="1199839" y="204777"/>
                  <a:pt x="951477" y="303168"/>
                  <a:pt x="746615" y="456764"/>
                </a:cubicBezTo>
                <a:cubicBezTo>
                  <a:pt x="828296" y="562801"/>
                  <a:pt x="894225" y="677310"/>
                  <a:pt x="947434" y="796072"/>
                </a:cubicBezTo>
                <a:cubicBezTo>
                  <a:pt x="1113886" y="736067"/>
                  <a:pt x="1289644" y="700323"/>
                  <a:pt x="1469785" y="691530"/>
                </a:cubicBezTo>
                <a:close/>
                <a:moveTo>
                  <a:pt x="2150063" y="992171"/>
                </a:moveTo>
                <a:cubicBezTo>
                  <a:pt x="1990712" y="935501"/>
                  <a:pt x="1822242" y="902595"/>
                  <a:pt x="1649785" y="897224"/>
                </a:cubicBezTo>
                <a:lnTo>
                  <a:pt x="1649785" y="1493146"/>
                </a:lnTo>
                <a:lnTo>
                  <a:pt x="2063712" y="1493146"/>
                </a:lnTo>
                <a:cubicBezTo>
                  <a:pt x="2069089" y="1323887"/>
                  <a:pt x="2098366" y="1155330"/>
                  <a:pt x="2150063" y="992171"/>
                </a:cubicBezTo>
                <a:close/>
                <a:moveTo>
                  <a:pt x="2168848" y="2199110"/>
                </a:moveTo>
                <a:cubicBezTo>
                  <a:pt x="2108555" y="2028681"/>
                  <a:pt x="2073581" y="1851532"/>
                  <a:pt x="2065295" y="1673146"/>
                </a:cubicBezTo>
                <a:lnTo>
                  <a:pt x="1649785" y="1673146"/>
                </a:lnTo>
                <a:lnTo>
                  <a:pt x="1649785" y="2307299"/>
                </a:lnTo>
                <a:cubicBezTo>
                  <a:pt x="1829404" y="2299517"/>
                  <a:pt x="2004315" y="2261965"/>
                  <a:pt x="2168848" y="2199110"/>
                </a:cubicBezTo>
                <a:close/>
                <a:moveTo>
                  <a:pt x="2422394" y="446879"/>
                </a:moveTo>
                <a:cubicBezTo>
                  <a:pt x="2204309" y="287209"/>
                  <a:pt x="1938140" y="189883"/>
                  <a:pt x="1649785" y="178919"/>
                </a:cubicBezTo>
                <a:lnTo>
                  <a:pt x="1649785" y="689876"/>
                </a:lnTo>
                <a:cubicBezTo>
                  <a:pt x="1846998" y="695154"/>
                  <a:pt x="2039668" y="732502"/>
                  <a:pt x="2221721" y="797410"/>
                </a:cubicBezTo>
                <a:cubicBezTo>
                  <a:pt x="2275056" y="675360"/>
                  <a:pt x="2341760" y="557662"/>
                  <a:pt x="2422394" y="446879"/>
                </a:cubicBezTo>
                <a:close/>
                <a:moveTo>
                  <a:pt x="2447278" y="2722123"/>
                </a:moveTo>
                <a:cubicBezTo>
                  <a:pt x="2366121" y="2618714"/>
                  <a:pt x="2299534" y="2507403"/>
                  <a:pt x="2246145" y="2391362"/>
                </a:cubicBezTo>
                <a:cubicBezTo>
                  <a:pt x="2057375" y="2464119"/>
                  <a:pt x="1856285" y="2506958"/>
                  <a:pt x="1649785" y="2514779"/>
                </a:cubicBezTo>
                <a:lnTo>
                  <a:pt x="1649785" y="3008639"/>
                </a:lnTo>
                <a:cubicBezTo>
                  <a:pt x="1949198" y="2997255"/>
                  <a:pt x="2224691" y="2892757"/>
                  <a:pt x="2447278" y="2722123"/>
                </a:cubicBezTo>
                <a:close/>
                <a:moveTo>
                  <a:pt x="2878934" y="1493146"/>
                </a:moveTo>
                <a:cubicBezTo>
                  <a:pt x="2723190" y="1307255"/>
                  <a:pt x="2529440" y="1161128"/>
                  <a:pt x="2313862" y="1060620"/>
                </a:cubicBezTo>
                <a:cubicBezTo>
                  <a:pt x="2270535" y="1201714"/>
                  <a:pt x="2245604" y="1347104"/>
                  <a:pt x="2240109" y="1493146"/>
                </a:cubicBezTo>
                <a:close/>
                <a:moveTo>
                  <a:pt x="2890636" y="1673146"/>
                </a:moveTo>
                <a:lnTo>
                  <a:pt x="2241814" y="1673146"/>
                </a:lnTo>
                <a:cubicBezTo>
                  <a:pt x="2249736" y="1827102"/>
                  <a:pt x="2279520" y="1979973"/>
                  <a:pt x="2329964" y="2127513"/>
                </a:cubicBezTo>
                <a:cubicBezTo>
                  <a:pt x="2545677" y="2019923"/>
                  <a:pt x="2738160" y="1866413"/>
                  <a:pt x="2890636" y="1673146"/>
                </a:cubicBezTo>
                <a:close/>
                <a:moveTo>
                  <a:pt x="2973035" y="1284386"/>
                </a:moveTo>
                <a:cubicBezTo>
                  <a:pt x="2912066" y="1001840"/>
                  <a:pt x="2765308" y="751379"/>
                  <a:pt x="2561381" y="561108"/>
                </a:cubicBezTo>
                <a:cubicBezTo>
                  <a:pt x="2489321" y="656437"/>
                  <a:pt x="2431363" y="759225"/>
                  <a:pt x="2384553" y="865647"/>
                </a:cubicBezTo>
                <a:cubicBezTo>
                  <a:pt x="2604520" y="964977"/>
                  <a:pt x="2804622" y="1106677"/>
                  <a:pt x="2973035" y="1284386"/>
                </a:cubicBezTo>
                <a:close/>
                <a:moveTo>
                  <a:pt x="2974277" y="1897328"/>
                </a:moveTo>
                <a:cubicBezTo>
                  <a:pt x="2812488" y="2073933"/>
                  <a:pt x="2619878" y="2216690"/>
                  <a:pt x="2407486" y="2319665"/>
                </a:cubicBezTo>
                <a:cubicBezTo>
                  <a:pt x="2454169" y="2420503"/>
                  <a:pt x="2511856" y="2517376"/>
                  <a:pt x="2582047" y="2607468"/>
                </a:cubicBezTo>
                <a:cubicBezTo>
                  <a:pt x="2776399" y="2417974"/>
                  <a:pt x="2916061" y="2172750"/>
                  <a:pt x="2974277" y="1897328"/>
                </a:cubicBezTo>
                <a:close/>
                <a:moveTo>
                  <a:pt x="3185463" y="1593779"/>
                </a:moveTo>
                <a:cubicBezTo>
                  <a:pt x="3185463" y="2473999"/>
                  <a:pt x="2471904" y="3187558"/>
                  <a:pt x="1591684" y="3187558"/>
                </a:cubicBezTo>
                <a:cubicBezTo>
                  <a:pt x="738111" y="3187558"/>
                  <a:pt x="41261" y="2516549"/>
                  <a:pt x="1913" y="1673146"/>
                </a:cubicBezTo>
                <a:lnTo>
                  <a:pt x="0" y="1673146"/>
                </a:lnTo>
                <a:lnTo>
                  <a:pt x="0" y="1493146"/>
                </a:lnTo>
                <a:lnTo>
                  <a:pt x="2750" y="1493146"/>
                </a:lnTo>
                <a:cubicBezTo>
                  <a:pt x="50490" y="700174"/>
                  <a:pt x="679654" y="64473"/>
                  <a:pt x="1469785" y="6156"/>
                </a:cubicBezTo>
                <a:lnTo>
                  <a:pt x="1469785" y="0"/>
                </a:lnTo>
                <a:lnTo>
                  <a:pt x="1591684" y="0"/>
                </a:lnTo>
                <a:lnTo>
                  <a:pt x="1649785" y="0"/>
                </a:lnTo>
                <a:lnTo>
                  <a:pt x="1649785" y="2934"/>
                </a:lnTo>
                <a:cubicBezTo>
                  <a:pt x="2503127" y="31654"/>
                  <a:pt x="3185463" y="733032"/>
                  <a:pt x="3185463" y="1593779"/>
                </a:cubicBezTo>
                <a:close/>
              </a:path>
            </a:pathLst>
          </a:custGeom>
          <a:solidFill>
            <a:srgbClr val="19649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9D0B074-B8C7-4904-84CE-D709C05FFBE7}"/>
              </a:ext>
            </a:extLst>
          </p:cNvPr>
          <p:cNvSpPr txBox="1"/>
          <p:nvPr/>
        </p:nvSpPr>
        <p:spPr>
          <a:xfrm>
            <a:off x="6717028" y="2173654"/>
            <a:ext cx="20190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WYTEdge’s</a:t>
            </a:r>
            <a:r>
              <a:rPr lang="en-US" dirty="0"/>
              <a:t> Websi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259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72" grpId="0"/>
      <p:bldP spid="73" grpId="0"/>
      <p:bldP spid="77" grpId="0" animBg="1"/>
      <p:bldP spid="78" grpId="0"/>
      <p:bldP spid="53" grpId="0" animBg="1"/>
      <p:bldP spid="5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E9DC91A-1319-4CD5-88E6-B33AA0AF68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1650" y="246611"/>
            <a:ext cx="8648700" cy="486489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7150CB2-40C5-4D53-B256-48306F0CCB00}"/>
              </a:ext>
            </a:extLst>
          </p:cNvPr>
          <p:cNvSpPr txBox="1"/>
          <p:nvPr/>
        </p:nvSpPr>
        <p:spPr>
          <a:xfrm>
            <a:off x="2709863" y="5242560"/>
            <a:ext cx="6772275" cy="92333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extrusionH="57150">
              <a:bevelT w="38100" h="38100" prst="relaxedInset"/>
            </a:sp3d>
          </a:bodyPr>
          <a:lstStyle/>
          <a:p>
            <a:pPr algn="ctr"/>
            <a:r>
              <a:rPr lang="en-GB" sz="5400" b="1" dirty="0">
                <a:ln>
                  <a:solidFill>
                    <a:schemeClr val="tx2">
                      <a:lumMod val="95000"/>
                      <a:lumOff val="5000"/>
                    </a:schemeClr>
                  </a:solidFill>
                </a:ln>
                <a:solidFill>
                  <a:srgbClr val="00B0F0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  <a:latin typeface="Arial Black" panose="020B0A04020102020204" pitchFamily="34" charset="0"/>
              </a:rPr>
              <a:t>WYT Edge Demo</a:t>
            </a:r>
          </a:p>
        </p:txBody>
      </p:sp>
    </p:spTree>
    <p:extLst>
      <p:ext uri="{BB962C8B-B14F-4D97-AF65-F5344CB8AC3E}">
        <p14:creationId xmlns:p14="http://schemas.microsoft.com/office/powerpoint/2010/main" val="304236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F7A46A-4A2D-4EF9-B94D-3CA3186508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97677"/>
            <a:ext cx="10515600" cy="1223803"/>
          </a:xfrm>
        </p:spPr>
        <p:txBody>
          <a:bodyPr>
            <a:normAutofit/>
            <a:scene3d>
              <a:camera prst="orthographicFront"/>
              <a:lightRig rig="threePt" dir="t"/>
            </a:scene3d>
            <a:sp3d extrusionH="57150">
              <a:bevelT w="38100" h="38100" prst="convex"/>
            </a:sp3d>
          </a:bodyPr>
          <a:lstStyle/>
          <a:p>
            <a:pPr marL="0" indent="0" algn="ctr">
              <a:buNone/>
            </a:pPr>
            <a:r>
              <a:rPr lang="en-GB" sz="6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6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  <a:latin typeface="Arial Black" panose="020B0A04020102020204" pitchFamily="34" charset="0"/>
              </a:rPr>
              <a:t>Thank You!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5122C9-AF5D-4A2A-ACB1-0D50B148E57C}"/>
              </a:ext>
            </a:extLst>
          </p:cNvPr>
          <p:cNvSpPr txBox="1"/>
          <p:nvPr/>
        </p:nvSpPr>
        <p:spPr>
          <a:xfrm>
            <a:off x="1508759" y="4221480"/>
            <a:ext cx="963452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4400" b="1" dirty="0" err="1">
                <a:solidFill>
                  <a:srgbClr val="FF0000"/>
                </a:solidFill>
              </a:rPr>
              <a:t>WYT</a:t>
            </a:r>
            <a:r>
              <a:rPr lang="en-GB" sz="4400" b="1" dirty="0" err="1">
                <a:solidFill>
                  <a:srgbClr val="00B0F0"/>
                </a:solidFill>
              </a:rPr>
              <a:t>Edge</a:t>
            </a:r>
            <a:endParaRPr lang="en-GB" sz="4400" b="1" dirty="0">
              <a:solidFill>
                <a:srgbClr val="00B0F0"/>
              </a:solidFill>
            </a:endParaRPr>
          </a:p>
          <a:p>
            <a:pPr algn="r"/>
            <a:endParaRPr lang="en-GB" sz="2800" b="1" dirty="0"/>
          </a:p>
          <a:p>
            <a:pPr algn="r"/>
            <a:r>
              <a:rPr lang="en-GB" sz="2800" dirty="0" err="1"/>
              <a:t>Wafiik</a:t>
            </a:r>
            <a:r>
              <a:rPr lang="en-GB" sz="2800" dirty="0"/>
              <a:t> </a:t>
            </a:r>
            <a:r>
              <a:rPr lang="en-GB" sz="2800" dirty="0" err="1"/>
              <a:t>Aumeer</a:t>
            </a:r>
            <a:endParaRPr lang="en-GB" sz="2800" dirty="0"/>
          </a:p>
          <a:p>
            <a:pPr algn="r"/>
            <a:r>
              <a:rPr lang="en-GB" sz="2800" dirty="0"/>
              <a:t>Baboolull </a:t>
            </a:r>
            <a:r>
              <a:rPr lang="en-GB" sz="2800" dirty="0" err="1"/>
              <a:t>Yougesh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68414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0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6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6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6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6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6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0513" y="404813"/>
            <a:ext cx="9072562" cy="430887"/>
          </a:xfrm>
        </p:spPr>
        <p:txBody>
          <a:bodyPr/>
          <a:lstStyle/>
          <a:p>
            <a:pPr algn="ctr"/>
            <a:r>
              <a:rPr lang="en-US" sz="2800" dirty="0"/>
              <a:t>Agenda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1560514" y="1195388"/>
            <a:ext cx="2262187" cy="7419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dirty="0" err="1">
                <a:solidFill>
                  <a:srgbClr val="040123"/>
                </a:solidFill>
                <a:latin typeface="Arial" charset="0"/>
              </a:rPr>
              <a:t>WYTEdge</a:t>
            </a:r>
            <a:endParaRPr lang="en-US" dirty="0">
              <a:solidFill>
                <a:srgbClr val="040123"/>
              </a:solidFill>
              <a:latin typeface="Arial" charset="0"/>
            </a:endParaRPr>
          </a:p>
          <a:p>
            <a:pPr eaLnBrk="0" fontAlgn="base" hangingPunct="0">
              <a:spcAft>
                <a:spcPct val="0"/>
              </a:spcAft>
            </a:pPr>
            <a:r>
              <a:rPr lang="en-US" sz="2400" b="1" dirty="0">
                <a:solidFill>
                  <a:srgbClr val="040123"/>
                </a:solidFill>
                <a:latin typeface="Arial" charset="0"/>
              </a:rPr>
              <a:t>Introduction</a:t>
            </a:r>
            <a:endParaRPr lang="en-US" b="1" dirty="0">
              <a:solidFill>
                <a:srgbClr val="040123"/>
              </a:solidFill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8202614" y="1980092"/>
            <a:ext cx="3090862" cy="7419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dirty="0">
                <a:solidFill>
                  <a:srgbClr val="040123"/>
                </a:solidFill>
                <a:latin typeface="Arial" charset="0"/>
              </a:rPr>
              <a:t>Project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2400" b="1" dirty="0">
                <a:solidFill>
                  <a:srgbClr val="040123"/>
                </a:solidFill>
                <a:latin typeface="Arial" charset="0"/>
              </a:rPr>
              <a:t>Overview</a:t>
            </a:r>
            <a:endParaRPr lang="en-US" b="1" dirty="0">
              <a:solidFill>
                <a:srgbClr val="040123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560514" y="2917196"/>
            <a:ext cx="2618157" cy="7419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2400" dirty="0">
                <a:solidFill>
                  <a:srgbClr val="040123"/>
                </a:solidFill>
                <a:latin typeface="Arial" charset="0"/>
              </a:rPr>
              <a:t>Project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2400" b="1" dirty="0">
                <a:solidFill>
                  <a:srgbClr val="040123"/>
                </a:solidFill>
                <a:latin typeface="Arial" charset="0"/>
              </a:rPr>
              <a:t>Objectives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8202614" y="3549500"/>
            <a:ext cx="3090862" cy="7419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2400" dirty="0">
                <a:solidFill>
                  <a:srgbClr val="040123"/>
                </a:solidFill>
                <a:latin typeface="Arial" charset="0"/>
              </a:rPr>
              <a:t>Project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2400" b="1" dirty="0">
                <a:solidFill>
                  <a:srgbClr val="040123"/>
                </a:solidFill>
                <a:latin typeface="Arial" charset="0"/>
              </a:rPr>
              <a:t>Walkthrough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1560514" y="4639004"/>
            <a:ext cx="3608387" cy="7419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dirty="0">
                <a:solidFill>
                  <a:srgbClr val="040123"/>
                </a:solidFill>
                <a:latin typeface="Arial" charset="0"/>
              </a:rPr>
              <a:t>Project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2400" b="1" dirty="0">
                <a:solidFill>
                  <a:srgbClr val="040123"/>
                </a:solidFill>
                <a:latin typeface="Arial" charset="0"/>
              </a:rPr>
              <a:t>Demo</a:t>
            </a:r>
            <a:endParaRPr lang="en-US" b="1" dirty="0">
              <a:solidFill>
                <a:srgbClr val="040123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2614" y="5499908"/>
            <a:ext cx="3090862" cy="74198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dirty="0">
                <a:solidFill>
                  <a:srgbClr val="040123"/>
                </a:solidFill>
                <a:latin typeface="Arial" charset="0"/>
              </a:rPr>
              <a:t>Audience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2400" b="1" dirty="0">
                <a:solidFill>
                  <a:srgbClr val="040123"/>
                </a:solidFill>
                <a:latin typeface="Arial" charset="0"/>
              </a:rPr>
              <a:t>Talk</a:t>
            </a:r>
            <a:endParaRPr lang="en-US" b="1" dirty="0">
              <a:solidFill>
                <a:srgbClr val="040123"/>
              </a:solidFill>
              <a:latin typeface="Arial" charset="0"/>
            </a:endParaRPr>
          </a:p>
        </p:txBody>
      </p:sp>
      <p:sp>
        <p:nvSpPr>
          <p:cNvPr id="10" name="Freeform: Shape 9"/>
          <p:cNvSpPr/>
          <p:nvPr/>
        </p:nvSpPr>
        <p:spPr bwMode="auto">
          <a:xfrm>
            <a:off x="4767100" y="1536700"/>
            <a:ext cx="2742947" cy="4356100"/>
          </a:xfrm>
          <a:custGeom>
            <a:avLst/>
            <a:gdLst>
              <a:gd name="connsiteX0" fmla="*/ 0 w 2997200"/>
              <a:gd name="connsiteY0" fmla="*/ 0 h 4356100"/>
              <a:gd name="connsiteX1" fmla="*/ 2984500 w 2997200"/>
              <a:gd name="connsiteY1" fmla="*/ 914400 h 4356100"/>
              <a:gd name="connsiteX2" fmla="*/ 165100 w 2997200"/>
              <a:gd name="connsiteY2" fmla="*/ 1778000 h 4356100"/>
              <a:gd name="connsiteX3" fmla="*/ 2959100 w 2997200"/>
              <a:gd name="connsiteY3" fmla="*/ 2603500 h 4356100"/>
              <a:gd name="connsiteX4" fmla="*/ 215900 w 2997200"/>
              <a:gd name="connsiteY4" fmla="*/ 3479800 h 4356100"/>
              <a:gd name="connsiteX5" fmla="*/ 2997200 w 2997200"/>
              <a:gd name="connsiteY5" fmla="*/ 4356100 h 4356100"/>
              <a:gd name="connsiteX6" fmla="*/ 2997200 w 2997200"/>
              <a:gd name="connsiteY6" fmla="*/ 4356100 h 435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7200" h="4356100">
                <a:moveTo>
                  <a:pt x="0" y="0"/>
                </a:moveTo>
                <a:cubicBezTo>
                  <a:pt x="1478491" y="309033"/>
                  <a:pt x="2956983" y="618067"/>
                  <a:pt x="2984500" y="914400"/>
                </a:cubicBezTo>
                <a:cubicBezTo>
                  <a:pt x="3012017" y="1210733"/>
                  <a:pt x="169333" y="1496483"/>
                  <a:pt x="165100" y="1778000"/>
                </a:cubicBezTo>
                <a:cubicBezTo>
                  <a:pt x="160867" y="2059517"/>
                  <a:pt x="2950633" y="2319867"/>
                  <a:pt x="2959100" y="2603500"/>
                </a:cubicBezTo>
                <a:cubicBezTo>
                  <a:pt x="2967567" y="2887133"/>
                  <a:pt x="209550" y="3187700"/>
                  <a:pt x="215900" y="3479800"/>
                </a:cubicBezTo>
                <a:cubicBezTo>
                  <a:pt x="222250" y="3771900"/>
                  <a:pt x="2997200" y="4356100"/>
                  <a:pt x="2997200" y="4356100"/>
                </a:cubicBezTo>
                <a:lnTo>
                  <a:pt x="2997200" y="4356100"/>
                </a:lnTo>
              </a:path>
            </a:pathLst>
          </a:custGeom>
          <a:noFill/>
          <a:ln w="127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200" dirty="0">
              <a:solidFill>
                <a:srgbClr val="040123"/>
              </a:solidFill>
              <a:latin typeface="Arial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4668038" y="1371600"/>
            <a:ext cx="365760" cy="36576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dirty="0">
                <a:solidFill>
                  <a:srgbClr val="FFFFFF"/>
                </a:solidFill>
                <a:latin typeface="Arial" charset="0"/>
              </a:rPr>
              <a:t>1</a:t>
            </a:r>
          </a:p>
        </p:txBody>
      </p:sp>
      <p:sp>
        <p:nvSpPr>
          <p:cNvPr id="12" name="Oval 11"/>
          <p:cNvSpPr/>
          <p:nvPr/>
        </p:nvSpPr>
        <p:spPr bwMode="auto">
          <a:xfrm>
            <a:off x="7294455" y="2244403"/>
            <a:ext cx="365760" cy="36576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rot="0" spcFirstLastPara="0" vertOverflow="overflow" horzOverflow="overflow" vert="horz" wrap="none" lIns="7200" tIns="108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dirty="0">
                <a:solidFill>
                  <a:srgbClr val="FFFFFF"/>
                </a:solidFill>
                <a:latin typeface="Arial" charset="0"/>
              </a:rPr>
              <a:t>2</a:t>
            </a:r>
          </a:p>
        </p:txBody>
      </p:sp>
      <p:sp>
        <p:nvSpPr>
          <p:cNvPr id="13" name="Oval 12"/>
          <p:cNvSpPr/>
          <p:nvPr/>
        </p:nvSpPr>
        <p:spPr bwMode="auto">
          <a:xfrm>
            <a:off x="4668038" y="3094190"/>
            <a:ext cx="365760" cy="36576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dirty="0">
                <a:solidFill>
                  <a:srgbClr val="FFFFFF"/>
                </a:solidFill>
                <a:latin typeface="Arial" charset="0"/>
              </a:rPr>
              <a:t>3</a:t>
            </a:r>
          </a:p>
        </p:txBody>
      </p:sp>
      <p:sp>
        <p:nvSpPr>
          <p:cNvPr id="14" name="Oval 13"/>
          <p:cNvSpPr/>
          <p:nvPr/>
        </p:nvSpPr>
        <p:spPr bwMode="auto">
          <a:xfrm>
            <a:off x="7294455" y="3966211"/>
            <a:ext cx="365760" cy="36576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rot="0" spcFirstLastPara="0" vertOverflow="overflow" horzOverflow="overflow" vert="horz" wrap="none" lIns="72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dirty="0">
                <a:solidFill>
                  <a:srgbClr val="FFFFFF"/>
                </a:solidFill>
                <a:latin typeface="Arial" charset="0"/>
              </a:rPr>
              <a:t>4</a:t>
            </a:r>
          </a:p>
        </p:txBody>
      </p:sp>
      <p:sp>
        <p:nvSpPr>
          <p:cNvPr id="15" name="Oval 14"/>
          <p:cNvSpPr/>
          <p:nvPr/>
        </p:nvSpPr>
        <p:spPr bwMode="auto">
          <a:xfrm>
            <a:off x="4668038" y="4856794"/>
            <a:ext cx="365760" cy="36576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rot="0" spcFirstLastPara="0" vertOverflow="overflow" horzOverflow="overflow" vert="horz" wrap="none" lIns="72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dirty="0">
                <a:solidFill>
                  <a:srgbClr val="FFFFFF"/>
                </a:solidFill>
                <a:latin typeface="Arial" charset="0"/>
              </a:rPr>
              <a:t>5</a:t>
            </a:r>
          </a:p>
        </p:txBody>
      </p:sp>
      <p:sp>
        <p:nvSpPr>
          <p:cNvPr id="16" name="Oval 15"/>
          <p:cNvSpPr/>
          <p:nvPr/>
        </p:nvSpPr>
        <p:spPr bwMode="auto">
          <a:xfrm>
            <a:off x="7294455" y="5709920"/>
            <a:ext cx="365760" cy="36576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rot="0" spcFirstLastPara="0" vertOverflow="overflow" horzOverflow="overflow" vert="horz" wrap="none" lIns="72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dirty="0">
                <a:solidFill>
                  <a:srgbClr val="FFFFFF"/>
                </a:solidFill>
                <a:latin typeface="Arial" charset="0"/>
              </a:rPr>
              <a:t>6</a:t>
            </a:r>
          </a:p>
        </p:txBody>
      </p:sp>
      <p:sp>
        <p:nvSpPr>
          <p:cNvPr id="17" name="Freeform: Shape 16"/>
          <p:cNvSpPr/>
          <p:nvPr/>
        </p:nvSpPr>
        <p:spPr bwMode="auto">
          <a:xfrm>
            <a:off x="1560513" y="1920034"/>
            <a:ext cx="1879600" cy="184666"/>
          </a:xfrm>
          <a:custGeom>
            <a:avLst/>
            <a:gdLst>
              <a:gd name="connsiteX0" fmla="*/ 0 w 1752698"/>
              <a:gd name="connsiteY0" fmla="*/ 38100 h 146755"/>
              <a:gd name="connsiteX1" fmla="*/ 1752600 w 1752698"/>
              <a:gd name="connsiteY1" fmla="*/ 127000 h 146755"/>
              <a:gd name="connsiteX2" fmla="*/ 88900 w 1752698"/>
              <a:gd name="connsiteY2" fmla="*/ 139700 h 146755"/>
              <a:gd name="connsiteX3" fmla="*/ 1651000 w 1752698"/>
              <a:gd name="connsiteY3" fmla="*/ 38100 h 146755"/>
              <a:gd name="connsiteX4" fmla="*/ 660400 w 1752698"/>
              <a:gd name="connsiteY4" fmla="*/ 0 h 14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2698" h="146755">
                <a:moveTo>
                  <a:pt x="0" y="38100"/>
                </a:moveTo>
                <a:lnTo>
                  <a:pt x="1752600" y="127000"/>
                </a:lnTo>
                <a:cubicBezTo>
                  <a:pt x="1767417" y="143933"/>
                  <a:pt x="105833" y="154517"/>
                  <a:pt x="88900" y="139700"/>
                </a:cubicBezTo>
                <a:cubicBezTo>
                  <a:pt x="71967" y="124883"/>
                  <a:pt x="1555750" y="61383"/>
                  <a:pt x="1651000" y="38100"/>
                </a:cubicBezTo>
                <a:cubicBezTo>
                  <a:pt x="1746250" y="14817"/>
                  <a:pt x="1203325" y="7408"/>
                  <a:pt x="660400" y="0"/>
                </a:cubicBezTo>
              </a:path>
            </a:pathLst>
          </a:cu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a-DK" sz="1200" dirty="0">
              <a:solidFill>
                <a:srgbClr val="040123"/>
              </a:solidFill>
              <a:latin typeface="Arial" charset="0"/>
            </a:endParaRPr>
          </a:p>
        </p:txBody>
      </p:sp>
      <p:sp>
        <p:nvSpPr>
          <p:cNvPr id="18" name="Freeform: Shape 17"/>
          <p:cNvSpPr/>
          <p:nvPr/>
        </p:nvSpPr>
        <p:spPr bwMode="auto">
          <a:xfrm>
            <a:off x="8231189" y="2686050"/>
            <a:ext cx="1836736" cy="184666"/>
          </a:xfrm>
          <a:custGeom>
            <a:avLst/>
            <a:gdLst>
              <a:gd name="connsiteX0" fmla="*/ 0 w 1752698"/>
              <a:gd name="connsiteY0" fmla="*/ 38100 h 146755"/>
              <a:gd name="connsiteX1" fmla="*/ 1752600 w 1752698"/>
              <a:gd name="connsiteY1" fmla="*/ 127000 h 146755"/>
              <a:gd name="connsiteX2" fmla="*/ 88900 w 1752698"/>
              <a:gd name="connsiteY2" fmla="*/ 139700 h 146755"/>
              <a:gd name="connsiteX3" fmla="*/ 1651000 w 1752698"/>
              <a:gd name="connsiteY3" fmla="*/ 38100 h 146755"/>
              <a:gd name="connsiteX4" fmla="*/ 660400 w 1752698"/>
              <a:gd name="connsiteY4" fmla="*/ 0 h 14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2698" h="146755">
                <a:moveTo>
                  <a:pt x="0" y="38100"/>
                </a:moveTo>
                <a:lnTo>
                  <a:pt x="1752600" y="127000"/>
                </a:lnTo>
                <a:cubicBezTo>
                  <a:pt x="1767417" y="143933"/>
                  <a:pt x="105833" y="154517"/>
                  <a:pt x="88900" y="139700"/>
                </a:cubicBezTo>
                <a:cubicBezTo>
                  <a:pt x="71967" y="124883"/>
                  <a:pt x="1555750" y="61383"/>
                  <a:pt x="1651000" y="38100"/>
                </a:cubicBezTo>
                <a:cubicBezTo>
                  <a:pt x="1746250" y="14817"/>
                  <a:pt x="1203325" y="7408"/>
                  <a:pt x="660400" y="0"/>
                </a:cubicBezTo>
              </a:path>
            </a:pathLst>
          </a:cu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a-DK" sz="1200" dirty="0">
              <a:solidFill>
                <a:srgbClr val="040123"/>
              </a:solidFill>
              <a:latin typeface="Arial" charset="0"/>
            </a:endParaRPr>
          </a:p>
        </p:txBody>
      </p:sp>
      <p:sp>
        <p:nvSpPr>
          <p:cNvPr id="19" name="Freeform: Shape 18"/>
          <p:cNvSpPr/>
          <p:nvPr/>
        </p:nvSpPr>
        <p:spPr bwMode="auto">
          <a:xfrm>
            <a:off x="1638860" y="3704722"/>
            <a:ext cx="2461462" cy="184666"/>
          </a:xfrm>
          <a:custGeom>
            <a:avLst/>
            <a:gdLst>
              <a:gd name="connsiteX0" fmla="*/ 0 w 1752698"/>
              <a:gd name="connsiteY0" fmla="*/ 38100 h 146755"/>
              <a:gd name="connsiteX1" fmla="*/ 1752600 w 1752698"/>
              <a:gd name="connsiteY1" fmla="*/ 127000 h 146755"/>
              <a:gd name="connsiteX2" fmla="*/ 88900 w 1752698"/>
              <a:gd name="connsiteY2" fmla="*/ 139700 h 146755"/>
              <a:gd name="connsiteX3" fmla="*/ 1651000 w 1752698"/>
              <a:gd name="connsiteY3" fmla="*/ 38100 h 146755"/>
              <a:gd name="connsiteX4" fmla="*/ 660400 w 1752698"/>
              <a:gd name="connsiteY4" fmla="*/ 0 h 14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2698" h="146755">
                <a:moveTo>
                  <a:pt x="0" y="38100"/>
                </a:moveTo>
                <a:lnTo>
                  <a:pt x="1752600" y="127000"/>
                </a:lnTo>
                <a:cubicBezTo>
                  <a:pt x="1767417" y="143933"/>
                  <a:pt x="105833" y="154517"/>
                  <a:pt x="88900" y="139700"/>
                </a:cubicBezTo>
                <a:cubicBezTo>
                  <a:pt x="71967" y="124883"/>
                  <a:pt x="1555750" y="61383"/>
                  <a:pt x="1651000" y="38100"/>
                </a:cubicBezTo>
                <a:cubicBezTo>
                  <a:pt x="1746250" y="14817"/>
                  <a:pt x="1203325" y="7408"/>
                  <a:pt x="660400" y="0"/>
                </a:cubicBezTo>
              </a:path>
            </a:pathLst>
          </a:cu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a-DK" sz="1200" dirty="0">
              <a:solidFill>
                <a:srgbClr val="040123"/>
              </a:solidFill>
              <a:latin typeface="Arial" charset="0"/>
            </a:endParaRPr>
          </a:p>
        </p:txBody>
      </p:sp>
      <p:sp>
        <p:nvSpPr>
          <p:cNvPr id="20" name="Freeform: Shape 19"/>
          <p:cNvSpPr/>
          <p:nvPr/>
        </p:nvSpPr>
        <p:spPr bwMode="auto">
          <a:xfrm>
            <a:off x="8239226" y="4373327"/>
            <a:ext cx="2262187" cy="184666"/>
          </a:xfrm>
          <a:custGeom>
            <a:avLst/>
            <a:gdLst>
              <a:gd name="connsiteX0" fmla="*/ 0 w 1752698"/>
              <a:gd name="connsiteY0" fmla="*/ 38100 h 146755"/>
              <a:gd name="connsiteX1" fmla="*/ 1752600 w 1752698"/>
              <a:gd name="connsiteY1" fmla="*/ 127000 h 146755"/>
              <a:gd name="connsiteX2" fmla="*/ 88900 w 1752698"/>
              <a:gd name="connsiteY2" fmla="*/ 139700 h 146755"/>
              <a:gd name="connsiteX3" fmla="*/ 1651000 w 1752698"/>
              <a:gd name="connsiteY3" fmla="*/ 38100 h 146755"/>
              <a:gd name="connsiteX4" fmla="*/ 660400 w 1752698"/>
              <a:gd name="connsiteY4" fmla="*/ 0 h 14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2698" h="146755">
                <a:moveTo>
                  <a:pt x="0" y="38100"/>
                </a:moveTo>
                <a:lnTo>
                  <a:pt x="1752600" y="127000"/>
                </a:lnTo>
                <a:cubicBezTo>
                  <a:pt x="1767417" y="143933"/>
                  <a:pt x="105833" y="154517"/>
                  <a:pt x="88900" y="139700"/>
                </a:cubicBezTo>
                <a:cubicBezTo>
                  <a:pt x="71967" y="124883"/>
                  <a:pt x="1555750" y="61383"/>
                  <a:pt x="1651000" y="38100"/>
                </a:cubicBezTo>
                <a:cubicBezTo>
                  <a:pt x="1746250" y="14817"/>
                  <a:pt x="1203325" y="7408"/>
                  <a:pt x="660400" y="0"/>
                </a:cubicBezTo>
              </a:path>
            </a:pathLst>
          </a:cu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a-DK" sz="1200" dirty="0">
              <a:solidFill>
                <a:srgbClr val="040123"/>
              </a:solidFill>
              <a:latin typeface="Arial" charset="0"/>
            </a:endParaRPr>
          </a:p>
        </p:txBody>
      </p:sp>
      <p:sp>
        <p:nvSpPr>
          <p:cNvPr id="21" name="Freeform: Shape 20"/>
          <p:cNvSpPr/>
          <p:nvPr/>
        </p:nvSpPr>
        <p:spPr bwMode="auto">
          <a:xfrm>
            <a:off x="1595508" y="5463219"/>
            <a:ext cx="2461462" cy="184666"/>
          </a:xfrm>
          <a:custGeom>
            <a:avLst/>
            <a:gdLst>
              <a:gd name="connsiteX0" fmla="*/ 0 w 1752698"/>
              <a:gd name="connsiteY0" fmla="*/ 38100 h 146755"/>
              <a:gd name="connsiteX1" fmla="*/ 1752600 w 1752698"/>
              <a:gd name="connsiteY1" fmla="*/ 127000 h 146755"/>
              <a:gd name="connsiteX2" fmla="*/ 88900 w 1752698"/>
              <a:gd name="connsiteY2" fmla="*/ 139700 h 146755"/>
              <a:gd name="connsiteX3" fmla="*/ 1651000 w 1752698"/>
              <a:gd name="connsiteY3" fmla="*/ 38100 h 146755"/>
              <a:gd name="connsiteX4" fmla="*/ 660400 w 1752698"/>
              <a:gd name="connsiteY4" fmla="*/ 0 h 14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2698" h="146755">
                <a:moveTo>
                  <a:pt x="0" y="38100"/>
                </a:moveTo>
                <a:lnTo>
                  <a:pt x="1752600" y="127000"/>
                </a:lnTo>
                <a:cubicBezTo>
                  <a:pt x="1767417" y="143933"/>
                  <a:pt x="105833" y="154517"/>
                  <a:pt x="88900" y="139700"/>
                </a:cubicBezTo>
                <a:cubicBezTo>
                  <a:pt x="71967" y="124883"/>
                  <a:pt x="1555750" y="61383"/>
                  <a:pt x="1651000" y="38100"/>
                </a:cubicBezTo>
                <a:cubicBezTo>
                  <a:pt x="1746250" y="14817"/>
                  <a:pt x="1203325" y="7408"/>
                  <a:pt x="660400" y="0"/>
                </a:cubicBezTo>
              </a:path>
            </a:pathLst>
          </a:cu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a-DK" sz="1200" dirty="0">
              <a:solidFill>
                <a:srgbClr val="040123"/>
              </a:solidFill>
              <a:latin typeface="Arial" charset="0"/>
            </a:endParaRPr>
          </a:p>
        </p:txBody>
      </p:sp>
      <p:sp>
        <p:nvSpPr>
          <p:cNvPr id="22" name="Freeform: Shape 21"/>
          <p:cNvSpPr/>
          <p:nvPr/>
        </p:nvSpPr>
        <p:spPr bwMode="auto">
          <a:xfrm>
            <a:off x="8229600" y="6172200"/>
            <a:ext cx="2376587" cy="184666"/>
          </a:xfrm>
          <a:custGeom>
            <a:avLst/>
            <a:gdLst>
              <a:gd name="connsiteX0" fmla="*/ 0 w 1752698"/>
              <a:gd name="connsiteY0" fmla="*/ 38100 h 146755"/>
              <a:gd name="connsiteX1" fmla="*/ 1752600 w 1752698"/>
              <a:gd name="connsiteY1" fmla="*/ 127000 h 146755"/>
              <a:gd name="connsiteX2" fmla="*/ 88900 w 1752698"/>
              <a:gd name="connsiteY2" fmla="*/ 139700 h 146755"/>
              <a:gd name="connsiteX3" fmla="*/ 1651000 w 1752698"/>
              <a:gd name="connsiteY3" fmla="*/ 38100 h 146755"/>
              <a:gd name="connsiteX4" fmla="*/ 660400 w 1752698"/>
              <a:gd name="connsiteY4" fmla="*/ 0 h 14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2698" h="146755">
                <a:moveTo>
                  <a:pt x="0" y="38100"/>
                </a:moveTo>
                <a:lnTo>
                  <a:pt x="1752600" y="127000"/>
                </a:lnTo>
                <a:cubicBezTo>
                  <a:pt x="1767417" y="143933"/>
                  <a:pt x="105833" y="154517"/>
                  <a:pt x="88900" y="139700"/>
                </a:cubicBezTo>
                <a:cubicBezTo>
                  <a:pt x="71967" y="124883"/>
                  <a:pt x="1555750" y="61383"/>
                  <a:pt x="1651000" y="38100"/>
                </a:cubicBezTo>
                <a:cubicBezTo>
                  <a:pt x="1746250" y="14817"/>
                  <a:pt x="1203325" y="7408"/>
                  <a:pt x="660400" y="0"/>
                </a:cubicBezTo>
              </a:path>
            </a:pathLst>
          </a:cu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da-DK" sz="1200" dirty="0">
              <a:solidFill>
                <a:srgbClr val="040123"/>
              </a:solidFill>
              <a:latin typeface="Arial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004D229-A96D-452E-BBA6-2C6DF7C04BA9}"/>
              </a:ext>
            </a:extLst>
          </p:cNvPr>
          <p:cNvSpPr/>
          <p:nvPr/>
        </p:nvSpPr>
        <p:spPr bwMode="auto">
          <a:xfrm>
            <a:off x="0" y="6468777"/>
            <a:ext cx="12192000" cy="365938"/>
          </a:xfrm>
          <a:prstGeom prst="rect">
            <a:avLst/>
          </a:prstGeom>
          <a:solidFill>
            <a:srgbClr val="E5E8ED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84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Oval 163">
            <a:extLst>
              <a:ext uri="{FF2B5EF4-FFF2-40B4-BE49-F238E27FC236}">
                <a16:creationId xmlns:a16="http://schemas.microsoft.com/office/drawing/2014/main" id="{FE436C90-3EEF-4729-AE4D-11106A1F4453}"/>
              </a:ext>
            </a:extLst>
          </p:cNvPr>
          <p:cNvSpPr/>
          <p:nvPr/>
        </p:nvSpPr>
        <p:spPr>
          <a:xfrm rot="10800000" flipH="1" flipV="1">
            <a:off x="7522471" y="4180650"/>
            <a:ext cx="1122891" cy="1122892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644EB66-2F1F-4DC1-BB33-75FAFEEA5001}"/>
              </a:ext>
            </a:extLst>
          </p:cNvPr>
          <p:cNvGrpSpPr/>
          <p:nvPr/>
        </p:nvGrpSpPr>
        <p:grpSpPr>
          <a:xfrm rot="120000">
            <a:off x="3660972" y="4031032"/>
            <a:ext cx="1678674" cy="1427245"/>
            <a:chOff x="3660972" y="4031032"/>
            <a:chExt cx="1678674" cy="1427245"/>
          </a:xfrm>
          <a:solidFill>
            <a:schemeClr val="bg1">
              <a:lumMod val="65000"/>
            </a:schemeClr>
          </a:solidFill>
        </p:grpSpPr>
        <p:sp>
          <p:nvSpPr>
            <p:cNvPr id="151" name="Rectangle 6">
              <a:extLst>
                <a:ext uri="{FF2B5EF4-FFF2-40B4-BE49-F238E27FC236}">
                  <a16:creationId xmlns:a16="http://schemas.microsoft.com/office/drawing/2014/main" id="{D3CE5A45-E119-4AEF-9D4D-FDAA3D95B7DD}"/>
                </a:ext>
              </a:extLst>
            </p:cNvPr>
            <p:cNvSpPr/>
            <p:nvPr/>
          </p:nvSpPr>
          <p:spPr>
            <a:xfrm rot="3438665" flipV="1">
              <a:off x="4370745" y="3985512"/>
              <a:ext cx="923382" cy="1014421"/>
            </a:xfrm>
            <a:custGeom>
              <a:avLst/>
              <a:gdLst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0 w 864096"/>
                <a:gd name="connsiteY4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195 w 864096"/>
                <a:gd name="connsiteY4" fmla="*/ 761886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47951 w 864096"/>
                <a:gd name="connsiteY4" fmla="*/ 765649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4795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972108"/>
                <a:gd name="connsiteY0" fmla="*/ 0 h 1512168"/>
                <a:gd name="connsiteX1" fmla="*/ 864096 w 972108"/>
                <a:gd name="connsiteY1" fmla="*/ 0 h 1512168"/>
                <a:gd name="connsiteX2" fmla="*/ 864096 w 972108"/>
                <a:gd name="connsiteY2" fmla="*/ 1512168 h 1512168"/>
                <a:gd name="connsiteX3" fmla="*/ 0 w 972108"/>
                <a:gd name="connsiteY3" fmla="*/ 1512168 h 1512168"/>
                <a:gd name="connsiteX4" fmla="*/ 185581 w 972108"/>
                <a:gd name="connsiteY4" fmla="*/ 765649 h 1512168"/>
                <a:gd name="connsiteX5" fmla="*/ 0 w 972108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85581 w 864096"/>
                <a:gd name="connsiteY4" fmla="*/ 765649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3899 w 864096"/>
                <a:gd name="connsiteY2" fmla="*/ 75436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4328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4328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02027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44725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02027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44725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4919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6763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4919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6763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577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71726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71726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97102 w 864096"/>
                <a:gd name="connsiteY5" fmla="*/ 7619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97102 w 864096"/>
                <a:gd name="connsiteY5" fmla="*/ 7619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21900 w 864096"/>
                <a:gd name="connsiteY5" fmla="*/ 7588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21900 w 864096"/>
                <a:gd name="connsiteY5" fmla="*/ 7588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4542 w 864096"/>
                <a:gd name="connsiteY5" fmla="*/ 756774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16560 w 864096"/>
                <a:gd name="connsiteY2" fmla="*/ 75454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4542 w 864096"/>
                <a:gd name="connsiteY5" fmla="*/ 756774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16560 w 864096"/>
                <a:gd name="connsiteY2" fmla="*/ 75454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8756 w 864096"/>
                <a:gd name="connsiteY5" fmla="*/ 756774 h 1512168"/>
                <a:gd name="connsiteX6" fmla="*/ 0 w 864096"/>
                <a:gd name="connsiteY6" fmla="*/ 0 h 151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4096" h="1512168">
                  <a:moveTo>
                    <a:pt x="0" y="0"/>
                  </a:moveTo>
                  <a:lnTo>
                    <a:pt x="864096" y="0"/>
                  </a:lnTo>
                  <a:cubicBezTo>
                    <a:pt x="864030" y="251453"/>
                    <a:pt x="516626" y="503088"/>
                    <a:pt x="516560" y="754541"/>
                  </a:cubicBezTo>
                  <a:cubicBezTo>
                    <a:pt x="516626" y="1007144"/>
                    <a:pt x="864030" y="1259565"/>
                    <a:pt x="864096" y="1512168"/>
                  </a:cubicBezTo>
                  <a:lnTo>
                    <a:pt x="0" y="1512168"/>
                  </a:lnTo>
                  <a:cubicBezTo>
                    <a:pt x="398" y="1262074"/>
                    <a:pt x="338358" y="1006868"/>
                    <a:pt x="338756" y="756774"/>
                  </a:cubicBezTo>
                  <a:cubicBezTo>
                    <a:pt x="338358" y="502812"/>
                    <a:pt x="398" y="25396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E282F35C-734C-4AC8-8321-CF2B9937A7B0}"/>
                </a:ext>
              </a:extLst>
            </p:cNvPr>
            <p:cNvSpPr/>
            <p:nvPr/>
          </p:nvSpPr>
          <p:spPr>
            <a:xfrm rot="8838665" flipV="1">
              <a:off x="3660972" y="4335385"/>
              <a:ext cx="1122891" cy="11228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6CE9A536-36D1-4F88-A24F-CCFDE1998884}"/>
                </a:ext>
              </a:extLst>
            </p:cNvPr>
            <p:cNvSpPr/>
            <p:nvPr/>
          </p:nvSpPr>
          <p:spPr>
            <a:xfrm rot="9122328" flipV="1">
              <a:off x="3786770" y="4461174"/>
              <a:ext cx="871306" cy="8713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14300" dist="114300" dir="4800000" algn="tl" rotWithShape="0">
                <a:prstClr val="black">
                  <a:alpha val="2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Introduction</a:t>
            </a:r>
            <a:endParaRPr lang="en-IN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A9486A73-9790-459A-BB7A-D9D757DB731A}"/>
              </a:ext>
            </a:extLst>
          </p:cNvPr>
          <p:cNvGrpSpPr/>
          <p:nvPr/>
        </p:nvGrpSpPr>
        <p:grpSpPr>
          <a:xfrm>
            <a:off x="8463157" y="1746356"/>
            <a:ext cx="2633351" cy="945040"/>
            <a:chOff x="8471617" y="1319673"/>
            <a:chExt cx="2628884" cy="945040"/>
          </a:xfrm>
        </p:grpSpPr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DF8E6535-D006-445C-8FE7-7642FE561825}"/>
                </a:ext>
              </a:extLst>
            </p:cNvPr>
            <p:cNvSpPr txBox="1"/>
            <p:nvPr/>
          </p:nvSpPr>
          <p:spPr>
            <a:xfrm>
              <a:off x="8471617" y="1741493"/>
              <a:ext cx="2628884" cy="52322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o improve the energy monitoring process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24F39066-CAC1-4064-904B-0E5FFB5CFDE8}"/>
                </a:ext>
              </a:extLst>
            </p:cNvPr>
            <p:cNvSpPr txBox="1"/>
            <p:nvPr/>
          </p:nvSpPr>
          <p:spPr>
            <a:xfrm>
              <a:off x="8471617" y="1319673"/>
              <a:ext cx="2628884" cy="40011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defTabSz="1218987">
                <a:defRPr/>
              </a:pPr>
              <a:r>
                <a:rPr lang="en-US" sz="2000" b="1" kern="0" dirty="0">
                  <a:solidFill>
                    <a:schemeClr val="bg1">
                      <a:lumMod val="6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im</a:t>
              </a: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A38984E-F68C-4A7D-9A90-2768842FE519}"/>
              </a:ext>
            </a:extLst>
          </p:cNvPr>
          <p:cNvGrpSpPr/>
          <p:nvPr/>
        </p:nvGrpSpPr>
        <p:grpSpPr>
          <a:xfrm>
            <a:off x="8735880" y="4377919"/>
            <a:ext cx="2633352" cy="1037373"/>
            <a:chOff x="8471617" y="1011897"/>
            <a:chExt cx="2628885" cy="1037373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D63F5527-366A-4CE0-B27F-4E301C6AE841}"/>
                </a:ext>
              </a:extLst>
            </p:cNvPr>
            <p:cNvSpPr txBox="1"/>
            <p:nvPr/>
          </p:nvSpPr>
          <p:spPr>
            <a:xfrm>
              <a:off x="8471617" y="1741493"/>
              <a:ext cx="2628884" cy="30777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nalyzing results is easier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FD8337BB-FD90-479A-B69D-5C7C0C7EB6EC}"/>
                </a:ext>
              </a:extLst>
            </p:cNvPr>
            <p:cNvSpPr txBox="1"/>
            <p:nvPr/>
          </p:nvSpPr>
          <p:spPr>
            <a:xfrm>
              <a:off x="8471618" y="1011897"/>
              <a:ext cx="2628884" cy="707886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defTabSz="1218987">
                <a:defRPr/>
              </a:pPr>
              <a:r>
                <a:rPr lang="en-US" sz="2000" b="1" kern="0" dirty="0">
                  <a:solidFill>
                    <a:schemeClr val="bg1">
                      <a:lumMod val="6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teractive Analytical Display </a:t>
              </a: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209AABCD-315E-412D-8E77-3611824FF258}"/>
              </a:ext>
            </a:extLst>
          </p:cNvPr>
          <p:cNvGrpSpPr/>
          <p:nvPr/>
        </p:nvGrpSpPr>
        <p:grpSpPr>
          <a:xfrm>
            <a:off x="1438824" y="4545956"/>
            <a:ext cx="2046222" cy="945040"/>
            <a:chOff x="9088751" y="3319234"/>
            <a:chExt cx="2046222" cy="945040"/>
          </a:xfrm>
        </p:grpSpPr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9E083547-0844-488C-A4B4-FB1308468CB0}"/>
                </a:ext>
              </a:extLst>
            </p:cNvPr>
            <p:cNvSpPr txBox="1"/>
            <p:nvPr/>
          </p:nvSpPr>
          <p:spPr>
            <a:xfrm>
              <a:off x="9088751" y="3741054"/>
              <a:ext cx="2046222" cy="52322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is a digital solution</a:t>
              </a:r>
            </a:p>
            <a:p>
              <a:pPr algn="r"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dustry 4.0 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0D405B52-DCCF-4A78-8A25-BCB03417BB18}"/>
                </a:ext>
              </a:extLst>
            </p:cNvPr>
            <p:cNvSpPr txBox="1"/>
            <p:nvPr/>
          </p:nvSpPr>
          <p:spPr>
            <a:xfrm>
              <a:off x="9088751" y="3319234"/>
              <a:ext cx="2046222" cy="40011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 defTabSz="1218987">
                <a:defRPr/>
              </a:pPr>
              <a:r>
                <a:rPr lang="en-US" sz="2000" b="1" kern="0" dirty="0">
                  <a:solidFill>
                    <a:schemeClr val="bg1">
                      <a:lumMod val="6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dern</a:t>
              </a: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59DB374B-B91D-448A-84B8-B4D064A4A307}"/>
              </a:ext>
            </a:extLst>
          </p:cNvPr>
          <p:cNvGrpSpPr/>
          <p:nvPr/>
        </p:nvGrpSpPr>
        <p:grpSpPr>
          <a:xfrm>
            <a:off x="790500" y="1746356"/>
            <a:ext cx="2954893" cy="729597"/>
            <a:chOff x="8150620" y="1319673"/>
            <a:chExt cx="2949881" cy="729597"/>
          </a:xfrm>
        </p:grpSpPr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E998F206-1FF8-490C-8BCD-606087907386}"/>
                </a:ext>
              </a:extLst>
            </p:cNvPr>
            <p:cNvSpPr txBox="1"/>
            <p:nvPr/>
          </p:nvSpPr>
          <p:spPr>
            <a:xfrm>
              <a:off x="8150620" y="1741493"/>
              <a:ext cx="2949881" cy="30777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obotic automation, Online System 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3E7455B6-D595-4089-8CA2-9DEE1D443775}"/>
                </a:ext>
              </a:extLst>
            </p:cNvPr>
            <p:cNvSpPr txBox="1"/>
            <p:nvPr/>
          </p:nvSpPr>
          <p:spPr>
            <a:xfrm>
              <a:off x="8150620" y="1319673"/>
              <a:ext cx="2949881" cy="40011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 defTabSz="1218987">
                <a:defRPr/>
              </a:pPr>
              <a:r>
                <a:rPr lang="en-US" sz="20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ulti-Form Technology</a:t>
              </a:r>
            </a:p>
          </p:txBody>
        </p:sp>
      </p:grpSp>
      <p:sp>
        <p:nvSpPr>
          <p:cNvPr id="156" name="Oval 155">
            <a:extLst>
              <a:ext uri="{FF2B5EF4-FFF2-40B4-BE49-F238E27FC236}">
                <a16:creationId xmlns:a16="http://schemas.microsoft.com/office/drawing/2014/main" id="{C3541CF1-9B64-4B5C-B6E3-B60CFD662F21}"/>
              </a:ext>
            </a:extLst>
          </p:cNvPr>
          <p:cNvSpPr/>
          <p:nvPr/>
        </p:nvSpPr>
        <p:spPr>
          <a:xfrm>
            <a:off x="3898320" y="1724699"/>
            <a:ext cx="1122891" cy="112289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sp>
        <p:nvSpPr>
          <p:cNvPr id="153" name="Rectangle 6">
            <a:extLst>
              <a:ext uri="{FF2B5EF4-FFF2-40B4-BE49-F238E27FC236}">
                <a16:creationId xmlns:a16="http://schemas.microsoft.com/office/drawing/2014/main" id="{D1FB74FA-9531-415F-B47E-897B5480BE1E}"/>
              </a:ext>
            </a:extLst>
          </p:cNvPr>
          <p:cNvSpPr/>
          <p:nvPr/>
        </p:nvSpPr>
        <p:spPr>
          <a:xfrm rot="18640883">
            <a:off x="4562762" y="2252408"/>
            <a:ext cx="923382" cy="1014421"/>
          </a:xfrm>
          <a:custGeom>
            <a:avLst/>
            <a:gdLst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0 w 864096"/>
              <a:gd name="connsiteY4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195 w 864096"/>
              <a:gd name="connsiteY4" fmla="*/ 761886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4795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4795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972108"/>
              <a:gd name="connsiteY0" fmla="*/ 0 h 1512168"/>
              <a:gd name="connsiteX1" fmla="*/ 864096 w 972108"/>
              <a:gd name="connsiteY1" fmla="*/ 0 h 1512168"/>
              <a:gd name="connsiteX2" fmla="*/ 864096 w 972108"/>
              <a:gd name="connsiteY2" fmla="*/ 1512168 h 1512168"/>
              <a:gd name="connsiteX3" fmla="*/ 0 w 972108"/>
              <a:gd name="connsiteY3" fmla="*/ 1512168 h 1512168"/>
              <a:gd name="connsiteX4" fmla="*/ 185581 w 972108"/>
              <a:gd name="connsiteY4" fmla="*/ 765649 h 1512168"/>
              <a:gd name="connsiteX5" fmla="*/ 0 w 972108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8558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3899 w 864096"/>
              <a:gd name="connsiteY2" fmla="*/ 75436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577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8756 w 864096"/>
              <a:gd name="connsiteY5" fmla="*/ 756774 h 1512168"/>
              <a:gd name="connsiteX6" fmla="*/ 0 w 864096"/>
              <a:gd name="connsiteY6" fmla="*/ 0 h 1512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4096" h="1512168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sp>
        <p:nvSpPr>
          <p:cNvPr id="161" name="Rectangle 6">
            <a:extLst>
              <a:ext uri="{FF2B5EF4-FFF2-40B4-BE49-F238E27FC236}">
                <a16:creationId xmlns:a16="http://schemas.microsoft.com/office/drawing/2014/main" id="{B41CED6F-C859-4D8F-9589-DF43D650B90B}"/>
              </a:ext>
            </a:extLst>
          </p:cNvPr>
          <p:cNvSpPr/>
          <p:nvPr/>
        </p:nvSpPr>
        <p:spPr>
          <a:xfrm rot="17862954" flipH="1" flipV="1">
            <a:off x="6941633" y="3867372"/>
            <a:ext cx="923382" cy="1014421"/>
          </a:xfrm>
          <a:custGeom>
            <a:avLst/>
            <a:gdLst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0 w 864096"/>
              <a:gd name="connsiteY4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195 w 864096"/>
              <a:gd name="connsiteY4" fmla="*/ 761886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4795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4795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972108"/>
              <a:gd name="connsiteY0" fmla="*/ 0 h 1512168"/>
              <a:gd name="connsiteX1" fmla="*/ 864096 w 972108"/>
              <a:gd name="connsiteY1" fmla="*/ 0 h 1512168"/>
              <a:gd name="connsiteX2" fmla="*/ 864096 w 972108"/>
              <a:gd name="connsiteY2" fmla="*/ 1512168 h 1512168"/>
              <a:gd name="connsiteX3" fmla="*/ 0 w 972108"/>
              <a:gd name="connsiteY3" fmla="*/ 1512168 h 1512168"/>
              <a:gd name="connsiteX4" fmla="*/ 185581 w 972108"/>
              <a:gd name="connsiteY4" fmla="*/ 765649 h 1512168"/>
              <a:gd name="connsiteX5" fmla="*/ 0 w 972108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8558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3899 w 864096"/>
              <a:gd name="connsiteY2" fmla="*/ 75436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577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8756 w 864096"/>
              <a:gd name="connsiteY5" fmla="*/ 756774 h 1512168"/>
              <a:gd name="connsiteX6" fmla="*/ 0 w 864096"/>
              <a:gd name="connsiteY6" fmla="*/ 0 h 1512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4096" h="1512168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96F5234-FE62-4026-A024-4E88C9587D1F}"/>
              </a:ext>
            </a:extLst>
          </p:cNvPr>
          <p:cNvGrpSpPr/>
          <p:nvPr/>
        </p:nvGrpSpPr>
        <p:grpSpPr>
          <a:xfrm>
            <a:off x="6631076" y="1724699"/>
            <a:ext cx="1633344" cy="1496611"/>
            <a:chOff x="6631076" y="1724699"/>
            <a:chExt cx="1633344" cy="1496611"/>
          </a:xfrm>
        </p:grpSpPr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34656BF7-3D20-482F-BC12-77C85D2502CF}"/>
                </a:ext>
              </a:extLst>
            </p:cNvPr>
            <p:cNvSpPr/>
            <p:nvPr/>
          </p:nvSpPr>
          <p:spPr>
            <a:xfrm flipH="1">
              <a:off x="7141529" y="1724699"/>
              <a:ext cx="1122891" cy="112289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 dirty="0"/>
            </a:p>
          </p:txBody>
        </p:sp>
        <p:sp>
          <p:nvSpPr>
            <p:cNvPr id="162" name="Rectangle 6">
              <a:extLst>
                <a:ext uri="{FF2B5EF4-FFF2-40B4-BE49-F238E27FC236}">
                  <a16:creationId xmlns:a16="http://schemas.microsoft.com/office/drawing/2014/main" id="{E9069C9A-E292-4E9B-A070-42D662F2E971}"/>
                </a:ext>
              </a:extLst>
            </p:cNvPr>
            <p:cNvSpPr/>
            <p:nvPr/>
          </p:nvSpPr>
          <p:spPr>
            <a:xfrm rot="2959117" flipH="1">
              <a:off x="6676596" y="2252408"/>
              <a:ext cx="923382" cy="1014421"/>
            </a:xfrm>
            <a:custGeom>
              <a:avLst/>
              <a:gdLst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0 w 864096"/>
                <a:gd name="connsiteY4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195 w 864096"/>
                <a:gd name="connsiteY4" fmla="*/ 761886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47951 w 864096"/>
                <a:gd name="connsiteY4" fmla="*/ 765649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4795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972108"/>
                <a:gd name="connsiteY0" fmla="*/ 0 h 1512168"/>
                <a:gd name="connsiteX1" fmla="*/ 864096 w 972108"/>
                <a:gd name="connsiteY1" fmla="*/ 0 h 1512168"/>
                <a:gd name="connsiteX2" fmla="*/ 864096 w 972108"/>
                <a:gd name="connsiteY2" fmla="*/ 1512168 h 1512168"/>
                <a:gd name="connsiteX3" fmla="*/ 0 w 972108"/>
                <a:gd name="connsiteY3" fmla="*/ 1512168 h 1512168"/>
                <a:gd name="connsiteX4" fmla="*/ 185581 w 972108"/>
                <a:gd name="connsiteY4" fmla="*/ 765649 h 1512168"/>
                <a:gd name="connsiteX5" fmla="*/ 0 w 972108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85581 w 864096"/>
                <a:gd name="connsiteY4" fmla="*/ 765649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3899 w 864096"/>
                <a:gd name="connsiteY2" fmla="*/ 75436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4328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4328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02027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44725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02027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44725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4919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6763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4919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6763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577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71726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71726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97102 w 864096"/>
                <a:gd name="connsiteY5" fmla="*/ 7619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97102 w 864096"/>
                <a:gd name="connsiteY5" fmla="*/ 7619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21900 w 864096"/>
                <a:gd name="connsiteY5" fmla="*/ 7588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21900 w 864096"/>
                <a:gd name="connsiteY5" fmla="*/ 7588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4542 w 864096"/>
                <a:gd name="connsiteY5" fmla="*/ 756774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16560 w 864096"/>
                <a:gd name="connsiteY2" fmla="*/ 75454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4542 w 864096"/>
                <a:gd name="connsiteY5" fmla="*/ 756774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16560 w 864096"/>
                <a:gd name="connsiteY2" fmla="*/ 75454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8756 w 864096"/>
                <a:gd name="connsiteY5" fmla="*/ 756774 h 1512168"/>
                <a:gd name="connsiteX6" fmla="*/ 0 w 864096"/>
                <a:gd name="connsiteY6" fmla="*/ 0 h 151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4096" h="1512168">
                  <a:moveTo>
                    <a:pt x="0" y="0"/>
                  </a:moveTo>
                  <a:lnTo>
                    <a:pt x="864096" y="0"/>
                  </a:lnTo>
                  <a:cubicBezTo>
                    <a:pt x="864030" y="251453"/>
                    <a:pt x="516626" y="503088"/>
                    <a:pt x="516560" y="754541"/>
                  </a:cubicBezTo>
                  <a:cubicBezTo>
                    <a:pt x="516626" y="1007144"/>
                    <a:pt x="864030" y="1259565"/>
                    <a:pt x="864096" y="1512168"/>
                  </a:cubicBezTo>
                  <a:lnTo>
                    <a:pt x="0" y="1512168"/>
                  </a:lnTo>
                  <a:cubicBezTo>
                    <a:pt x="398" y="1262074"/>
                    <a:pt x="338358" y="1006868"/>
                    <a:pt x="338756" y="756774"/>
                  </a:cubicBezTo>
                  <a:cubicBezTo>
                    <a:pt x="338358" y="502812"/>
                    <a:pt x="398" y="253962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 dirty="0"/>
            </a:p>
          </p:txBody>
        </p:sp>
      </p:grpSp>
      <p:sp>
        <p:nvSpPr>
          <p:cNvPr id="167" name="Oval 166">
            <a:extLst>
              <a:ext uri="{FF2B5EF4-FFF2-40B4-BE49-F238E27FC236}">
                <a16:creationId xmlns:a16="http://schemas.microsoft.com/office/drawing/2014/main" id="{AC12983F-5223-40A1-9F26-D50D7B2A1377}"/>
              </a:ext>
            </a:extLst>
          </p:cNvPr>
          <p:cNvSpPr/>
          <p:nvPr/>
        </p:nvSpPr>
        <p:spPr>
          <a:xfrm>
            <a:off x="4902569" y="2547777"/>
            <a:ext cx="2410272" cy="2410272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464F9DA4-3D20-4F9A-BB42-544FF2C30A86}"/>
              </a:ext>
            </a:extLst>
          </p:cNvPr>
          <p:cNvSpPr/>
          <p:nvPr/>
        </p:nvSpPr>
        <p:spPr>
          <a:xfrm>
            <a:off x="5034874" y="2680082"/>
            <a:ext cx="2145663" cy="214566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14300" dir="4800000" algn="tl" rotWithShape="0">
              <a:prstClr val="black">
                <a:alpha val="2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3587F614-E465-4CC2-8519-FDFBAE6B8160}"/>
              </a:ext>
            </a:extLst>
          </p:cNvPr>
          <p:cNvGrpSpPr/>
          <p:nvPr/>
        </p:nvGrpSpPr>
        <p:grpSpPr>
          <a:xfrm>
            <a:off x="5783665" y="3250216"/>
            <a:ext cx="648080" cy="1005394"/>
            <a:chOff x="655638" y="2620963"/>
            <a:chExt cx="2009775" cy="311785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214" name="Freeform 5">
              <a:extLst>
                <a:ext uri="{FF2B5EF4-FFF2-40B4-BE49-F238E27FC236}">
                  <a16:creationId xmlns:a16="http://schemas.microsoft.com/office/drawing/2014/main" id="{4F549AD1-54E5-41CB-971B-AA341D2C79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075" y="3498850"/>
              <a:ext cx="1358900" cy="1362075"/>
            </a:xfrm>
            <a:custGeom>
              <a:avLst/>
              <a:gdLst>
                <a:gd name="T0" fmla="*/ 1030 w 1036"/>
                <a:gd name="T1" fmla="*/ 439 h 1040"/>
                <a:gd name="T2" fmla="*/ 979 w 1036"/>
                <a:gd name="T3" fmla="*/ 439 h 1040"/>
                <a:gd name="T4" fmla="*/ 936 w 1036"/>
                <a:gd name="T5" fmla="*/ 407 h 1040"/>
                <a:gd name="T6" fmla="*/ 894 w 1036"/>
                <a:gd name="T7" fmla="*/ 304 h 1040"/>
                <a:gd name="T8" fmla="*/ 901 w 1036"/>
                <a:gd name="T9" fmla="*/ 252 h 1040"/>
                <a:gd name="T10" fmla="*/ 937 w 1036"/>
                <a:gd name="T11" fmla="*/ 215 h 1040"/>
                <a:gd name="T12" fmla="*/ 823 w 1036"/>
                <a:gd name="T13" fmla="*/ 101 h 1040"/>
                <a:gd name="T14" fmla="*/ 786 w 1036"/>
                <a:gd name="T15" fmla="*/ 137 h 1040"/>
                <a:gd name="T16" fmla="*/ 734 w 1036"/>
                <a:gd name="T17" fmla="*/ 144 h 1040"/>
                <a:gd name="T18" fmla="*/ 631 w 1036"/>
                <a:gd name="T19" fmla="*/ 102 h 1040"/>
                <a:gd name="T20" fmla="*/ 599 w 1036"/>
                <a:gd name="T21" fmla="*/ 59 h 1040"/>
                <a:gd name="T22" fmla="*/ 599 w 1036"/>
                <a:gd name="T23" fmla="*/ 8 h 1040"/>
                <a:gd name="T24" fmla="*/ 437 w 1036"/>
                <a:gd name="T25" fmla="*/ 8 h 1040"/>
                <a:gd name="T26" fmla="*/ 437 w 1036"/>
                <a:gd name="T27" fmla="*/ 59 h 1040"/>
                <a:gd name="T28" fmla="*/ 405 w 1036"/>
                <a:gd name="T29" fmla="*/ 102 h 1040"/>
                <a:gd name="T30" fmla="*/ 302 w 1036"/>
                <a:gd name="T31" fmla="*/ 144 h 1040"/>
                <a:gd name="T32" fmla="*/ 249 w 1036"/>
                <a:gd name="T33" fmla="*/ 137 h 1040"/>
                <a:gd name="T34" fmla="*/ 213 w 1036"/>
                <a:gd name="T35" fmla="*/ 101 h 1040"/>
                <a:gd name="T36" fmla="*/ 99 w 1036"/>
                <a:gd name="T37" fmla="*/ 215 h 1040"/>
                <a:gd name="T38" fmla="*/ 135 w 1036"/>
                <a:gd name="T39" fmla="*/ 251 h 1040"/>
                <a:gd name="T40" fmla="*/ 142 w 1036"/>
                <a:gd name="T41" fmla="*/ 304 h 1040"/>
                <a:gd name="T42" fmla="*/ 100 w 1036"/>
                <a:gd name="T43" fmla="*/ 407 h 1040"/>
                <a:gd name="T44" fmla="*/ 57 w 1036"/>
                <a:gd name="T45" fmla="*/ 439 h 1040"/>
                <a:gd name="T46" fmla="*/ 6 w 1036"/>
                <a:gd name="T47" fmla="*/ 439 h 1040"/>
                <a:gd name="T48" fmla="*/ 0 w 1036"/>
                <a:gd name="T49" fmla="*/ 520 h 1040"/>
                <a:gd name="T50" fmla="*/ 6 w 1036"/>
                <a:gd name="T51" fmla="*/ 601 h 1040"/>
                <a:gd name="T52" fmla="*/ 57 w 1036"/>
                <a:gd name="T53" fmla="*/ 601 h 1040"/>
                <a:gd name="T54" fmla="*/ 100 w 1036"/>
                <a:gd name="T55" fmla="*/ 633 h 1040"/>
                <a:gd name="T56" fmla="*/ 142 w 1036"/>
                <a:gd name="T57" fmla="*/ 736 h 1040"/>
                <a:gd name="T58" fmla="*/ 135 w 1036"/>
                <a:gd name="T59" fmla="*/ 789 h 1040"/>
                <a:gd name="T60" fmla="*/ 99 w 1036"/>
                <a:gd name="T61" fmla="*/ 825 h 1040"/>
                <a:gd name="T62" fmla="*/ 213 w 1036"/>
                <a:gd name="T63" fmla="*/ 939 h 1040"/>
                <a:gd name="T64" fmla="*/ 249 w 1036"/>
                <a:gd name="T65" fmla="*/ 903 h 1040"/>
                <a:gd name="T66" fmla="*/ 302 w 1036"/>
                <a:gd name="T67" fmla="*/ 896 h 1040"/>
                <a:gd name="T68" fmla="*/ 405 w 1036"/>
                <a:gd name="T69" fmla="*/ 938 h 1040"/>
                <a:gd name="T70" fmla="*/ 437 w 1036"/>
                <a:gd name="T71" fmla="*/ 981 h 1040"/>
                <a:gd name="T72" fmla="*/ 437 w 1036"/>
                <a:gd name="T73" fmla="*/ 1032 h 1040"/>
                <a:gd name="T74" fmla="*/ 599 w 1036"/>
                <a:gd name="T75" fmla="*/ 1032 h 1040"/>
                <a:gd name="T76" fmla="*/ 599 w 1036"/>
                <a:gd name="T77" fmla="*/ 981 h 1040"/>
                <a:gd name="T78" fmla="*/ 631 w 1036"/>
                <a:gd name="T79" fmla="*/ 938 h 1040"/>
                <a:gd name="T80" fmla="*/ 734 w 1036"/>
                <a:gd name="T81" fmla="*/ 896 h 1040"/>
                <a:gd name="T82" fmla="*/ 786 w 1036"/>
                <a:gd name="T83" fmla="*/ 903 h 1040"/>
                <a:gd name="T84" fmla="*/ 823 w 1036"/>
                <a:gd name="T85" fmla="*/ 939 h 1040"/>
                <a:gd name="T86" fmla="*/ 937 w 1036"/>
                <a:gd name="T87" fmla="*/ 825 h 1040"/>
                <a:gd name="T88" fmla="*/ 901 w 1036"/>
                <a:gd name="T89" fmla="*/ 788 h 1040"/>
                <a:gd name="T90" fmla="*/ 894 w 1036"/>
                <a:gd name="T91" fmla="*/ 736 h 1040"/>
                <a:gd name="T92" fmla="*/ 936 w 1036"/>
                <a:gd name="T93" fmla="*/ 633 h 1040"/>
                <a:gd name="T94" fmla="*/ 979 w 1036"/>
                <a:gd name="T95" fmla="*/ 601 h 1040"/>
                <a:gd name="T96" fmla="*/ 1030 w 1036"/>
                <a:gd name="T97" fmla="*/ 601 h 1040"/>
                <a:gd name="T98" fmla="*/ 1036 w 1036"/>
                <a:gd name="T99" fmla="*/ 520 h 1040"/>
                <a:gd name="T100" fmla="*/ 1030 w 1036"/>
                <a:gd name="T101" fmla="*/ 439 h 1040"/>
                <a:gd name="T102" fmla="*/ 518 w 1036"/>
                <a:gd name="T103" fmla="*/ 746 h 1040"/>
                <a:gd name="T104" fmla="*/ 292 w 1036"/>
                <a:gd name="T105" fmla="*/ 520 h 1040"/>
                <a:gd name="T106" fmla="*/ 518 w 1036"/>
                <a:gd name="T107" fmla="*/ 294 h 1040"/>
                <a:gd name="T108" fmla="*/ 744 w 1036"/>
                <a:gd name="T109" fmla="*/ 520 h 1040"/>
                <a:gd name="T110" fmla="*/ 518 w 1036"/>
                <a:gd name="T111" fmla="*/ 746 h 1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6" h="1040">
                  <a:moveTo>
                    <a:pt x="1030" y="439"/>
                  </a:moveTo>
                  <a:cubicBezTo>
                    <a:pt x="979" y="439"/>
                    <a:pt x="979" y="439"/>
                    <a:pt x="979" y="439"/>
                  </a:cubicBezTo>
                  <a:cubicBezTo>
                    <a:pt x="959" y="439"/>
                    <a:pt x="942" y="426"/>
                    <a:pt x="936" y="407"/>
                  </a:cubicBezTo>
                  <a:cubicBezTo>
                    <a:pt x="927" y="371"/>
                    <a:pt x="912" y="337"/>
                    <a:pt x="894" y="304"/>
                  </a:cubicBezTo>
                  <a:cubicBezTo>
                    <a:pt x="884" y="287"/>
                    <a:pt x="887" y="266"/>
                    <a:pt x="901" y="252"/>
                  </a:cubicBezTo>
                  <a:cubicBezTo>
                    <a:pt x="937" y="215"/>
                    <a:pt x="937" y="215"/>
                    <a:pt x="937" y="215"/>
                  </a:cubicBezTo>
                  <a:cubicBezTo>
                    <a:pt x="905" y="171"/>
                    <a:pt x="867" y="133"/>
                    <a:pt x="823" y="101"/>
                  </a:cubicBezTo>
                  <a:cubicBezTo>
                    <a:pt x="786" y="137"/>
                    <a:pt x="786" y="137"/>
                    <a:pt x="786" y="137"/>
                  </a:cubicBezTo>
                  <a:cubicBezTo>
                    <a:pt x="772" y="151"/>
                    <a:pt x="751" y="154"/>
                    <a:pt x="734" y="144"/>
                  </a:cubicBezTo>
                  <a:cubicBezTo>
                    <a:pt x="701" y="126"/>
                    <a:pt x="667" y="111"/>
                    <a:pt x="631" y="102"/>
                  </a:cubicBezTo>
                  <a:cubicBezTo>
                    <a:pt x="612" y="96"/>
                    <a:pt x="599" y="79"/>
                    <a:pt x="599" y="59"/>
                  </a:cubicBezTo>
                  <a:cubicBezTo>
                    <a:pt x="599" y="8"/>
                    <a:pt x="599" y="8"/>
                    <a:pt x="599" y="8"/>
                  </a:cubicBezTo>
                  <a:cubicBezTo>
                    <a:pt x="546" y="0"/>
                    <a:pt x="490" y="0"/>
                    <a:pt x="437" y="8"/>
                  </a:cubicBezTo>
                  <a:cubicBezTo>
                    <a:pt x="437" y="59"/>
                    <a:pt x="437" y="59"/>
                    <a:pt x="437" y="59"/>
                  </a:cubicBezTo>
                  <a:cubicBezTo>
                    <a:pt x="437" y="79"/>
                    <a:pt x="424" y="96"/>
                    <a:pt x="405" y="102"/>
                  </a:cubicBezTo>
                  <a:cubicBezTo>
                    <a:pt x="369" y="111"/>
                    <a:pt x="335" y="126"/>
                    <a:pt x="302" y="144"/>
                  </a:cubicBezTo>
                  <a:cubicBezTo>
                    <a:pt x="285" y="154"/>
                    <a:pt x="264" y="151"/>
                    <a:pt x="249" y="137"/>
                  </a:cubicBezTo>
                  <a:cubicBezTo>
                    <a:pt x="213" y="101"/>
                    <a:pt x="213" y="101"/>
                    <a:pt x="213" y="101"/>
                  </a:cubicBezTo>
                  <a:cubicBezTo>
                    <a:pt x="169" y="133"/>
                    <a:pt x="131" y="171"/>
                    <a:pt x="99" y="215"/>
                  </a:cubicBezTo>
                  <a:cubicBezTo>
                    <a:pt x="135" y="251"/>
                    <a:pt x="135" y="251"/>
                    <a:pt x="135" y="251"/>
                  </a:cubicBezTo>
                  <a:cubicBezTo>
                    <a:pt x="149" y="266"/>
                    <a:pt x="152" y="287"/>
                    <a:pt x="142" y="304"/>
                  </a:cubicBezTo>
                  <a:cubicBezTo>
                    <a:pt x="124" y="337"/>
                    <a:pt x="109" y="371"/>
                    <a:pt x="100" y="407"/>
                  </a:cubicBezTo>
                  <a:cubicBezTo>
                    <a:pt x="94" y="426"/>
                    <a:pt x="77" y="439"/>
                    <a:pt x="57" y="439"/>
                  </a:cubicBezTo>
                  <a:cubicBezTo>
                    <a:pt x="6" y="439"/>
                    <a:pt x="6" y="439"/>
                    <a:pt x="6" y="439"/>
                  </a:cubicBezTo>
                  <a:cubicBezTo>
                    <a:pt x="2" y="466"/>
                    <a:pt x="0" y="493"/>
                    <a:pt x="0" y="520"/>
                  </a:cubicBezTo>
                  <a:cubicBezTo>
                    <a:pt x="0" y="547"/>
                    <a:pt x="2" y="574"/>
                    <a:pt x="6" y="601"/>
                  </a:cubicBezTo>
                  <a:cubicBezTo>
                    <a:pt x="57" y="601"/>
                    <a:pt x="57" y="601"/>
                    <a:pt x="57" y="601"/>
                  </a:cubicBezTo>
                  <a:cubicBezTo>
                    <a:pt x="77" y="601"/>
                    <a:pt x="94" y="614"/>
                    <a:pt x="100" y="633"/>
                  </a:cubicBezTo>
                  <a:cubicBezTo>
                    <a:pt x="109" y="669"/>
                    <a:pt x="124" y="703"/>
                    <a:pt x="142" y="736"/>
                  </a:cubicBezTo>
                  <a:cubicBezTo>
                    <a:pt x="152" y="753"/>
                    <a:pt x="149" y="774"/>
                    <a:pt x="135" y="789"/>
                  </a:cubicBezTo>
                  <a:cubicBezTo>
                    <a:pt x="99" y="825"/>
                    <a:pt x="99" y="825"/>
                    <a:pt x="99" y="825"/>
                  </a:cubicBezTo>
                  <a:cubicBezTo>
                    <a:pt x="131" y="868"/>
                    <a:pt x="169" y="907"/>
                    <a:pt x="213" y="939"/>
                  </a:cubicBezTo>
                  <a:cubicBezTo>
                    <a:pt x="249" y="903"/>
                    <a:pt x="249" y="903"/>
                    <a:pt x="249" y="903"/>
                  </a:cubicBezTo>
                  <a:cubicBezTo>
                    <a:pt x="264" y="889"/>
                    <a:pt x="285" y="886"/>
                    <a:pt x="302" y="896"/>
                  </a:cubicBezTo>
                  <a:cubicBezTo>
                    <a:pt x="335" y="914"/>
                    <a:pt x="369" y="929"/>
                    <a:pt x="405" y="938"/>
                  </a:cubicBezTo>
                  <a:cubicBezTo>
                    <a:pt x="424" y="944"/>
                    <a:pt x="437" y="961"/>
                    <a:pt x="437" y="981"/>
                  </a:cubicBezTo>
                  <a:cubicBezTo>
                    <a:pt x="437" y="1032"/>
                    <a:pt x="437" y="1032"/>
                    <a:pt x="437" y="1032"/>
                  </a:cubicBezTo>
                  <a:cubicBezTo>
                    <a:pt x="490" y="1040"/>
                    <a:pt x="546" y="1040"/>
                    <a:pt x="599" y="1032"/>
                  </a:cubicBezTo>
                  <a:cubicBezTo>
                    <a:pt x="599" y="981"/>
                    <a:pt x="599" y="981"/>
                    <a:pt x="599" y="981"/>
                  </a:cubicBezTo>
                  <a:cubicBezTo>
                    <a:pt x="599" y="961"/>
                    <a:pt x="612" y="944"/>
                    <a:pt x="631" y="938"/>
                  </a:cubicBezTo>
                  <a:cubicBezTo>
                    <a:pt x="667" y="929"/>
                    <a:pt x="701" y="914"/>
                    <a:pt x="734" y="896"/>
                  </a:cubicBezTo>
                  <a:cubicBezTo>
                    <a:pt x="751" y="886"/>
                    <a:pt x="772" y="889"/>
                    <a:pt x="786" y="903"/>
                  </a:cubicBezTo>
                  <a:cubicBezTo>
                    <a:pt x="823" y="939"/>
                    <a:pt x="823" y="939"/>
                    <a:pt x="823" y="939"/>
                  </a:cubicBezTo>
                  <a:cubicBezTo>
                    <a:pt x="867" y="907"/>
                    <a:pt x="905" y="868"/>
                    <a:pt x="937" y="825"/>
                  </a:cubicBezTo>
                  <a:cubicBezTo>
                    <a:pt x="901" y="788"/>
                    <a:pt x="901" y="788"/>
                    <a:pt x="901" y="788"/>
                  </a:cubicBezTo>
                  <a:cubicBezTo>
                    <a:pt x="887" y="774"/>
                    <a:pt x="884" y="753"/>
                    <a:pt x="894" y="736"/>
                  </a:cubicBezTo>
                  <a:cubicBezTo>
                    <a:pt x="912" y="703"/>
                    <a:pt x="927" y="669"/>
                    <a:pt x="936" y="633"/>
                  </a:cubicBezTo>
                  <a:cubicBezTo>
                    <a:pt x="942" y="614"/>
                    <a:pt x="959" y="601"/>
                    <a:pt x="979" y="601"/>
                  </a:cubicBezTo>
                  <a:cubicBezTo>
                    <a:pt x="1030" y="601"/>
                    <a:pt x="1030" y="601"/>
                    <a:pt x="1030" y="601"/>
                  </a:cubicBezTo>
                  <a:cubicBezTo>
                    <a:pt x="1034" y="574"/>
                    <a:pt x="1036" y="547"/>
                    <a:pt x="1036" y="520"/>
                  </a:cubicBezTo>
                  <a:cubicBezTo>
                    <a:pt x="1036" y="493"/>
                    <a:pt x="1034" y="466"/>
                    <a:pt x="1030" y="439"/>
                  </a:cubicBezTo>
                  <a:close/>
                  <a:moveTo>
                    <a:pt x="518" y="746"/>
                  </a:moveTo>
                  <a:cubicBezTo>
                    <a:pt x="393" y="746"/>
                    <a:pt x="292" y="644"/>
                    <a:pt x="292" y="520"/>
                  </a:cubicBezTo>
                  <a:cubicBezTo>
                    <a:pt x="292" y="396"/>
                    <a:pt x="393" y="294"/>
                    <a:pt x="518" y="294"/>
                  </a:cubicBezTo>
                  <a:cubicBezTo>
                    <a:pt x="642" y="294"/>
                    <a:pt x="744" y="396"/>
                    <a:pt x="744" y="520"/>
                  </a:cubicBezTo>
                  <a:cubicBezTo>
                    <a:pt x="744" y="644"/>
                    <a:pt x="642" y="746"/>
                    <a:pt x="518" y="746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5" name="Freeform 6">
              <a:extLst>
                <a:ext uri="{FF2B5EF4-FFF2-40B4-BE49-F238E27FC236}">
                  <a16:creationId xmlns:a16="http://schemas.microsoft.com/office/drawing/2014/main" id="{FFCE3800-2B7A-4FD1-9549-636086FEA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75" y="2692400"/>
              <a:ext cx="1858964" cy="463550"/>
            </a:xfrm>
            <a:custGeom>
              <a:avLst/>
              <a:gdLst>
                <a:gd name="T0" fmla="*/ 0 w 1418"/>
                <a:gd name="T1" fmla="*/ 346 h 354"/>
                <a:gd name="T2" fmla="*/ 0 w 1418"/>
                <a:gd name="T3" fmla="*/ 80 h 354"/>
                <a:gd name="T4" fmla="*/ 80 w 1418"/>
                <a:gd name="T5" fmla="*/ 0 h 354"/>
                <a:gd name="T6" fmla="*/ 1338 w 1418"/>
                <a:gd name="T7" fmla="*/ 0 h 354"/>
                <a:gd name="T8" fmla="*/ 1418 w 1418"/>
                <a:gd name="T9" fmla="*/ 80 h 354"/>
                <a:gd name="T10" fmla="*/ 1418 w 1418"/>
                <a:gd name="T11" fmla="*/ 354 h 354"/>
                <a:gd name="T12" fmla="*/ 0 w 1418"/>
                <a:gd name="T13" fmla="*/ 346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8" h="354">
                  <a:moveTo>
                    <a:pt x="0" y="346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338" y="0"/>
                    <a:pt x="1338" y="0"/>
                    <a:pt x="1338" y="0"/>
                  </a:cubicBezTo>
                  <a:cubicBezTo>
                    <a:pt x="1382" y="0"/>
                    <a:pt x="1418" y="36"/>
                    <a:pt x="1418" y="80"/>
                  </a:cubicBezTo>
                  <a:cubicBezTo>
                    <a:pt x="1418" y="354"/>
                    <a:pt x="1418" y="354"/>
                    <a:pt x="1418" y="354"/>
                  </a:cubicBezTo>
                  <a:lnTo>
                    <a:pt x="0" y="3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6" name="Freeform 7">
              <a:extLst>
                <a:ext uri="{FF2B5EF4-FFF2-40B4-BE49-F238E27FC236}">
                  <a16:creationId xmlns:a16="http://schemas.microsoft.com/office/drawing/2014/main" id="{5A87BC95-E4F6-415C-A73F-3069A1621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75" y="5195888"/>
              <a:ext cx="1858963" cy="463550"/>
            </a:xfrm>
            <a:custGeom>
              <a:avLst/>
              <a:gdLst>
                <a:gd name="T0" fmla="*/ 0 w 1418"/>
                <a:gd name="T1" fmla="*/ 8 h 354"/>
                <a:gd name="T2" fmla="*/ 0 w 1418"/>
                <a:gd name="T3" fmla="*/ 274 h 354"/>
                <a:gd name="T4" fmla="*/ 80 w 1418"/>
                <a:gd name="T5" fmla="*/ 354 h 354"/>
                <a:gd name="T6" fmla="*/ 1338 w 1418"/>
                <a:gd name="T7" fmla="*/ 354 h 354"/>
                <a:gd name="T8" fmla="*/ 1418 w 1418"/>
                <a:gd name="T9" fmla="*/ 274 h 354"/>
                <a:gd name="T10" fmla="*/ 1418 w 1418"/>
                <a:gd name="T11" fmla="*/ 0 h 354"/>
                <a:gd name="T12" fmla="*/ 0 w 1418"/>
                <a:gd name="T13" fmla="*/ 8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8" h="354">
                  <a:moveTo>
                    <a:pt x="0" y="8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318"/>
                    <a:pt x="36" y="354"/>
                    <a:pt x="80" y="354"/>
                  </a:cubicBezTo>
                  <a:cubicBezTo>
                    <a:pt x="1338" y="354"/>
                    <a:pt x="1338" y="354"/>
                    <a:pt x="1338" y="354"/>
                  </a:cubicBezTo>
                  <a:cubicBezTo>
                    <a:pt x="1382" y="354"/>
                    <a:pt x="1418" y="318"/>
                    <a:pt x="1418" y="274"/>
                  </a:cubicBezTo>
                  <a:cubicBezTo>
                    <a:pt x="1418" y="0"/>
                    <a:pt x="1418" y="0"/>
                    <a:pt x="1418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7" name="Freeform 8">
              <a:extLst>
                <a:ext uri="{FF2B5EF4-FFF2-40B4-BE49-F238E27FC236}">
                  <a16:creationId xmlns:a16="http://schemas.microsoft.com/office/drawing/2014/main" id="{3FDFBA81-214D-4BDE-B132-6C2BE2CE4D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638" y="2620963"/>
              <a:ext cx="2009775" cy="3117850"/>
            </a:xfrm>
            <a:custGeom>
              <a:avLst/>
              <a:gdLst>
                <a:gd name="T0" fmla="*/ 1532 w 1532"/>
                <a:gd name="T1" fmla="*/ 201 h 2382"/>
                <a:gd name="T2" fmla="*/ 1532 w 1532"/>
                <a:gd name="T3" fmla="*/ 2181 h 2382"/>
                <a:gd name="T4" fmla="*/ 1331 w 1532"/>
                <a:gd name="T5" fmla="*/ 2382 h 2382"/>
                <a:gd name="T6" fmla="*/ 201 w 1532"/>
                <a:gd name="T7" fmla="*/ 2382 h 2382"/>
                <a:gd name="T8" fmla="*/ 0 w 1532"/>
                <a:gd name="T9" fmla="*/ 2181 h 2382"/>
                <a:gd name="T10" fmla="*/ 0 w 1532"/>
                <a:gd name="T11" fmla="*/ 201 h 2382"/>
                <a:gd name="T12" fmla="*/ 201 w 1532"/>
                <a:gd name="T13" fmla="*/ 0 h 2382"/>
                <a:gd name="T14" fmla="*/ 1331 w 1532"/>
                <a:gd name="T15" fmla="*/ 0 h 2382"/>
                <a:gd name="T16" fmla="*/ 1532 w 1532"/>
                <a:gd name="T17" fmla="*/ 201 h 2382"/>
                <a:gd name="T18" fmla="*/ 1451 w 1532"/>
                <a:gd name="T19" fmla="*/ 2181 h 2382"/>
                <a:gd name="T20" fmla="*/ 1451 w 1532"/>
                <a:gd name="T21" fmla="*/ 2016 h 2382"/>
                <a:gd name="T22" fmla="*/ 81 w 1532"/>
                <a:gd name="T23" fmla="*/ 2016 h 2382"/>
                <a:gd name="T24" fmla="*/ 81 w 1532"/>
                <a:gd name="T25" fmla="*/ 2181 h 2382"/>
                <a:gd name="T26" fmla="*/ 201 w 1532"/>
                <a:gd name="T27" fmla="*/ 2301 h 2382"/>
                <a:gd name="T28" fmla="*/ 1331 w 1532"/>
                <a:gd name="T29" fmla="*/ 2301 h 2382"/>
                <a:gd name="T30" fmla="*/ 1451 w 1532"/>
                <a:gd name="T31" fmla="*/ 2181 h 2382"/>
                <a:gd name="T32" fmla="*/ 1451 w 1532"/>
                <a:gd name="T33" fmla="*/ 1935 h 2382"/>
                <a:gd name="T34" fmla="*/ 1451 w 1532"/>
                <a:gd name="T35" fmla="*/ 447 h 2382"/>
                <a:gd name="T36" fmla="*/ 81 w 1532"/>
                <a:gd name="T37" fmla="*/ 447 h 2382"/>
                <a:gd name="T38" fmla="*/ 81 w 1532"/>
                <a:gd name="T39" fmla="*/ 1935 h 2382"/>
                <a:gd name="T40" fmla="*/ 1451 w 1532"/>
                <a:gd name="T41" fmla="*/ 1935 h 2382"/>
                <a:gd name="T42" fmla="*/ 1451 w 1532"/>
                <a:gd name="T43" fmla="*/ 366 h 2382"/>
                <a:gd name="T44" fmla="*/ 1451 w 1532"/>
                <a:gd name="T45" fmla="*/ 201 h 2382"/>
                <a:gd name="T46" fmla="*/ 1331 w 1532"/>
                <a:gd name="T47" fmla="*/ 81 h 2382"/>
                <a:gd name="T48" fmla="*/ 201 w 1532"/>
                <a:gd name="T49" fmla="*/ 81 h 2382"/>
                <a:gd name="T50" fmla="*/ 81 w 1532"/>
                <a:gd name="T51" fmla="*/ 201 h 2382"/>
                <a:gd name="T52" fmla="*/ 81 w 1532"/>
                <a:gd name="T53" fmla="*/ 366 h 2382"/>
                <a:gd name="T54" fmla="*/ 1451 w 1532"/>
                <a:gd name="T55" fmla="*/ 366 h 2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32" h="2382">
                  <a:moveTo>
                    <a:pt x="1532" y="201"/>
                  </a:moveTo>
                  <a:cubicBezTo>
                    <a:pt x="1532" y="2181"/>
                    <a:pt x="1532" y="2181"/>
                    <a:pt x="1532" y="2181"/>
                  </a:cubicBezTo>
                  <a:cubicBezTo>
                    <a:pt x="1532" y="2291"/>
                    <a:pt x="1442" y="2382"/>
                    <a:pt x="1331" y="2382"/>
                  </a:cubicBezTo>
                  <a:cubicBezTo>
                    <a:pt x="201" y="2382"/>
                    <a:pt x="201" y="2382"/>
                    <a:pt x="201" y="2382"/>
                  </a:cubicBezTo>
                  <a:cubicBezTo>
                    <a:pt x="90" y="2382"/>
                    <a:pt x="0" y="2291"/>
                    <a:pt x="0" y="218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91"/>
                    <a:pt x="90" y="0"/>
                    <a:pt x="201" y="0"/>
                  </a:cubicBezTo>
                  <a:cubicBezTo>
                    <a:pt x="1331" y="0"/>
                    <a:pt x="1331" y="0"/>
                    <a:pt x="1331" y="0"/>
                  </a:cubicBezTo>
                  <a:cubicBezTo>
                    <a:pt x="1442" y="0"/>
                    <a:pt x="1532" y="91"/>
                    <a:pt x="1532" y="201"/>
                  </a:cubicBezTo>
                  <a:close/>
                  <a:moveTo>
                    <a:pt x="1451" y="2181"/>
                  </a:moveTo>
                  <a:cubicBezTo>
                    <a:pt x="1451" y="2016"/>
                    <a:pt x="1451" y="2016"/>
                    <a:pt x="1451" y="2016"/>
                  </a:cubicBezTo>
                  <a:cubicBezTo>
                    <a:pt x="81" y="2016"/>
                    <a:pt x="81" y="2016"/>
                    <a:pt x="81" y="2016"/>
                  </a:cubicBezTo>
                  <a:cubicBezTo>
                    <a:pt x="81" y="2181"/>
                    <a:pt x="81" y="2181"/>
                    <a:pt x="81" y="2181"/>
                  </a:cubicBezTo>
                  <a:cubicBezTo>
                    <a:pt x="81" y="2247"/>
                    <a:pt x="135" y="2301"/>
                    <a:pt x="201" y="2301"/>
                  </a:cubicBezTo>
                  <a:cubicBezTo>
                    <a:pt x="1331" y="2301"/>
                    <a:pt x="1331" y="2301"/>
                    <a:pt x="1331" y="2301"/>
                  </a:cubicBezTo>
                  <a:cubicBezTo>
                    <a:pt x="1397" y="2301"/>
                    <a:pt x="1451" y="2247"/>
                    <a:pt x="1451" y="2181"/>
                  </a:cubicBezTo>
                  <a:close/>
                  <a:moveTo>
                    <a:pt x="1451" y="1935"/>
                  </a:moveTo>
                  <a:cubicBezTo>
                    <a:pt x="1451" y="447"/>
                    <a:pt x="1451" y="447"/>
                    <a:pt x="1451" y="447"/>
                  </a:cubicBezTo>
                  <a:cubicBezTo>
                    <a:pt x="81" y="447"/>
                    <a:pt x="81" y="447"/>
                    <a:pt x="81" y="447"/>
                  </a:cubicBezTo>
                  <a:cubicBezTo>
                    <a:pt x="81" y="1935"/>
                    <a:pt x="81" y="1935"/>
                    <a:pt x="81" y="1935"/>
                  </a:cubicBezTo>
                  <a:lnTo>
                    <a:pt x="1451" y="1935"/>
                  </a:lnTo>
                  <a:close/>
                  <a:moveTo>
                    <a:pt x="1451" y="366"/>
                  </a:moveTo>
                  <a:cubicBezTo>
                    <a:pt x="1451" y="201"/>
                    <a:pt x="1451" y="201"/>
                    <a:pt x="1451" y="201"/>
                  </a:cubicBezTo>
                  <a:cubicBezTo>
                    <a:pt x="1451" y="135"/>
                    <a:pt x="1397" y="81"/>
                    <a:pt x="1331" y="81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135" y="81"/>
                    <a:pt x="81" y="135"/>
                    <a:pt x="81" y="201"/>
                  </a:cubicBezTo>
                  <a:cubicBezTo>
                    <a:pt x="81" y="366"/>
                    <a:pt x="81" y="366"/>
                    <a:pt x="81" y="366"/>
                  </a:cubicBezTo>
                  <a:lnTo>
                    <a:pt x="1451" y="3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8" name="Freeform 9">
              <a:extLst>
                <a:ext uri="{FF2B5EF4-FFF2-40B4-BE49-F238E27FC236}">
                  <a16:creationId xmlns:a16="http://schemas.microsoft.com/office/drawing/2014/main" id="{48945286-D005-4457-8C3A-753181F55D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0275" y="3444875"/>
              <a:ext cx="1458913" cy="1462088"/>
            </a:xfrm>
            <a:custGeom>
              <a:avLst/>
              <a:gdLst>
                <a:gd name="T0" fmla="*/ 1112 w 1112"/>
                <a:gd name="T1" fmla="*/ 561 h 1117"/>
                <a:gd name="T2" fmla="*/ 1059 w 1112"/>
                <a:gd name="T3" fmla="*/ 716 h 1117"/>
                <a:gd name="T4" fmla="*/ 986 w 1112"/>
                <a:gd name="T5" fmla="*/ 771 h 1117"/>
                <a:gd name="T6" fmla="*/ 1027 w 1112"/>
                <a:gd name="T7" fmla="*/ 857 h 1117"/>
                <a:gd name="T8" fmla="*/ 802 w 1112"/>
                <a:gd name="T9" fmla="*/ 1026 h 1117"/>
                <a:gd name="T10" fmla="*/ 711 w 1112"/>
                <a:gd name="T11" fmla="*/ 1014 h 1117"/>
                <a:gd name="T12" fmla="*/ 680 w 1112"/>
                <a:gd name="T13" fmla="*/ 1103 h 1117"/>
                <a:gd name="T14" fmla="*/ 432 w 1112"/>
                <a:gd name="T15" fmla="*/ 1103 h 1117"/>
                <a:gd name="T16" fmla="*/ 401 w 1112"/>
                <a:gd name="T17" fmla="*/ 1014 h 1117"/>
                <a:gd name="T18" fmla="*/ 310 w 1112"/>
                <a:gd name="T19" fmla="*/ 1026 h 1117"/>
                <a:gd name="T20" fmla="*/ 85 w 1112"/>
                <a:gd name="T21" fmla="*/ 857 h 1117"/>
                <a:gd name="T22" fmla="*/ 126 w 1112"/>
                <a:gd name="T23" fmla="*/ 772 h 1117"/>
                <a:gd name="T24" fmla="*/ 53 w 1112"/>
                <a:gd name="T25" fmla="*/ 716 h 1117"/>
                <a:gd name="T26" fmla="*/ 0 w 1112"/>
                <a:gd name="T27" fmla="*/ 561 h 1117"/>
                <a:gd name="T28" fmla="*/ 53 w 1112"/>
                <a:gd name="T29" fmla="*/ 406 h 1117"/>
                <a:gd name="T30" fmla="*/ 126 w 1112"/>
                <a:gd name="T31" fmla="*/ 351 h 1117"/>
                <a:gd name="T32" fmla="*/ 85 w 1112"/>
                <a:gd name="T33" fmla="*/ 265 h 1117"/>
                <a:gd name="T34" fmla="*/ 310 w 1112"/>
                <a:gd name="T35" fmla="*/ 96 h 1117"/>
                <a:gd name="T36" fmla="*/ 401 w 1112"/>
                <a:gd name="T37" fmla="*/ 108 h 1117"/>
                <a:gd name="T38" fmla="*/ 432 w 1112"/>
                <a:gd name="T39" fmla="*/ 19 h 1117"/>
                <a:gd name="T40" fmla="*/ 711 w 1112"/>
                <a:gd name="T41" fmla="*/ 58 h 1117"/>
                <a:gd name="T42" fmla="*/ 766 w 1112"/>
                <a:gd name="T43" fmla="*/ 131 h 1117"/>
                <a:gd name="T44" fmla="*/ 852 w 1112"/>
                <a:gd name="T45" fmla="*/ 90 h 1117"/>
                <a:gd name="T46" fmla="*/ 1021 w 1112"/>
                <a:gd name="T47" fmla="*/ 315 h 1117"/>
                <a:gd name="T48" fmla="*/ 1009 w 1112"/>
                <a:gd name="T49" fmla="*/ 406 h 1117"/>
                <a:gd name="T50" fmla="*/ 1099 w 1112"/>
                <a:gd name="T51" fmla="*/ 437 h 1117"/>
                <a:gd name="T52" fmla="*/ 1026 w 1112"/>
                <a:gd name="T53" fmla="*/ 487 h 1117"/>
                <a:gd name="T54" fmla="*/ 940 w 1112"/>
                <a:gd name="T55" fmla="*/ 457 h 1117"/>
                <a:gd name="T56" fmla="*/ 907 w 1112"/>
                <a:gd name="T57" fmla="*/ 315 h 1117"/>
                <a:gd name="T58" fmla="*/ 836 w 1112"/>
                <a:gd name="T59" fmla="*/ 176 h 1117"/>
                <a:gd name="T60" fmla="*/ 754 w 1112"/>
                <a:gd name="T61" fmla="*/ 216 h 1117"/>
                <a:gd name="T62" fmla="*/ 630 w 1112"/>
                <a:gd name="T63" fmla="*/ 138 h 1117"/>
                <a:gd name="T64" fmla="*/ 482 w 1112"/>
                <a:gd name="T65" fmla="*/ 91 h 1117"/>
                <a:gd name="T66" fmla="*/ 452 w 1112"/>
                <a:gd name="T67" fmla="*/ 177 h 1117"/>
                <a:gd name="T68" fmla="*/ 310 w 1112"/>
                <a:gd name="T69" fmla="*/ 210 h 1117"/>
                <a:gd name="T70" fmla="*/ 171 w 1112"/>
                <a:gd name="T71" fmla="*/ 281 h 1117"/>
                <a:gd name="T72" fmla="*/ 211 w 1112"/>
                <a:gd name="T73" fmla="*/ 363 h 1117"/>
                <a:gd name="T74" fmla="*/ 133 w 1112"/>
                <a:gd name="T75" fmla="*/ 487 h 1117"/>
                <a:gd name="T76" fmla="*/ 80 w 1112"/>
                <a:gd name="T77" fmla="*/ 561 h 1117"/>
                <a:gd name="T78" fmla="*/ 133 w 1112"/>
                <a:gd name="T79" fmla="*/ 635 h 1117"/>
                <a:gd name="T80" fmla="*/ 211 w 1112"/>
                <a:gd name="T81" fmla="*/ 759 h 1117"/>
                <a:gd name="T82" fmla="*/ 171 w 1112"/>
                <a:gd name="T83" fmla="*/ 841 h 1117"/>
                <a:gd name="T84" fmla="*/ 310 w 1112"/>
                <a:gd name="T85" fmla="*/ 913 h 1117"/>
                <a:gd name="T86" fmla="*/ 452 w 1112"/>
                <a:gd name="T87" fmla="*/ 945 h 1117"/>
                <a:gd name="T88" fmla="*/ 482 w 1112"/>
                <a:gd name="T89" fmla="*/ 1031 h 1117"/>
                <a:gd name="T90" fmla="*/ 630 w 1112"/>
                <a:gd name="T91" fmla="*/ 984 h 1117"/>
                <a:gd name="T92" fmla="*/ 754 w 1112"/>
                <a:gd name="T93" fmla="*/ 906 h 1117"/>
                <a:gd name="T94" fmla="*/ 836 w 1112"/>
                <a:gd name="T95" fmla="*/ 946 h 1117"/>
                <a:gd name="T96" fmla="*/ 907 w 1112"/>
                <a:gd name="T97" fmla="*/ 807 h 1117"/>
                <a:gd name="T98" fmla="*/ 940 w 1112"/>
                <a:gd name="T99" fmla="*/ 665 h 1117"/>
                <a:gd name="T100" fmla="*/ 1026 w 1112"/>
                <a:gd name="T101" fmla="*/ 635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12" h="1117">
                  <a:moveTo>
                    <a:pt x="1099" y="437"/>
                  </a:moveTo>
                  <a:cubicBezTo>
                    <a:pt x="1108" y="478"/>
                    <a:pt x="1112" y="519"/>
                    <a:pt x="1112" y="561"/>
                  </a:cubicBezTo>
                  <a:cubicBezTo>
                    <a:pt x="1112" y="603"/>
                    <a:pt x="1108" y="644"/>
                    <a:pt x="1099" y="685"/>
                  </a:cubicBezTo>
                  <a:cubicBezTo>
                    <a:pt x="1094" y="703"/>
                    <a:pt x="1078" y="716"/>
                    <a:pt x="1059" y="716"/>
                  </a:cubicBezTo>
                  <a:cubicBezTo>
                    <a:pt x="1009" y="716"/>
                    <a:pt x="1009" y="716"/>
                    <a:pt x="1009" y="716"/>
                  </a:cubicBezTo>
                  <a:cubicBezTo>
                    <a:pt x="1002" y="735"/>
                    <a:pt x="994" y="753"/>
                    <a:pt x="986" y="771"/>
                  </a:cubicBezTo>
                  <a:cubicBezTo>
                    <a:pt x="1021" y="807"/>
                    <a:pt x="1021" y="807"/>
                    <a:pt x="1021" y="807"/>
                  </a:cubicBezTo>
                  <a:cubicBezTo>
                    <a:pt x="1035" y="821"/>
                    <a:pt x="1037" y="841"/>
                    <a:pt x="1027" y="857"/>
                  </a:cubicBezTo>
                  <a:cubicBezTo>
                    <a:pt x="983" y="927"/>
                    <a:pt x="922" y="988"/>
                    <a:pt x="852" y="1032"/>
                  </a:cubicBezTo>
                  <a:cubicBezTo>
                    <a:pt x="836" y="1042"/>
                    <a:pt x="816" y="1040"/>
                    <a:pt x="802" y="1026"/>
                  </a:cubicBezTo>
                  <a:cubicBezTo>
                    <a:pt x="766" y="991"/>
                    <a:pt x="766" y="991"/>
                    <a:pt x="766" y="991"/>
                  </a:cubicBezTo>
                  <a:cubicBezTo>
                    <a:pt x="748" y="999"/>
                    <a:pt x="730" y="1007"/>
                    <a:pt x="711" y="1014"/>
                  </a:cubicBezTo>
                  <a:cubicBezTo>
                    <a:pt x="711" y="1064"/>
                    <a:pt x="711" y="1064"/>
                    <a:pt x="711" y="1064"/>
                  </a:cubicBezTo>
                  <a:cubicBezTo>
                    <a:pt x="711" y="1083"/>
                    <a:pt x="698" y="1099"/>
                    <a:pt x="680" y="1103"/>
                  </a:cubicBezTo>
                  <a:cubicBezTo>
                    <a:pt x="639" y="1113"/>
                    <a:pt x="598" y="1117"/>
                    <a:pt x="556" y="1117"/>
                  </a:cubicBezTo>
                  <a:cubicBezTo>
                    <a:pt x="514" y="1117"/>
                    <a:pt x="473" y="1113"/>
                    <a:pt x="432" y="1103"/>
                  </a:cubicBezTo>
                  <a:cubicBezTo>
                    <a:pt x="414" y="1099"/>
                    <a:pt x="401" y="1083"/>
                    <a:pt x="401" y="1064"/>
                  </a:cubicBezTo>
                  <a:cubicBezTo>
                    <a:pt x="401" y="1014"/>
                    <a:pt x="401" y="1014"/>
                    <a:pt x="401" y="1014"/>
                  </a:cubicBezTo>
                  <a:cubicBezTo>
                    <a:pt x="382" y="1007"/>
                    <a:pt x="364" y="999"/>
                    <a:pt x="346" y="991"/>
                  </a:cubicBezTo>
                  <a:cubicBezTo>
                    <a:pt x="310" y="1026"/>
                    <a:pt x="310" y="1026"/>
                    <a:pt x="310" y="1026"/>
                  </a:cubicBezTo>
                  <a:cubicBezTo>
                    <a:pt x="296" y="1040"/>
                    <a:pt x="276" y="1042"/>
                    <a:pt x="260" y="1032"/>
                  </a:cubicBezTo>
                  <a:cubicBezTo>
                    <a:pt x="190" y="988"/>
                    <a:pt x="129" y="927"/>
                    <a:pt x="85" y="857"/>
                  </a:cubicBezTo>
                  <a:cubicBezTo>
                    <a:pt x="75" y="841"/>
                    <a:pt x="77" y="821"/>
                    <a:pt x="91" y="807"/>
                  </a:cubicBezTo>
                  <a:cubicBezTo>
                    <a:pt x="126" y="772"/>
                    <a:pt x="126" y="772"/>
                    <a:pt x="126" y="772"/>
                  </a:cubicBezTo>
                  <a:cubicBezTo>
                    <a:pt x="118" y="753"/>
                    <a:pt x="110" y="735"/>
                    <a:pt x="103" y="716"/>
                  </a:cubicBezTo>
                  <a:cubicBezTo>
                    <a:pt x="53" y="716"/>
                    <a:pt x="53" y="716"/>
                    <a:pt x="53" y="716"/>
                  </a:cubicBezTo>
                  <a:cubicBezTo>
                    <a:pt x="34" y="716"/>
                    <a:pt x="18" y="703"/>
                    <a:pt x="14" y="685"/>
                  </a:cubicBezTo>
                  <a:cubicBezTo>
                    <a:pt x="4" y="644"/>
                    <a:pt x="0" y="603"/>
                    <a:pt x="0" y="561"/>
                  </a:cubicBezTo>
                  <a:cubicBezTo>
                    <a:pt x="0" y="519"/>
                    <a:pt x="4" y="478"/>
                    <a:pt x="14" y="437"/>
                  </a:cubicBezTo>
                  <a:cubicBezTo>
                    <a:pt x="18" y="419"/>
                    <a:pt x="34" y="406"/>
                    <a:pt x="53" y="406"/>
                  </a:cubicBezTo>
                  <a:cubicBezTo>
                    <a:pt x="103" y="406"/>
                    <a:pt x="103" y="406"/>
                    <a:pt x="103" y="406"/>
                  </a:cubicBezTo>
                  <a:cubicBezTo>
                    <a:pt x="110" y="387"/>
                    <a:pt x="118" y="369"/>
                    <a:pt x="126" y="351"/>
                  </a:cubicBezTo>
                  <a:cubicBezTo>
                    <a:pt x="91" y="315"/>
                    <a:pt x="91" y="315"/>
                    <a:pt x="91" y="315"/>
                  </a:cubicBezTo>
                  <a:cubicBezTo>
                    <a:pt x="77" y="301"/>
                    <a:pt x="75" y="281"/>
                    <a:pt x="85" y="265"/>
                  </a:cubicBezTo>
                  <a:cubicBezTo>
                    <a:pt x="129" y="195"/>
                    <a:pt x="190" y="134"/>
                    <a:pt x="260" y="90"/>
                  </a:cubicBezTo>
                  <a:cubicBezTo>
                    <a:pt x="276" y="80"/>
                    <a:pt x="296" y="82"/>
                    <a:pt x="310" y="96"/>
                  </a:cubicBezTo>
                  <a:cubicBezTo>
                    <a:pt x="346" y="131"/>
                    <a:pt x="346" y="131"/>
                    <a:pt x="346" y="131"/>
                  </a:cubicBezTo>
                  <a:cubicBezTo>
                    <a:pt x="364" y="123"/>
                    <a:pt x="382" y="115"/>
                    <a:pt x="401" y="108"/>
                  </a:cubicBezTo>
                  <a:cubicBezTo>
                    <a:pt x="401" y="58"/>
                    <a:pt x="401" y="58"/>
                    <a:pt x="401" y="58"/>
                  </a:cubicBezTo>
                  <a:cubicBezTo>
                    <a:pt x="401" y="39"/>
                    <a:pt x="414" y="23"/>
                    <a:pt x="432" y="19"/>
                  </a:cubicBezTo>
                  <a:cubicBezTo>
                    <a:pt x="513" y="0"/>
                    <a:pt x="599" y="0"/>
                    <a:pt x="680" y="19"/>
                  </a:cubicBezTo>
                  <a:cubicBezTo>
                    <a:pt x="698" y="23"/>
                    <a:pt x="711" y="39"/>
                    <a:pt x="711" y="58"/>
                  </a:cubicBezTo>
                  <a:cubicBezTo>
                    <a:pt x="711" y="108"/>
                    <a:pt x="711" y="108"/>
                    <a:pt x="711" y="108"/>
                  </a:cubicBezTo>
                  <a:cubicBezTo>
                    <a:pt x="730" y="115"/>
                    <a:pt x="748" y="123"/>
                    <a:pt x="766" y="131"/>
                  </a:cubicBezTo>
                  <a:cubicBezTo>
                    <a:pt x="802" y="96"/>
                    <a:pt x="802" y="96"/>
                    <a:pt x="802" y="96"/>
                  </a:cubicBezTo>
                  <a:cubicBezTo>
                    <a:pt x="816" y="82"/>
                    <a:pt x="836" y="80"/>
                    <a:pt x="852" y="90"/>
                  </a:cubicBezTo>
                  <a:cubicBezTo>
                    <a:pt x="922" y="134"/>
                    <a:pt x="983" y="195"/>
                    <a:pt x="1027" y="265"/>
                  </a:cubicBezTo>
                  <a:cubicBezTo>
                    <a:pt x="1037" y="281"/>
                    <a:pt x="1035" y="301"/>
                    <a:pt x="1021" y="315"/>
                  </a:cubicBezTo>
                  <a:cubicBezTo>
                    <a:pt x="986" y="351"/>
                    <a:pt x="986" y="351"/>
                    <a:pt x="986" y="351"/>
                  </a:cubicBezTo>
                  <a:cubicBezTo>
                    <a:pt x="994" y="369"/>
                    <a:pt x="1002" y="387"/>
                    <a:pt x="1009" y="406"/>
                  </a:cubicBezTo>
                  <a:cubicBezTo>
                    <a:pt x="1059" y="406"/>
                    <a:pt x="1059" y="406"/>
                    <a:pt x="1059" y="406"/>
                  </a:cubicBezTo>
                  <a:cubicBezTo>
                    <a:pt x="1078" y="406"/>
                    <a:pt x="1094" y="419"/>
                    <a:pt x="1099" y="437"/>
                  </a:cubicBezTo>
                  <a:close/>
                  <a:moveTo>
                    <a:pt x="1032" y="561"/>
                  </a:moveTo>
                  <a:cubicBezTo>
                    <a:pt x="1032" y="536"/>
                    <a:pt x="1030" y="511"/>
                    <a:pt x="1026" y="487"/>
                  </a:cubicBezTo>
                  <a:cubicBezTo>
                    <a:pt x="979" y="487"/>
                    <a:pt x="979" y="487"/>
                    <a:pt x="979" y="487"/>
                  </a:cubicBezTo>
                  <a:cubicBezTo>
                    <a:pt x="961" y="487"/>
                    <a:pt x="945" y="475"/>
                    <a:pt x="940" y="457"/>
                  </a:cubicBezTo>
                  <a:cubicBezTo>
                    <a:pt x="931" y="424"/>
                    <a:pt x="918" y="393"/>
                    <a:pt x="901" y="363"/>
                  </a:cubicBezTo>
                  <a:cubicBezTo>
                    <a:pt x="892" y="347"/>
                    <a:pt x="895" y="328"/>
                    <a:pt x="907" y="315"/>
                  </a:cubicBezTo>
                  <a:cubicBezTo>
                    <a:pt x="941" y="281"/>
                    <a:pt x="941" y="281"/>
                    <a:pt x="941" y="281"/>
                  </a:cubicBezTo>
                  <a:cubicBezTo>
                    <a:pt x="912" y="241"/>
                    <a:pt x="876" y="206"/>
                    <a:pt x="836" y="176"/>
                  </a:cubicBezTo>
                  <a:cubicBezTo>
                    <a:pt x="802" y="210"/>
                    <a:pt x="802" y="210"/>
                    <a:pt x="802" y="210"/>
                  </a:cubicBezTo>
                  <a:cubicBezTo>
                    <a:pt x="790" y="222"/>
                    <a:pt x="770" y="225"/>
                    <a:pt x="754" y="216"/>
                  </a:cubicBezTo>
                  <a:cubicBezTo>
                    <a:pt x="724" y="199"/>
                    <a:pt x="693" y="186"/>
                    <a:pt x="660" y="177"/>
                  </a:cubicBezTo>
                  <a:cubicBezTo>
                    <a:pt x="642" y="172"/>
                    <a:pt x="630" y="156"/>
                    <a:pt x="630" y="138"/>
                  </a:cubicBezTo>
                  <a:cubicBezTo>
                    <a:pt x="630" y="91"/>
                    <a:pt x="630" y="91"/>
                    <a:pt x="630" y="91"/>
                  </a:cubicBezTo>
                  <a:cubicBezTo>
                    <a:pt x="581" y="83"/>
                    <a:pt x="531" y="83"/>
                    <a:pt x="482" y="91"/>
                  </a:cubicBezTo>
                  <a:cubicBezTo>
                    <a:pt x="482" y="138"/>
                    <a:pt x="482" y="138"/>
                    <a:pt x="482" y="138"/>
                  </a:cubicBezTo>
                  <a:cubicBezTo>
                    <a:pt x="482" y="156"/>
                    <a:pt x="469" y="172"/>
                    <a:pt x="452" y="177"/>
                  </a:cubicBezTo>
                  <a:cubicBezTo>
                    <a:pt x="419" y="186"/>
                    <a:pt x="388" y="199"/>
                    <a:pt x="358" y="216"/>
                  </a:cubicBezTo>
                  <a:cubicBezTo>
                    <a:pt x="342" y="225"/>
                    <a:pt x="322" y="222"/>
                    <a:pt x="310" y="210"/>
                  </a:cubicBezTo>
                  <a:cubicBezTo>
                    <a:pt x="276" y="176"/>
                    <a:pt x="276" y="176"/>
                    <a:pt x="276" y="176"/>
                  </a:cubicBezTo>
                  <a:cubicBezTo>
                    <a:pt x="236" y="205"/>
                    <a:pt x="200" y="241"/>
                    <a:pt x="171" y="281"/>
                  </a:cubicBezTo>
                  <a:cubicBezTo>
                    <a:pt x="205" y="315"/>
                    <a:pt x="205" y="315"/>
                    <a:pt x="205" y="315"/>
                  </a:cubicBezTo>
                  <a:cubicBezTo>
                    <a:pt x="217" y="327"/>
                    <a:pt x="220" y="347"/>
                    <a:pt x="211" y="363"/>
                  </a:cubicBezTo>
                  <a:cubicBezTo>
                    <a:pt x="194" y="393"/>
                    <a:pt x="181" y="424"/>
                    <a:pt x="172" y="457"/>
                  </a:cubicBezTo>
                  <a:cubicBezTo>
                    <a:pt x="167" y="475"/>
                    <a:pt x="151" y="487"/>
                    <a:pt x="133" y="487"/>
                  </a:cubicBezTo>
                  <a:cubicBezTo>
                    <a:pt x="86" y="487"/>
                    <a:pt x="86" y="487"/>
                    <a:pt x="86" y="487"/>
                  </a:cubicBezTo>
                  <a:cubicBezTo>
                    <a:pt x="82" y="511"/>
                    <a:pt x="80" y="536"/>
                    <a:pt x="80" y="561"/>
                  </a:cubicBezTo>
                  <a:cubicBezTo>
                    <a:pt x="80" y="586"/>
                    <a:pt x="82" y="611"/>
                    <a:pt x="86" y="635"/>
                  </a:cubicBezTo>
                  <a:cubicBezTo>
                    <a:pt x="133" y="635"/>
                    <a:pt x="133" y="635"/>
                    <a:pt x="133" y="635"/>
                  </a:cubicBezTo>
                  <a:cubicBezTo>
                    <a:pt x="151" y="635"/>
                    <a:pt x="167" y="648"/>
                    <a:pt x="172" y="665"/>
                  </a:cubicBezTo>
                  <a:cubicBezTo>
                    <a:pt x="181" y="698"/>
                    <a:pt x="194" y="729"/>
                    <a:pt x="211" y="759"/>
                  </a:cubicBezTo>
                  <a:cubicBezTo>
                    <a:pt x="220" y="775"/>
                    <a:pt x="217" y="795"/>
                    <a:pt x="205" y="807"/>
                  </a:cubicBezTo>
                  <a:cubicBezTo>
                    <a:pt x="171" y="841"/>
                    <a:pt x="171" y="841"/>
                    <a:pt x="171" y="841"/>
                  </a:cubicBezTo>
                  <a:cubicBezTo>
                    <a:pt x="200" y="881"/>
                    <a:pt x="236" y="916"/>
                    <a:pt x="276" y="946"/>
                  </a:cubicBezTo>
                  <a:cubicBezTo>
                    <a:pt x="310" y="913"/>
                    <a:pt x="310" y="913"/>
                    <a:pt x="310" y="913"/>
                  </a:cubicBezTo>
                  <a:cubicBezTo>
                    <a:pt x="322" y="900"/>
                    <a:pt x="342" y="897"/>
                    <a:pt x="358" y="906"/>
                  </a:cubicBezTo>
                  <a:cubicBezTo>
                    <a:pt x="388" y="923"/>
                    <a:pt x="419" y="936"/>
                    <a:pt x="452" y="945"/>
                  </a:cubicBezTo>
                  <a:cubicBezTo>
                    <a:pt x="469" y="950"/>
                    <a:pt x="482" y="966"/>
                    <a:pt x="482" y="984"/>
                  </a:cubicBezTo>
                  <a:cubicBezTo>
                    <a:pt x="482" y="1031"/>
                    <a:pt x="482" y="1031"/>
                    <a:pt x="482" y="1031"/>
                  </a:cubicBezTo>
                  <a:cubicBezTo>
                    <a:pt x="531" y="1039"/>
                    <a:pt x="581" y="1039"/>
                    <a:pt x="630" y="1031"/>
                  </a:cubicBezTo>
                  <a:cubicBezTo>
                    <a:pt x="630" y="984"/>
                    <a:pt x="630" y="984"/>
                    <a:pt x="630" y="984"/>
                  </a:cubicBezTo>
                  <a:cubicBezTo>
                    <a:pt x="630" y="966"/>
                    <a:pt x="642" y="950"/>
                    <a:pt x="660" y="945"/>
                  </a:cubicBezTo>
                  <a:cubicBezTo>
                    <a:pt x="693" y="936"/>
                    <a:pt x="724" y="923"/>
                    <a:pt x="754" y="906"/>
                  </a:cubicBezTo>
                  <a:cubicBezTo>
                    <a:pt x="770" y="897"/>
                    <a:pt x="790" y="900"/>
                    <a:pt x="802" y="912"/>
                  </a:cubicBezTo>
                  <a:cubicBezTo>
                    <a:pt x="836" y="946"/>
                    <a:pt x="836" y="946"/>
                    <a:pt x="836" y="946"/>
                  </a:cubicBezTo>
                  <a:cubicBezTo>
                    <a:pt x="876" y="916"/>
                    <a:pt x="912" y="881"/>
                    <a:pt x="941" y="841"/>
                  </a:cubicBezTo>
                  <a:cubicBezTo>
                    <a:pt x="907" y="807"/>
                    <a:pt x="907" y="807"/>
                    <a:pt x="907" y="807"/>
                  </a:cubicBezTo>
                  <a:cubicBezTo>
                    <a:pt x="895" y="795"/>
                    <a:pt x="892" y="775"/>
                    <a:pt x="901" y="759"/>
                  </a:cubicBezTo>
                  <a:cubicBezTo>
                    <a:pt x="918" y="729"/>
                    <a:pt x="931" y="698"/>
                    <a:pt x="940" y="665"/>
                  </a:cubicBezTo>
                  <a:cubicBezTo>
                    <a:pt x="945" y="648"/>
                    <a:pt x="961" y="635"/>
                    <a:pt x="979" y="635"/>
                  </a:cubicBezTo>
                  <a:cubicBezTo>
                    <a:pt x="1026" y="635"/>
                    <a:pt x="1026" y="635"/>
                    <a:pt x="1026" y="635"/>
                  </a:cubicBezTo>
                  <a:cubicBezTo>
                    <a:pt x="1030" y="611"/>
                    <a:pt x="1032" y="586"/>
                    <a:pt x="1032" y="5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9" name="Freeform 10">
              <a:extLst>
                <a:ext uri="{FF2B5EF4-FFF2-40B4-BE49-F238E27FC236}">
                  <a16:creationId xmlns:a16="http://schemas.microsoft.com/office/drawing/2014/main" id="{E8DF3EE6-E2C9-4A15-B087-50279C0621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8888" y="3779838"/>
              <a:ext cx="803275" cy="800100"/>
            </a:xfrm>
            <a:custGeom>
              <a:avLst/>
              <a:gdLst>
                <a:gd name="T0" fmla="*/ 306 w 612"/>
                <a:gd name="T1" fmla="*/ 0 h 612"/>
                <a:gd name="T2" fmla="*/ 612 w 612"/>
                <a:gd name="T3" fmla="*/ 306 h 612"/>
                <a:gd name="T4" fmla="*/ 306 w 612"/>
                <a:gd name="T5" fmla="*/ 612 h 612"/>
                <a:gd name="T6" fmla="*/ 0 w 612"/>
                <a:gd name="T7" fmla="*/ 306 h 612"/>
                <a:gd name="T8" fmla="*/ 306 w 612"/>
                <a:gd name="T9" fmla="*/ 0 h 612"/>
                <a:gd name="T10" fmla="*/ 532 w 612"/>
                <a:gd name="T11" fmla="*/ 306 h 612"/>
                <a:gd name="T12" fmla="*/ 306 w 612"/>
                <a:gd name="T13" fmla="*/ 80 h 612"/>
                <a:gd name="T14" fmla="*/ 80 w 612"/>
                <a:gd name="T15" fmla="*/ 306 h 612"/>
                <a:gd name="T16" fmla="*/ 306 w 612"/>
                <a:gd name="T17" fmla="*/ 532 h 612"/>
                <a:gd name="T18" fmla="*/ 532 w 612"/>
                <a:gd name="T19" fmla="*/ 306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2" h="612">
                  <a:moveTo>
                    <a:pt x="306" y="0"/>
                  </a:moveTo>
                  <a:cubicBezTo>
                    <a:pt x="475" y="0"/>
                    <a:pt x="612" y="137"/>
                    <a:pt x="612" y="306"/>
                  </a:cubicBezTo>
                  <a:cubicBezTo>
                    <a:pt x="612" y="475"/>
                    <a:pt x="475" y="612"/>
                    <a:pt x="306" y="612"/>
                  </a:cubicBezTo>
                  <a:cubicBezTo>
                    <a:pt x="137" y="612"/>
                    <a:pt x="0" y="475"/>
                    <a:pt x="0" y="306"/>
                  </a:cubicBezTo>
                  <a:cubicBezTo>
                    <a:pt x="0" y="137"/>
                    <a:pt x="137" y="0"/>
                    <a:pt x="306" y="0"/>
                  </a:cubicBezTo>
                  <a:close/>
                  <a:moveTo>
                    <a:pt x="532" y="306"/>
                  </a:moveTo>
                  <a:cubicBezTo>
                    <a:pt x="532" y="182"/>
                    <a:pt x="430" y="80"/>
                    <a:pt x="306" y="80"/>
                  </a:cubicBezTo>
                  <a:cubicBezTo>
                    <a:pt x="181" y="80"/>
                    <a:pt x="80" y="182"/>
                    <a:pt x="80" y="306"/>
                  </a:cubicBezTo>
                  <a:cubicBezTo>
                    <a:pt x="80" y="430"/>
                    <a:pt x="181" y="532"/>
                    <a:pt x="306" y="532"/>
                  </a:cubicBezTo>
                  <a:cubicBezTo>
                    <a:pt x="430" y="532"/>
                    <a:pt x="532" y="430"/>
                    <a:pt x="532" y="30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20" name="Freeform 11">
              <a:extLst>
                <a:ext uri="{FF2B5EF4-FFF2-40B4-BE49-F238E27FC236}">
                  <a16:creationId xmlns:a16="http://schemas.microsoft.com/office/drawing/2014/main" id="{7B4F3F95-59C2-4F02-8F21-27D7F59ACE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2712" y="2860674"/>
              <a:ext cx="555625" cy="106362"/>
            </a:xfrm>
            <a:custGeom>
              <a:avLst/>
              <a:gdLst>
                <a:gd name="T0" fmla="*/ 384 w 424"/>
                <a:gd name="T1" fmla="*/ 0 h 81"/>
                <a:gd name="T2" fmla="*/ 424 w 424"/>
                <a:gd name="T3" fmla="*/ 41 h 81"/>
                <a:gd name="T4" fmla="*/ 384 w 424"/>
                <a:gd name="T5" fmla="*/ 81 h 81"/>
                <a:gd name="T6" fmla="*/ 40 w 424"/>
                <a:gd name="T7" fmla="*/ 81 h 81"/>
                <a:gd name="T8" fmla="*/ 0 w 424"/>
                <a:gd name="T9" fmla="*/ 41 h 81"/>
                <a:gd name="T10" fmla="*/ 40 w 424"/>
                <a:gd name="T11" fmla="*/ 0 h 81"/>
                <a:gd name="T12" fmla="*/ 384 w 424"/>
                <a:gd name="T1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4" h="81">
                  <a:moveTo>
                    <a:pt x="384" y="0"/>
                  </a:moveTo>
                  <a:cubicBezTo>
                    <a:pt x="406" y="0"/>
                    <a:pt x="424" y="18"/>
                    <a:pt x="424" y="41"/>
                  </a:cubicBezTo>
                  <a:cubicBezTo>
                    <a:pt x="424" y="63"/>
                    <a:pt x="406" y="81"/>
                    <a:pt x="384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18" y="81"/>
                    <a:pt x="0" y="63"/>
                    <a:pt x="0" y="41"/>
                  </a:cubicBezTo>
                  <a:cubicBezTo>
                    <a:pt x="0" y="18"/>
                    <a:pt x="18" y="0"/>
                    <a:pt x="40" y="0"/>
                  </a:cubicBezTo>
                  <a:lnTo>
                    <a:pt x="38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49913026-A93A-467A-BA3A-B78C5CD52E5A}"/>
              </a:ext>
            </a:extLst>
          </p:cNvPr>
          <p:cNvGrpSpPr/>
          <p:nvPr/>
        </p:nvGrpSpPr>
        <p:grpSpPr>
          <a:xfrm rot="19942417">
            <a:off x="4025619" y="4614685"/>
            <a:ext cx="420901" cy="506212"/>
            <a:chOff x="-407988" y="1982788"/>
            <a:chExt cx="2595563" cy="3121659"/>
          </a:xfrm>
          <a:solidFill>
            <a:schemeClr val="bg1">
              <a:lumMod val="65000"/>
            </a:schemeClr>
          </a:solidFill>
        </p:grpSpPr>
        <p:sp>
          <p:nvSpPr>
            <p:cNvPr id="193" name="Freeform 32">
              <a:extLst>
                <a:ext uri="{FF2B5EF4-FFF2-40B4-BE49-F238E27FC236}">
                  <a16:creationId xmlns:a16="http://schemas.microsoft.com/office/drawing/2014/main" id="{889DF114-0F89-4F3A-BD31-14EBADD2CD7B}"/>
                </a:ext>
              </a:extLst>
            </p:cNvPr>
            <p:cNvSpPr>
              <a:spLocks/>
            </p:cNvSpPr>
            <p:nvPr/>
          </p:nvSpPr>
          <p:spPr bwMode="auto">
            <a:xfrm rot="1734044">
              <a:off x="129031" y="2429437"/>
              <a:ext cx="1525594" cy="1939928"/>
            </a:xfrm>
            <a:custGeom>
              <a:avLst/>
              <a:gdLst>
                <a:gd name="T0" fmla="*/ 554 w 708"/>
                <a:gd name="T1" fmla="*/ 701 h 903"/>
                <a:gd name="T2" fmla="*/ 702 w 708"/>
                <a:gd name="T3" fmla="*/ 349 h 903"/>
                <a:gd name="T4" fmla="*/ 362 w 708"/>
                <a:gd name="T5" fmla="*/ 7 h 903"/>
                <a:gd name="T6" fmla="*/ 4 w 708"/>
                <a:gd name="T7" fmla="*/ 357 h 903"/>
                <a:gd name="T8" fmla="*/ 68 w 708"/>
                <a:gd name="T9" fmla="*/ 555 h 903"/>
                <a:gd name="T10" fmla="*/ 205 w 708"/>
                <a:gd name="T11" fmla="*/ 903 h 903"/>
                <a:gd name="T12" fmla="*/ 503 w 708"/>
                <a:gd name="T13" fmla="*/ 903 h 903"/>
                <a:gd name="T14" fmla="*/ 554 w 708"/>
                <a:gd name="T15" fmla="*/ 701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8" h="903">
                  <a:moveTo>
                    <a:pt x="554" y="701"/>
                  </a:moveTo>
                  <a:cubicBezTo>
                    <a:pt x="614" y="577"/>
                    <a:pt x="708" y="503"/>
                    <a:pt x="702" y="349"/>
                  </a:cubicBezTo>
                  <a:cubicBezTo>
                    <a:pt x="696" y="195"/>
                    <a:pt x="589" y="17"/>
                    <a:pt x="362" y="7"/>
                  </a:cubicBezTo>
                  <a:cubicBezTo>
                    <a:pt x="362" y="7"/>
                    <a:pt x="40" y="0"/>
                    <a:pt x="4" y="357"/>
                  </a:cubicBezTo>
                  <a:cubicBezTo>
                    <a:pt x="4" y="357"/>
                    <a:pt x="0" y="474"/>
                    <a:pt x="68" y="555"/>
                  </a:cubicBezTo>
                  <a:cubicBezTo>
                    <a:pt x="127" y="627"/>
                    <a:pt x="195" y="753"/>
                    <a:pt x="205" y="903"/>
                  </a:cubicBezTo>
                  <a:cubicBezTo>
                    <a:pt x="503" y="903"/>
                    <a:pt x="503" y="903"/>
                    <a:pt x="503" y="903"/>
                  </a:cubicBezTo>
                  <a:cubicBezTo>
                    <a:pt x="507" y="850"/>
                    <a:pt x="520" y="772"/>
                    <a:pt x="554" y="7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/>
            </a:p>
          </p:txBody>
        </p:sp>
        <p:sp>
          <p:nvSpPr>
            <p:cNvPr id="195" name="Freeform 34">
              <a:extLst>
                <a:ext uri="{FF2B5EF4-FFF2-40B4-BE49-F238E27FC236}">
                  <a16:creationId xmlns:a16="http://schemas.microsoft.com/office/drawing/2014/main" id="{A9386663-B5D4-4C8C-994B-9975CA4F5D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875" y="3224213"/>
              <a:ext cx="393700" cy="103187"/>
            </a:xfrm>
            <a:custGeom>
              <a:avLst/>
              <a:gdLst>
                <a:gd name="T0" fmla="*/ 159 w 183"/>
                <a:gd name="T1" fmla="*/ 0 h 48"/>
                <a:gd name="T2" fmla="*/ 183 w 183"/>
                <a:gd name="T3" fmla="*/ 24 h 48"/>
                <a:gd name="T4" fmla="*/ 159 w 183"/>
                <a:gd name="T5" fmla="*/ 48 h 48"/>
                <a:gd name="T6" fmla="*/ 24 w 183"/>
                <a:gd name="T7" fmla="*/ 48 h 48"/>
                <a:gd name="T8" fmla="*/ 0 w 183"/>
                <a:gd name="T9" fmla="*/ 24 h 48"/>
                <a:gd name="T10" fmla="*/ 24 w 183"/>
                <a:gd name="T11" fmla="*/ 0 h 48"/>
                <a:gd name="T12" fmla="*/ 159 w 183"/>
                <a:gd name="T13" fmla="*/ 0 h 48"/>
                <a:gd name="T14" fmla="*/ 159 w 183"/>
                <a:gd name="T15" fmla="*/ 0 h 48"/>
                <a:gd name="T16" fmla="*/ 159 w 183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48">
                  <a:moveTo>
                    <a:pt x="159" y="0"/>
                  </a:moveTo>
                  <a:cubicBezTo>
                    <a:pt x="172" y="0"/>
                    <a:pt x="183" y="11"/>
                    <a:pt x="183" y="24"/>
                  </a:cubicBezTo>
                  <a:cubicBezTo>
                    <a:pt x="183" y="38"/>
                    <a:pt x="172" y="48"/>
                    <a:pt x="159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lnTo>
                    <a:pt x="159" y="0"/>
                  </a:lnTo>
                  <a:close/>
                  <a:moveTo>
                    <a:pt x="159" y="0"/>
                  </a:moveTo>
                  <a:cubicBezTo>
                    <a:pt x="159" y="0"/>
                    <a:pt x="159" y="0"/>
                    <a:pt x="15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6" name="Freeform 35">
              <a:extLst>
                <a:ext uri="{FF2B5EF4-FFF2-40B4-BE49-F238E27FC236}">
                  <a16:creationId xmlns:a16="http://schemas.microsoft.com/office/drawing/2014/main" id="{1D9BA9A5-70A2-4958-995C-A977185FE5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2597150"/>
              <a:ext cx="371475" cy="254000"/>
            </a:xfrm>
            <a:custGeom>
              <a:avLst/>
              <a:gdLst>
                <a:gd name="T0" fmla="*/ 165 w 172"/>
                <a:gd name="T1" fmla="*/ 15 h 118"/>
                <a:gd name="T2" fmla="*/ 156 w 172"/>
                <a:gd name="T3" fmla="*/ 48 h 118"/>
                <a:gd name="T4" fmla="*/ 40 w 172"/>
                <a:gd name="T5" fmla="*/ 115 h 118"/>
                <a:gd name="T6" fmla="*/ 28 w 172"/>
                <a:gd name="T7" fmla="*/ 118 h 118"/>
                <a:gd name="T8" fmla="*/ 7 w 172"/>
                <a:gd name="T9" fmla="*/ 106 h 118"/>
                <a:gd name="T10" fmla="*/ 16 w 172"/>
                <a:gd name="T11" fmla="*/ 74 h 118"/>
                <a:gd name="T12" fmla="*/ 132 w 172"/>
                <a:gd name="T13" fmla="*/ 6 h 118"/>
                <a:gd name="T14" fmla="*/ 165 w 172"/>
                <a:gd name="T15" fmla="*/ 15 h 118"/>
                <a:gd name="T16" fmla="*/ 165 w 172"/>
                <a:gd name="T17" fmla="*/ 15 h 118"/>
                <a:gd name="T18" fmla="*/ 165 w 172"/>
                <a:gd name="T19" fmla="*/ 1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118">
                  <a:moveTo>
                    <a:pt x="165" y="15"/>
                  </a:moveTo>
                  <a:cubicBezTo>
                    <a:pt x="172" y="27"/>
                    <a:pt x="168" y="41"/>
                    <a:pt x="156" y="48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6" y="117"/>
                    <a:pt x="32" y="118"/>
                    <a:pt x="28" y="118"/>
                  </a:cubicBezTo>
                  <a:cubicBezTo>
                    <a:pt x="20" y="118"/>
                    <a:pt x="12" y="114"/>
                    <a:pt x="7" y="106"/>
                  </a:cubicBezTo>
                  <a:cubicBezTo>
                    <a:pt x="0" y="95"/>
                    <a:pt x="4" y="80"/>
                    <a:pt x="16" y="74"/>
                  </a:cubicBezTo>
                  <a:cubicBezTo>
                    <a:pt x="132" y="6"/>
                    <a:pt x="132" y="6"/>
                    <a:pt x="132" y="6"/>
                  </a:cubicBezTo>
                  <a:cubicBezTo>
                    <a:pt x="144" y="0"/>
                    <a:pt x="158" y="4"/>
                    <a:pt x="165" y="15"/>
                  </a:cubicBezTo>
                  <a:close/>
                  <a:moveTo>
                    <a:pt x="165" y="15"/>
                  </a:moveTo>
                  <a:cubicBezTo>
                    <a:pt x="165" y="15"/>
                    <a:pt x="165" y="15"/>
                    <a:pt x="165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7" name="Freeform 36">
              <a:extLst>
                <a:ext uri="{FF2B5EF4-FFF2-40B4-BE49-F238E27FC236}">
                  <a16:creationId xmlns:a16="http://schemas.microsoft.com/office/drawing/2014/main" id="{C4ED65D2-37BF-4D02-8A69-D3CDCCEDF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3695700"/>
              <a:ext cx="371475" cy="255587"/>
            </a:xfrm>
            <a:custGeom>
              <a:avLst/>
              <a:gdLst>
                <a:gd name="T0" fmla="*/ 156 w 172"/>
                <a:gd name="T1" fmla="*/ 74 h 119"/>
                <a:gd name="T2" fmla="*/ 165 w 172"/>
                <a:gd name="T3" fmla="*/ 107 h 119"/>
                <a:gd name="T4" fmla="*/ 144 w 172"/>
                <a:gd name="T5" fmla="*/ 119 h 119"/>
                <a:gd name="T6" fmla="*/ 132 w 172"/>
                <a:gd name="T7" fmla="*/ 115 h 119"/>
                <a:gd name="T8" fmla="*/ 16 w 172"/>
                <a:gd name="T9" fmla="*/ 48 h 119"/>
                <a:gd name="T10" fmla="*/ 7 w 172"/>
                <a:gd name="T11" fmla="*/ 15 h 119"/>
                <a:gd name="T12" fmla="*/ 40 w 172"/>
                <a:gd name="T13" fmla="*/ 7 h 119"/>
                <a:gd name="T14" fmla="*/ 156 w 172"/>
                <a:gd name="T15" fmla="*/ 74 h 119"/>
                <a:gd name="T16" fmla="*/ 156 w 172"/>
                <a:gd name="T17" fmla="*/ 74 h 119"/>
                <a:gd name="T18" fmla="*/ 156 w 172"/>
                <a:gd name="T19" fmla="*/ 7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119">
                  <a:moveTo>
                    <a:pt x="156" y="74"/>
                  </a:moveTo>
                  <a:cubicBezTo>
                    <a:pt x="168" y="80"/>
                    <a:pt x="172" y="95"/>
                    <a:pt x="165" y="107"/>
                  </a:cubicBezTo>
                  <a:cubicBezTo>
                    <a:pt x="161" y="114"/>
                    <a:pt x="153" y="119"/>
                    <a:pt x="144" y="119"/>
                  </a:cubicBezTo>
                  <a:cubicBezTo>
                    <a:pt x="140" y="119"/>
                    <a:pt x="136" y="118"/>
                    <a:pt x="132" y="115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4" y="42"/>
                    <a:pt x="0" y="27"/>
                    <a:pt x="7" y="15"/>
                  </a:cubicBezTo>
                  <a:cubicBezTo>
                    <a:pt x="14" y="4"/>
                    <a:pt x="28" y="0"/>
                    <a:pt x="40" y="7"/>
                  </a:cubicBezTo>
                  <a:lnTo>
                    <a:pt x="156" y="74"/>
                  </a:lnTo>
                  <a:close/>
                  <a:moveTo>
                    <a:pt x="156" y="74"/>
                  </a:moveTo>
                  <a:cubicBezTo>
                    <a:pt x="156" y="74"/>
                    <a:pt x="156" y="74"/>
                    <a:pt x="156" y="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8" name="Freeform 37">
              <a:extLst>
                <a:ext uri="{FF2B5EF4-FFF2-40B4-BE49-F238E27FC236}">
                  <a16:creationId xmlns:a16="http://schemas.microsoft.com/office/drawing/2014/main" id="{2FE3B227-92BF-401E-9D11-2DA5453D155A}"/>
                </a:ext>
              </a:extLst>
            </p:cNvPr>
            <p:cNvSpPr>
              <a:spLocks noEditPoints="1"/>
            </p:cNvSpPr>
            <p:nvPr/>
          </p:nvSpPr>
          <p:spPr bwMode="auto">
            <a:xfrm rot="1736145">
              <a:off x="-84083" y="2446968"/>
              <a:ext cx="1616072" cy="2657479"/>
            </a:xfrm>
            <a:custGeom>
              <a:avLst/>
              <a:gdLst>
                <a:gd name="T0" fmla="*/ 750 w 750"/>
                <a:gd name="T1" fmla="*/ 376 h 1237"/>
                <a:gd name="T2" fmla="*/ 674 w 750"/>
                <a:gd name="T3" fmla="*/ 602 h 1237"/>
                <a:gd name="T4" fmla="*/ 546 w 750"/>
                <a:gd name="T5" fmla="*/ 976 h 1237"/>
                <a:gd name="T6" fmla="*/ 546 w 750"/>
                <a:gd name="T7" fmla="*/ 1120 h 1237"/>
                <a:gd name="T8" fmla="*/ 430 w 750"/>
                <a:gd name="T9" fmla="*/ 1237 h 1237"/>
                <a:gd name="T10" fmla="*/ 321 w 750"/>
                <a:gd name="T11" fmla="*/ 1237 h 1237"/>
                <a:gd name="T12" fmla="*/ 205 w 750"/>
                <a:gd name="T13" fmla="*/ 1120 h 1237"/>
                <a:gd name="T14" fmla="*/ 205 w 750"/>
                <a:gd name="T15" fmla="*/ 976 h 1237"/>
                <a:gd name="T16" fmla="*/ 77 w 750"/>
                <a:gd name="T17" fmla="*/ 603 h 1237"/>
                <a:gd name="T18" fmla="*/ 1 w 750"/>
                <a:gd name="T19" fmla="*/ 373 h 1237"/>
                <a:gd name="T20" fmla="*/ 110 w 750"/>
                <a:gd name="T21" fmla="*/ 112 h 1237"/>
                <a:gd name="T22" fmla="*/ 370 w 750"/>
                <a:gd name="T23" fmla="*/ 2 h 1237"/>
                <a:gd name="T24" fmla="*/ 638 w 750"/>
                <a:gd name="T25" fmla="*/ 110 h 1237"/>
                <a:gd name="T26" fmla="*/ 750 w 750"/>
                <a:gd name="T27" fmla="*/ 376 h 1237"/>
                <a:gd name="T28" fmla="*/ 636 w 750"/>
                <a:gd name="T29" fmla="*/ 573 h 1237"/>
                <a:gd name="T30" fmla="*/ 702 w 750"/>
                <a:gd name="T31" fmla="*/ 376 h 1237"/>
                <a:gd name="T32" fmla="*/ 604 w 750"/>
                <a:gd name="T33" fmla="*/ 144 h 1237"/>
                <a:gd name="T34" fmla="*/ 371 w 750"/>
                <a:gd name="T35" fmla="*/ 50 h 1237"/>
                <a:gd name="T36" fmla="*/ 49 w 750"/>
                <a:gd name="T37" fmla="*/ 373 h 1237"/>
                <a:gd name="T38" fmla="*/ 116 w 750"/>
                <a:gd name="T39" fmla="*/ 574 h 1237"/>
                <a:gd name="T40" fmla="*/ 253 w 750"/>
                <a:gd name="T41" fmla="*/ 967 h 1237"/>
                <a:gd name="T42" fmla="*/ 498 w 750"/>
                <a:gd name="T43" fmla="*/ 967 h 1237"/>
                <a:gd name="T44" fmla="*/ 636 w 750"/>
                <a:gd name="T45" fmla="*/ 573 h 1237"/>
                <a:gd name="T46" fmla="*/ 498 w 750"/>
                <a:gd name="T47" fmla="*/ 1120 h 1237"/>
                <a:gd name="T48" fmla="*/ 498 w 750"/>
                <a:gd name="T49" fmla="*/ 1113 h 1237"/>
                <a:gd name="T50" fmla="*/ 253 w 750"/>
                <a:gd name="T51" fmla="*/ 1085 h 1237"/>
                <a:gd name="T52" fmla="*/ 253 w 750"/>
                <a:gd name="T53" fmla="*/ 1104 h 1237"/>
                <a:gd name="T54" fmla="*/ 497 w 750"/>
                <a:gd name="T55" fmla="*/ 1132 h 1237"/>
                <a:gd name="T56" fmla="*/ 498 w 750"/>
                <a:gd name="T57" fmla="*/ 1120 h 1237"/>
                <a:gd name="T58" fmla="*/ 498 w 750"/>
                <a:gd name="T59" fmla="*/ 1064 h 1237"/>
                <a:gd name="T60" fmla="*/ 498 w 750"/>
                <a:gd name="T61" fmla="*/ 1015 h 1237"/>
                <a:gd name="T62" fmla="*/ 253 w 750"/>
                <a:gd name="T63" fmla="*/ 1015 h 1237"/>
                <a:gd name="T64" fmla="*/ 253 w 750"/>
                <a:gd name="T65" fmla="*/ 1036 h 1237"/>
                <a:gd name="T66" fmla="*/ 498 w 750"/>
                <a:gd name="T67" fmla="*/ 1064 h 1237"/>
                <a:gd name="T68" fmla="*/ 468 w 750"/>
                <a:gd name="T69" fmla="*/ 1177 h 1237"/>
                <a:gd name="T70" fmla="*/ 261 w 750"/>
                <a:gd name="T71" fmla="*/ 1153 h 1237"/>
                <a:gd name="T72" fmla="*/ 321 w 750"/>
                <a:gd name="T73" fmla="*/ 1189 h 1237"/>
                <a:gd name="T74" fmla="*/ 430 w 750"/>
                <a:gd name="T75" fmla="*/ 1189 h 1237"/>
                <a:gd name="T76" fmla="*/ 468 w 750"/>
                <a:gd name="T77" fmla="*/ 1177 h 1237"/>
                <a:gd name="T78" fmla="*/ 468 w 750"/>
                <a:gd name="T79" fmla="*/ 1177 h 1237"/>
                <a:gd name="T80" fmla="*/ 468 w 750"/>
                <a:gd name="T81" fmla="*/ 1177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50" h="1237">
                  <a:moveTo>
                    <a:pt x="750" y="376"/>
                  </a:moveTo>
                  <a:cubicBezTo>
                    <a:pt x="750" y="459"/>
                    <a:pt x="724" y="537"/>
                    <a:pt x="674" y="602"/>
                  </a:cubicBezTo>
                  <a:cubicBezTo>
                    <a:pt x="590" y="713"/>
                    <a:pt x="546" y="842"/>
                    <a:pt x="546" y="976"/>
                  </a:cubicBezTo>
                  <a:cubicBezTo>
                    <a:pt x="546" y="1120"/>
                    <a:pt x="546" y="1120"/>
                    <a:pt x="546" y="1120"/>
                  </a:cubicBezTo>
                  <a:cubicBezTo>
                    <a:pt x="546" y="1185"/>
                    <a:pt x="494" y="1237"/>
                    <a:pt x="430" y="1237"/>
                  </a:cubicBezTo>
                  <a:cubicBezTo>
                    <a:pt x="321" y="1237"/>
                    <a:pt x="321" y="1237"/>
                    <a:pt x="321" y="1237"/>
                  </a:cubicBezTo>
                  <a:cubicBezTo>
                    <a:pt x="257" y="1237"/>
                    <a:pt x="205" y="1185"/>
                    <a:pt x="205" y="1120"/>
                  </a:cubicBezTo>
                  <a:cubicBezTo>
                    <a:pt x="205" y="976"/>
                    <a:pt x="205" y="976"/>
                    <a:pt x="205" y="976"/>
                  </a:cubicBezTo>
                  <a:cubicBezTo>
                    <a:pt x="205" y="843"/>
                    <a:pt x="160" y="711"/>
                    <a:pt x="77" y="603"/>
                  </a:cubicBezTo>
                  <a:cubicBezTo>
                    <a:pt x="27" y="536"/>
                    <a:pt x="0" y="457"/>
                    <a:pt x="1" y="373"/>
                  </a:cubicBezTo>
                  <a:cubicBezTo>
                    <a:pt x="2" y="275"/>
                    <a:pt x="41" y="182"/>
                    <a:pt x="110" y="112"/>
                  </a:cubicBezTo>
                  <a:cubicBezTo>
                    <a:pt x="180" y="43"/>
                    <a:pt x="272" y="3"/>
                    <a:pt x="370" y="2"/>
                  </a:cubicBezTo>
                  <a:cubicBezTo>
                    <a:pt x="471" y="0"/>
                    <a:pt x="566" y="39"/>
                    <a:pt x="638" y="110"/>
                  </a:cubicBezTo>
                  <a:cubicBezTo>
                    <a:pt x="710" y="180"/>
                    <a:pt x="750" y="275"/>
                    <a:pt x="750" y="376"/>
                  </a:cubicBezTo>
                  <a:close/>
                  <a:moveTo>
                    <a:pt x="636" y="573"/>
                  </a:moveTo>
                  <a:cubicBezTo>
                    <a:pt x="679" y="516"/>
                    <a:pt x="702" y="448"/>
                    <a:pt x="702" y="376"/>
                  </a:cubicBezTo>
                  <a:cubicBezTo>
                    <a:pt x="702" y="288"/>
                    <a:pt x="667" y="206"/>
                    <a:pt x="604" y="144"/>
                  </a:cubicBezTo>
                  <a:cubicBezTo>
                    <a:pt x="542" y="82"/>
                    <a:pt x="459" y="49"/>
                    <a:pt x="371" y="50"/>
                  </a:cubicBezTo>
                  <a:cubicBezTo>
                    <a:pt x="195" y="52"/>
                    <a:pt x="51" y="197"/>
                    <a:pt x="49" y="373"/>
                  </a:cubicBezTo>
                  <a:cubicBezTo>
                    <a:pt x="48" y="446"/>
                    <a:pt x="71" y="516"/>
                    <a:pt x="116" y="574"/>
                  </a:cubicBezTo>
                  <a:cubicBezTo>
                    <a:pt x="202" y="688"/>
                    <a:pt x="251" y="827"/>
                    <a:pt x="253" y="967"/>
                  </a:cubicBezTo>
                  <a:cubicBezTo>
                    <a:pt x="498" y="967"/>
                    <a:pt x="498" y="967"/>
                    <a:pt x="498" y="967"/>
                  </a:cubicBezTo>
                  <a:cubicBezTo>
                    <a:pt x="500" y="825"/>
                    <a:pt x="547" y="690"/>
                    <a:pt x="636" y="573"/>
                  </a:cubicBezTo>
                  <a:close/>
                  <a:moveTo>
                    <a:pt x="498" y="1120"/>
                  </a:moveTo>
                  <a:cubicBezTo>
                    <a:pt x="498" y="1113"/>
                    <a:pt x="498" y="1113"/>
                    <a:pt x="498" y="1113"/>
                  </a:cubicBezTo>
                  <a:cubicBezTo>
                    <a:pt x="253" y="1085"/>
                    <a:pt x="253" y="1085"/>
                    <a:pt x="253" y="1085"/>
                  </a:cubicBezTo>
                  <a:cubicBezTo>
                    <a:pt x="253" y="1104"/>
                    <a:pt x="253" y="1104"/>
                    <a:pt x="253" y="1104"/>
                  </a:cubicBezTo>
                  <a:cubicBezTo>
                    <a:pt x="497" y="1132"/>
                    <a:pt x="497" y="1132"/>
                    <a:pt x="497" y="1132"/>
                  </a:cubicBezTo>
                  <a:cubicBezTo>
                    <a:pt x="498" y="1128"/>
                    <a:pt x="498" y="1124"/>
                    <a:pt x="498" y="1120"/>
                  </a:cubicBezTo>
                  <a:close/>
                  <a:moveTo>
                    <a:pt x="498" y="1064"/>
                  </a:moveTo>
                  <a:cubicBezTo>
                    <a:pt x="498" y="1015"/>
                    <a:pt x="498" y="1015"/>
                    <a:pt x="498" y="1015"/>
                  </a:cubicBezTo>
                  <a:cubicBezTo>
                    <a:pt x="253" y="1015"/>
                    <a:pt x="253" y="1015"/>
                    <a:pt x="253" y="1015"/>
                  </a:cubicBezTo>
                  <a:cubicBezTo>
                    <a:pt x="253" y="1036"/>
                    <a:pt x="253" y="1036"/>
                    <a:pt x="253" y="1036"/>
                  </a:cubicBezTo>
                  <a:lnTo>
                    <a:pt x="498" y="1064"/>
                  </a:lnTo>
                  <a:close/>
                  <a:moveTo>
                    <a:pt x="468" y="1177"/>
                  </a:moveTo>
                  <a:cubicBezTo>
                    <a:pt x="261" y="1153"/>
                    <a:pt x="261" y="1153"/>
                    <a:pt x="261" y="1153"/>
                  </a:cubicBezTo>
                  <a:cubicBezTo>
                    <a:pt x="273" y="1174"/>
                    <a:pt x="296" y="1189"/>
                    <a:pt x="321" y="1189"/>
                  </a:cubicBezTo>
                  <a:cubicBezTo>
                    <a:pt x="430" y="1189"/>
                    <a:pt x="430" y="1189"/>
                    <a:pt x="430" y="1189"/>
                  </a:cubicBezTo>
                  <a:cubicBezTo>
                    <a:pt x="444" y="1189"/>
                    <a:pt x="457" y="1184"/>
                    <a:pt x="468" y="1177"/>
                  </a:cubicBezTo>
                  <a:close/>
                  <a:moveTo>
                    <a:pt x="468" y="1177"/>
                  </a:moveTo>
                  <a:cubicBezTo>
                    <a:pt x="468" y="1177"/>
                    <a:pt x="468" y="1177"/>
                    <a:pt x="468" y="11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9" name="Freeform 38">
              <a:extLst>
                <a:ext uri="{FF2B5EF4-FFF2-40B4-BE49-F238E27FC236}">
                  <a16:creationId xmlns:a16="http://schemas.microsoft.com/office/drawing/2014/main" id="{9194B382-0E1E-405E-87B3-86A0FB8E5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9688" y="2141538"/>
              <a:ext cx="261938" cy="360362"/>
            </a:xfrm>
            <a:custGeom>
              <a:avLst/>
              <a:gdLst>
                <a:gd name="T0" fmla="*/ 107 w 122"/>
                <a:gd name="T1" fmla="*/ 7 h 168"/>
                <a:gd name="T2" fmla="*/ 115 w 122"/>
                <a:gd name="T3" fmla="*/ 39 h 168"/>
                <a:gd name="T4" fmla="*/ 48 w 122"/>
                <a:gd name="T5" fmla="*/ 156 h 168"/>
                <a:gd name="T6" fmla="*/ 27 w 122"/>
                <a:gd name="T7" fmla="*/ 168 h 168"/>
                <a:gd name="T8" fmla="*/ 15 w 122"/>
                <a:gd name="T9" fmla="*/ 165 h 168"/>
                <a:gd name="T10" fmla="*/ 7 w 122"/>
                <a:gd name="T11" fmla="*/ 132 h 168"/>
                <a:gd name="T12" fmla="*/ 74 w 122"/>
                <a:gd name="T13" fmla="*/ 15 h 168"/>
                <a:gd name="T14" fmla="*/ 107 w 122"/>
                <a:gd name="T15" fmla="*/ 7 h 168"/>
                <a:gd name="T16" fmla="*/ 107 w 122"/>
                <a:gd name="T17" fmla="*/ 7 h 168"/>
                <a:gd name="T18" fmla="*/ 107 w 122"/>
                <a:gd name="T19" fmla="*/ 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68">
                  <a:moveTo>
                    <a:pt x="107" y="7"/>
                  </a:moveTo>
                  <a:cubicBezTo>
                    <a:pt x="118" y="13"/>
                    <a:pt x="122" y="28"/>
                    <a:pt x="115" y="39"/>
                  </a:cubicBezTo>
                  <a:cubicBezTo>
                    <a:pt x="48" y="156"/>
                    <a:pt x="48" y="156"/>
                    <a:pt x="48" y="156"/>
                  </a:cubicBezTo>
                  <a:cubicBezTo>
                    <a:pt x="44" y="164"/>
                    <a:pt x="36" y="168"/>
                    <a:pt x="27" y="168"/>
                  </a:cubicBezTo>
                  <a:cubicBezTo>
                    <a:pt x="23" y="168"/>
                    <a:pt x="19" y="167"/>
                    <a:pt x="15" y="165"/>
                  </a:cubicBezTo>
                  <a:cubicBezTo>
                    <a:pt x="4" y="158"/>
                    <a:pt x="0" y="143"/>
                    <a:pt x="7" y="132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80" y="4"/>
                    <a:pt x="95" y="0"/>
                    <a:pt x="107" y="7"/>
                  </a:cubicBezTo>
                  <a:close/>
                  <a:moveTo>
                    <a:pt x="107" y="7"/>
                  </a:moveTo>
                  <a:cubicBezTo>
                    <a:pt x="107" y="7"/>
                    <a:pt x="107" y="7"/>
                    <a:pt x="107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0" name="Freeform 39">
              <a:extLst>
                <a:ext uri="{FF2B5EF4-FFF2-40B4-BE49-F238E27FC236}">
                  <a16:creationId xmlns:a16="http://schemas.microsoft.com/office/drawing/2014/main" id="{DC6437C4-DD72-4A31-AC57-50A61B19F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6613" y="1982788"/>
              <a:ext cx="103188" cy="390525"/>
            </a:xfrm>
            <a:custGeom>
              <a:avLst/>
              <a:gdLst>
                <a:gd name="T0" fmla="*/ 48 w 48"/>
                <a:gd name="T1" fmla="*/ 24 h 182"/>
                <a:gd name="T2" fmla="*/ 48 w 48"/>
                <a:gd name="T3" fmla="*/ 158 h 182"/>
                <a:gd name="T4" fmla="*/ 24 w 48"/>
                <a:gd name="T5" fmla="*/ 182 h 182"/>
                <a:gd name="T6" fmla="*/ 0 w 48"/>
                <a:gd name="T7" fmla="*/ 158 h 182"/>
                <a:gd name="T8" fmla="*/ 0 w 48"/>
                <a:gd name="T9" fmla="*/ 24 h 182"/>
                <a:gd name="T10" fmla="*/ 24 w 48"/>
                <a:gd name="T11" fmla="*/ 0 h 182"/>
                <a:gd name="T12" fmla="*/ 48 w 48"/>
                <a:gd name="T13" fmla="*/ 24 h 182"/>
                <a:gd name="T14" fmla="*/ 48 w 48"/>
                <a:gd name="T15" fmla="*/ 24 h 182"/>
                <a:gd name="T16" fmla="*/ 48 w 48"/>
                <a:gd name="T17" fmla="*/ 2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82">
                  <a:moveTo>
                    <a:pt x="48" y="24"/>
                  </a:moveTo>
                  <a:cubicBezTo>
                    <a:pt x="48" y="158"/>
                    <a:pt x="48" y="158"/>
                    <a:pt x="48" y="158"/>
                  </a:cubicBezTo>
                  <a:cubicBezTo>
                    <a:pt x="48" y="172"/>
                    <a:pt x="38" y="182"/>
                    <a:pt x="24" y="182"/>
                  </a:cubicBezTo>
                  <a:cubicBezTo>
                    <a:pt x="11" y="182"/>
                    <a:pt x="0" y="172"/>
                    <a:pt x="0" y="15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1" name="Freeform 40">
              <a:extLst>
                <a:ext uri="{FF2B5EF4-FFF2-40B4-BE49-F238E27FC236}">
                  <a16:creationId xmlns:a16="http://schemas.microsoft.com/office/drawing/2014/main" id="{212ADB15-961E-4936-8988-0CBD0A8D9E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963" y="2141538"/>
              <a:ext cx="263525" cy="360362"/>
            </a:xfrm>
            <a:custGeom>
              <a:avLst/>
              <a:gdLst>
                <a:gd name="T0" fmla="*/ 115 w 122"/>
                <a:gd name="T1" fmla="*/ 132 h 168"/>
                <a:gd name="T2" fmla="*/ 106 w 122"/>
                <a:gd name="T3" fmla="*/ 165 h 168"/>
                <a:gd name="T4" fmla="*/ 94 w 122"/>
                <a:gd name="T5" fmla="*/ 168 h 168"/>
                <a:gd name="T6" fmla="*/ 74 w 122"/>
                <a:gd name="T7" fmla="*/ 156 h 168"/>
                <a:gd name="T8" fmla="*/ 6 w 122"/>
                <a:gd name="T9" fmla="*/ 39 h 168"/>
                <a:gd name="T10" fmla="*/ 15 w 122"/>
                <a:gd name="T11" fmla="*/ 7 h 168"/>
                <a:gd name="T12" fmla="*/ 48 w 122"/>
                <a:gd name="T13" fmla="*/ 15 h 168"/>
                <a:gd name="T14" fmla="*/ 115 w 122"/>
                <a:gd name="T15" fmla="*/ 132 h 168"/>
                <a:gd name="T16" fmla="*/ 115 w 122"/>
                <a:gd name="T17" fmla="*/ 132 h 168"/>
                <a:gd name="T18" fmla="*/ 115 w 122"/>
                <a:gd name="T19" fmla="*/ 13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68">
                  <a:moveTo>
                    <a:pt x="115" y="132"/>
                  </a:moveTo>
                  <a:cubicBezTo>
                    <a:pt x="122" y="143"/>
                    <a:pt x="118" y="158"/>
                    <a:pt x="106" y="165"/>
                  </a:cubicBezTo>
                  <a:cubicBezTo>
                    <a:pt x="103" y="167"/>
                    <a:pt x="98" y="168"/>
                    <a:pt x="94" y="168"/>
                  </a:cubicBezTo>
                  <a:cubicBezTo>
                    <a:pt x="86" y="168"/>
                    <a:pt x="78" y="164"/>
                    <a:pt x="74" y="156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0" y="28"/>
                    <a:pt x="4" y="13"/>
                    <a:pt x="15" y="7"/>
                  </a:cubicBezTo>
                  <a:cubicBezTo>
                    <a:pt x="27" y="0"/>
                    <a:pt x="41" y="4"/>
                    <a:pt x="48" y="15"/>
                  </a:cubicBezTo>
                  <a:lnTo>
                    <a:pt x="115" y="132"/>
                  </a:lnTo>
                  <a:close/>
                  <a:moveTo>
                    <a:pt x="115" y="132"/>
                  </a:moveTo>
                  <a:cubicBezTo>
                    <a:pt x="115" y="132"/>
                    <a:pt x="115" y="132"/>
                    <a:pt x="115" y="1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2" name="Freeform 41">
              <a:extLst>
                <a:ext uri="{FF2B5EF4-FFF2-40B4-BE49-F238E27FC236}">
                  <a16:creationId xmlns:a16="http://schemas.microsoft.com/office/drawing/2014/main" id="{CC767B2F-7129-481C-B964-195EB03A3B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49237" y="2597150"/>
              <a:ext cx="368300" cy="254000"/>
            </a:xfrm>
            <a:custGeom>
              <a:avLst/>
              <a:gdLst>
                <a:gd name="T0" fmla="*/ 156 w 171"/>
                <a:gd name="T1" fmla="*/ 74 h 118"/>
                <a:gd name="T2" fmla="*/ 165 w 171"/>
                <a:gd name="T3" fmla="*/ 106 h 118"/>
                <a:gd name="T4" fmla="*/ 144 w 171"/>
                <a:gd name="T5" fmla="*/ 118 h 118"/>
                <a:gd name="T6" fmla="*/ 132 w 171"/>
                <a:gd name="T7" fmla="*/ 115 h 118"/>
                <a:gd name="T8" fmla="*/ 15 w 171"/>
                <a:gd name="T9" fmla="*/ 48 h 118"/>
                <a:gd name="T10" fmla="*/ 7 w 171"/>
                <a:gd name="T11" fmla="*/ 15 h 118"/>
                <a:gd name="T12" fmla="*/ 39 w 171"/>
                <a:gd name="T13" fmla="*/ 6 h 118"/>
                <a:gd name="T14" fmla="*/ 156 w 171"/>
                <a:gd name="T15" fmla="*/ 74 h 118"/>
                <a:gd name="T16" fmla="*/ 156 w 171"/>
                <a:gd name="T17" fmla="*/ 74 h 118"/>
                <a:gd name="T18" fmla="*/ 156 w 171"/>
                <a:gd name="T19" fmla="*/ 7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18">
                  <a:moveTo>
                    <a:pt x="156" y="74"/>
                  </a:moveTo>
                  <a:cubicBezTo>
                    <a:pt x="167" y="80"/>
                    <a:pt x="171" y="95"/>
                    <a:pt x="165" y="106"/>
                  </a:cubicBezTo>
                  <a:cubicBezTo>
                    <a:pt x="160" y="114"/>
                    <a:pt x="152" y="118"/>
                    <a:pt x="144" y="118"/>
                  </a:cubicBezTo>
                  <a:cubicBezTo>
                    <a:pt x="140" y="118"/>
                    <a:pt x="136" y="117"/>
                    <a:pt x="132" y="115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4" y="41"/>
                    <a:pt x="0" y="27"/>
                    <a:pt x="7" y="15"/>
                  </a:cubicBezTo>
                  <a:cubicBezTo>
                    <a:pt x="13" y="4"/>
                    <a:pt x="28" y="0"/>
                    <a:pt x="39" y="6"/>
                  </a:cubicBezTo>
                  <a:lnTo>
                    <a:pt x="156" y="74"/>
                  </a:lnTo>
                  <a:close/>
                  <a:moveTo>
                    <a:pt x="156" y="74"/>
                  </a:moveTo>
                  <a:cubicBezTo>
                    <a:pt x="156" y="74"/>
                    <a:pt x="156" y="74"/>
                    <a:pt x="156" y="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3" name="Freeform 42">
              <a:extLst>
                <a:ext uri="{FF2B5EF4-FFF2-40B4-BE49-F238E27FC236}">
                  <a16:creationId xmlns:a16="http://schemas.microsoft.com/office/drawing/2014/main" id="{262AC2D1-E9B6-4B0A-8BA9-6D501FA05F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49237" y="3695700"/>
              <a:ext cx="368300" cy="255587"/>
            </a:xfrm>
            <a:custGeom>
              <a:avLst/>
              <a:gdLst>
                <a:gd name="T0" fmla="*/ 165 w 171"/>
                <a:gd name="T1" fmla="*/ 15 h 119"/>
                <a:gd name="T2" fmla="*/ 156 w 171"/>
                <a:gd name="T3" fmla="*/ 48 h 119"/>
                <a:gd name="T4" fmla="*/ 39 w 171"/>
                <a:gd name="T5" fmla="*/ 115 h 119"/>
                <a:gd name="T6" fmla="*/ 27 w 171"/>
                <a:gd name="T7" fmla="*/ 119 h 119"/>
                <a:gd name="T8" fmla="*/ 7 w 171"/>
                <a:gd name="T9" fmla="*/ 107 h 119"/>
                <a:gd name="T10" fmla="*/ 15 w 171"/>
                <a:gd name="T11" fmla="*/ 74 h 119"/>
                <a:gd name="T12" fmla="*/ 132 w 171"/>
                <a:gd name="T13" fmla="*/ 7 h 119"/>
                <a:gd name="T14" fmla="*/ 165 w 171"/>
                <a:gd name="T15" fmla="*/ 15 h 119"/>
                <a:gd name="T16" fmla="*/ 165 w 171"/>
                <a:gd name="T17" fmla="*/ 15 h 119"/>
                <a:gd name="T18" fmla="*/ 165 w 171"/>
                <a:gd name="T19" fmla="*/ 1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19">
                  <a:moveTo>
                    <a:pt x="165" y="15"/>
                  </a:moveTo>
                  <a:cubicBezTo>
                    <a:pt x="171" y="27"/>
                    <a:pt x="167" y="42"/>
                    <a:pt x="156" y="48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6" y="118"/>
                    <a:pt x="32" y="119"/>
                    <a:pt x="27" y="119"/>
                  </a:cubicBezTo>
                  <a:cubicBezTo>
                    <a:pt x="19" y="119"/>
                    <a:pt x="11" y="114"/>
                    <a:pt x="7" y="107"/>
                  </a:cubicBezTo>
                  <a:cubicBezTo>
                    <a:pt x="0" y="95"/>
                    <a:pt x="4" y="80"/>
                    <a:pt x="15" y="74"/>
                  </a:cubicBezTo>
                  <a:cubicBezTo>
                    <a:pt x="132" y="7"/>
                    <a:pt x="132" y="7"/>
                    <a:pt x="132" y="7"/>
                  </a:cubicBezTo>
                  <a:cubicBezTo>
                    <a:pt x="143" y="0"/>
                    <a:pt x="158" y="4"/>
                    <a:pt x="165" y="15"/>
                  </a:cubicBezTo>
                  <a:close/>
                  <a:moveTo>
                    <a:pt x="165" y="15"/>
                  </a:moveTo>
                  <a:cubicBezTo>
                    <a:pt x="165" y="15"/>
                    <a:pt x="165" y="15"/>
                    <a:pt x="165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4" name="Freeform 43">
              <a:extLst>
                <a:ext uri="{FF2B5EF4-FFF2-40B4-BE49-F238E27FC236}">
                  <a16:creationId xmlns:a16="http://schemas.microsoft.com/office/drawing/2014/main" id="{FCB12504-852B-4E8A-A51E-83A4EBB82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7988" y="3224213"/>
              <a:ext cx="392113" cy="103187"/>
            </a:xfrm>
            <a:custGeom>
              <a:avLst/>
              <a:gdLst>
                <a:gd name="T0" fmla="*/ 158 w 182"/>
                <a:gd name="T1" fmla="*/ 0 h 48"/>
                <a:gd name="T2" fmla="*/ 182 w 182"/>
                <a:gd name="T3" fmla="*/ 24 h 48"/>
                <a:gd name="T4" fmla="*/ 158 w 182"/>
                <a:gd name="T5" fmla="*/ 48 h 48"/>
                <a:gd name="T6" fmla="*/ 24 w 182"/>
                <a:gd name="T7" fmla="*/ 48 h 48"/>
                <a:gd name="T8" fmla="*/ 0 w 182"/>
                <a:gd name="T9" fmla="*/ 24 h 48"/>
                <a:gd name="T10" fmla="*/ 24 w 182"/>
                <a:gd name="T11" fmla="*/ 0 h 48"/>
                <a:gd name="T12" fmla="*/ 158 w 182"/>
                <a:gd name="T13" fmla="*/ 0 h 48"/>
                <a:gd name="T14" fmla="*/ 158 w 182"/>
                <a:gd name="T15" fmla="*/ 0 h 48"/>
                <a:gd name="T16" fmla="*/ 158 w 182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2" h="48">
                  <a:moveTo>
                    <a:pt x="158" y="0"/>
                  </a:moveTo>
                  <a:cubicBezTo>
                    <a:pt x="172" y="0"/>
                    <a:pt x="182" y="11"/>
                    <a:pt x="182" y="24"/>
                  </a:cubicBezTo>
                  <a:cubicBezTo>
                    <a:pt x="182" y="38"/>
                    <a:pt x="172" y="48"/>
                    <a:pt x="158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lnTo>
                    <a:pt x="158" y="0"/>
                  </a:lnTo>
                  <a:close/>
                  <a:moveTo>
                    <a:pt x="158" y="0"/>
                  </a:moveTo>
                  <a:cubicBezTo>
                    <a:pt x="158" y="0"/>
                    <a:pt x="158" y="0"/>
                    <a:pt x="15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C276894-BD45-4AEA-A96B-3F43FDBE68DE}"/>
              </a:ext>
            </a:extLst>
          </p:cNvPr>
          <p:cNvGrpSpPr/>
          <p:nvPr/>
        </p:nvGrpSpPr>
        <p:grpSpPr>
          <a:xfrm>
            <a:off x="7648263" y="4310357"/>
            <a:ext cx="871306" cy="871307"/>
            <a:chOff x="7301411" y="5852965"/>
            <a:chExt cx="871306" cy="871307"/>
          </a:xfrm>
        </p:grpSpPr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C25EFB4A-37C8-4898-A812-5908B96A905E}"/>
                </a:ext>
              </a:extLst>
            </p:cNvPr>
            <p:cNvSpPr/>
            <p:nvPr/>
          </p:nvSpPr>
          <p:spPr>
            <a:xfrm rot="10800000" flipH="1" flipV="1">
              <a:off x="7301411" y="5852965"/>
              <a:ext cx="871306" cy="8713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14300" dist="114300" dir="4800000" algn="tl" rotWithShape="0">
                <a:prstClr val="black">
                  <a:alpha val="2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 dirty="0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D7424AF-5E1D-4533-BCB7-2C104016C3A7}"/>
                </a:ext>
              </a:extLst>
            </p:cNvPr>
            <p:cNvGrpSpPr/>
            <p:nvPr/>
          </p:nvGrpSpPr>
          <p:grpSpPr>
            <a:xfrm>
              <a:off x="7591351" y="6055271"/>
              <a:ext cx="292442" cy="453182"/>
              <a:chOff x="8067067" y="4842026"/>
              <a:chExt cx="292442" cy="453182"/>
            </a:xfrm>
          </p:grpSpPr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8213F609-42A1-42B5-B8D4-552548173B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2003" y="4965423"/>
                <a:ext cx="27432" cy="225977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E6E1EA3E-52D9-4779-87DE-F8ECE501EF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36073" y="5012325"/>
                <a:ext cx="19949" cy="18646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4C9D9A4D-B120-48BE-A83D-460B43BEB4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6829" y="5069279"/>
                <a:ext cx="19949" cy="12495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E62B2FA1-AC64-47AB-A8B7-5FE157F06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17113" y="5126745"/>
                <a:ext cx="19949" cy="6289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5" name="Freeform 47">
                <a:extLst>
                  <a:ext uri="{FF2B5EF4-FFF2-40B4-BE49-F238E27FC236}">
                    <a16:creationId xmlns:a16="http://schemas.microsoft.com/office/drawing/2014/main" id="{9A003183-3324-473A-AF67-474AA452E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8465" y="4853356"/>
                <a:ext cx="275212" cy="70338"/>
              </a:xfrm>
              <a:custGeom>
                <a:avLst/>
                <a:gdLst>
                  <a:gd name="T0" fmla="*/ 0 w 858"/>
                  <a:gd name="T1" fmla="*/ 220 h 220"/>
                  <a:gd name="T2" fmla="*/ 0 w 858"/>
                  <a:gd name="T3" fmla="*/ 66 h 220"/>
                  <a:gd name="T4" fmla="*/ 104 w 858"/>
                  <a:gd name="T5" fmla="*/ 0 h 220"/>
                  <a:gd name="T6" fmla="*/ 760 w 858"/>
                  <a:gd name="T7" fmla="*/ 0 h 220"/>
                  <a:gd name="T8" fmla="*/ 858 w 858"/>
                  <a:gd name="T9" fmla="*/ 91 h 220"/>
                  <a:gd name="T10" fmla="*/ 858 w 858"/>
                  <a:gd name="T11" fmla="*/ 220 h 220"/>
                  <a:gd name="T12" fmla="*/ 0 w 858"/>
                  <a:gd name="T13" fmla="*/ 22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8" h="220">
                    <a:moveTo>
                      <a:pt x="0" y="220"/>
                    </a:moveTo>
                    <a:cubicBezTo>
                      <a:pt x="0" y="66"/>
                      <a:pt x="0" y="66"/>
                      <a:pt x="0" y="66"/>
                    </a:cubicBezTo>
                    <a:cubicBezTo>
                      <a:pt x="0" y="66"/>
                      <a:pt x="16" y="8"/>
                      <a:pt x="104" y="0"/>
                    </a:cubicBezTo>
                    <a:cubicBezTo>
                      <a:pt x="760" y="0"/>
                      <a:pt x="760" y="0"/>
                      <a:pt x="760" y="0"/>
                    </a:cubicBezTo>
                    <a:cubicBezTo>
                      <a:pt x="760" y="0"/>
                      <a:pt x="852" y="12"/>
                      <a:pt x="858" y="91"/>
                    </a:cubicBezTo>
                    <a:cubicBezTo>
                      <a:pt x="858" y="220"/>
                      <a:pt x="858" y="220"/>
                      <a:pt x="858" y="220"/>
                    </a:cubicBezTo>
                    <a:lnTo>
                      <a:pt x="0" y="22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6" name="Freeform 48">
                <a:extLst>
                  <a:ext uri="{FF2B5EF4-FFF2-40B4-BE49-F238E27FC236}">
                    <a16:creationId xmlns:a16="http://schemas.microsoft.com/office/drawing/2014/main" id="{9FD8AC41-F40A-49C9-B2E1-63A800EFE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7521" y="5224162"/>
                <a:ext cx="275212" cy="71046"/>
              </a:xfrm>
              <a:custGeom>
                <a:avLst/>
                <a:gdLst>
                  <a:gd name="T0" fmla="*/ 0 w 858"/>
                  <a:gd name="T1" fmla="*/ 0 h 222"/>
                  <a:gd name="T2" fmla="*/ 858 w 858"/>
                  <a:gd name="T3" fmla="*/ 0 h 222"/>
                  <a:gd name="T4" fmla="*/ 858 w 858"/>
                  <a:gd name="T5" fmla="*/ 152 h 222"/>
                  <a:gd name="T6" fmla="*/ 781 w 858"/>
                  <a:gd name="T7" fmla="*/ 222 h 222"/>
                  <a:gd name="T8" fmla="*/ 102 w 858"/>
                  <a:gd name="T9" fmla="*/ 222 h 222"/>
                  <a:gd name="T10" fmla="*/ 0 w 858"/>
                  <a:gd name="T11" fmla="*/ 130 h 222"/>
                  <a:gd name="T12" fmla="*/ 0 w 858"/>
                  <a:gd name="T13" fmla="*/ 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8" h="222">
                    <a:moveTo>
                      <a:pt x="0" y="0"/>
                    </a:moveTo>
                    <a:cubicBezTo>
                      <a:pt x="858" y="0"/>
                      <a:pt x="858" y="0"/>
                      <a:pt x="858" y="0"/>
                    </a:cubicBezTo>
                    <a:cubicBezTo>
                      <a:pt x="858" y="152"/>
                      <a:pt x="858" y="152"/>
                      <a:pt x="858" y="152"/>
                    </a:cubicBezTo>
                    <a:cubicBezTo>
                      <a:pt x="858" y="152"/>
                      <a:pt x="841" y="217"/>
                      <a:pt x="781" y="222"/>
                    </a:cubicBezTo>
                    <a:cubicBezTo>
                      <a:pt x="102" y="222"/>
                      <a:pt x="102" y="222"/>
                      <a:pt x="102" y="222"/>
                    </a:cubicBezTo>
                    <a:cubicBezTo>
                      <a:pt x="102" y="222"/>
                      <a:pt x="14" y="208"/>
                      <a:pt x="0" y="13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7" name="Freeform 49">
                <a:extLst>
                  <a:ext uri="{FF2B5EF4-FFF2-40B4-BE49-F238E27FC236}">
                    <a16:creationId xmlns:a16="http://schemas.microsoft.com/office/drawing/2014/main" id="{2DE34C65-677E-4292-A65F-80EE723BA1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67067" y="4842026"/>
                <a:ext cx="292442" cy="453182"/>
              </a:xfrm>
              <a:custGeom>
                <a:avLst/>
                <a:gdLst>
                  <a:gd name="T0" fmla="*/ 912 w 912"/>
                  <a:gd name="T1" fmla="*/ 120 h 1418"/>
                  <a:gd name="T2" fmla="*/ 912 w 912"/>
                  <a:gd name="T3" fmla="*/ 1298 h 1418"/>
                  <a:gd name="T4" fmla="*/ 792 w 912"/>
                  <a:gd name="T5" fmla="*/ 1418 h 1418"/>
                  <a:gd name="T6" fmla="*/ 120 w 912"/>
                  <a:gd name="T7" fmla="*/ 1418 h 1418"/>
                  <a:gd name="T8" fmla="*/ 0 w 912"/>
                  <a:gd name="T9" fmla="*/ 1298 h 1418"/>
                  <a:gd name="T10" fmla="*/ 0 w 912"/>
                  <a:gd name="T11" fmla="*/ 120 h 1418"/>
                  <a:gd name="T12" fmla="*/ 120 w 912"/>
                  <a:gd name="T13" fmla="*/ 0 h 1418"/>
                  <a:gd name="T14" fmla="*/ 792 w 912"/>
                  <a:gd name="T15" fmla="*/ 0 h 1418"/>
                  <a:gd name="T16" fmla="*/ 912 w 912"/>
                  <a:gd name="T17" fmla="*/ 120 h 1418"/>
                  <a:gd name="T18" fmla="*/ 864 w 912"/>
                  <a:gd name="T19" fmla="*/ 1298 h 1418"/>
                  <a:gd name="T20" fmla="*/ 864 w 912"/>
                  <a:gd name="T21" fmla="*/ 1200 h 1418"/>
                  <a:gd name="T22" fmla="*/ 48 w 912"/>
                  <a:gd name="T23" fmla="*/ 1200 h 1418"/>
                  <a:gd name="T24" fmla="*/ 48 w 912"/>
                  <a:gd name="T25" fmla="*/ 1298 h 1418"/>
                  <a:gd name="T26" fmla="*/ 120 w 912"/>
                  <a:gd name="T27" fmla="*/ 1370 h 1418"/>
                  <a:gd name="T28" fmla="*/ 792 w 912"/>
                  <a:gd name="T29" fmla="*/ 1370 h 1418"/>
                  <a:gd name="T30" fmla="*/ 864 w 912"/>
                  <a:gd name="T31" fmla="*/ 1298 h 1418"/>
                  <a:gd name="T32" fmla="*/ 864 w 912"/>
                  <a:gd name="T33" fmla="*/ 1152 h 1418"/>
                  <a:gd name="T34" fmla="*/ 864 w 912"/>
                  <a:gd name="T35" fmla="*/ 266 h 1418"/>
                  <a:gd name="T36" fmla="*/ 48 w 912"/>
                  <a:gd name="T37" fmla="*/ 266 h 1418"/>
                  <a:gd name="T38" fmla="*/ 48 w 912"/>
                  <a:gd name="T39" fmla="*/ 1152 h 1418"/>
                  <a:gd name="T40" fmla="*/ 864 w 912"/>
                  <a:gd name="T41" fmla="*/ 1152 h 1418"/>
                  <a:gd name="T42" fmla="*/ 864 w 912"/>
                  <a:gd name="T43" fmla="*/ 218 h 1418"/>
                  <a:gd name="T44" fmla="*/ 864 w 912"/>
                  <a:gd name="T45" fmla="*/ 120 h 1418"/>
                  <a:gd name="T46" fmla="*/ 792 w 912"/>
                  <a:gd name="T47" fmla="*/ 48 h 1418"/>
                  <a:gd name="T48" fmla="*/ 120 w 912"/>
                  <a:gd name="T49" fmla="*/ 48 h 1418"/>
                  <a:gd name="T50" fmla="*/ 48 w 912"/>
                  <a:gd name="T51" fmla="*/ 120 h 1418"/>
                  <a:gd name="T52" fmla="*/ 48 w 912"/>
                  <a:gd name="T53" fmla="*/ 218 h 1418"/>
                  <a:gd name="T54" fmla="*/ 864 w 912"/>
                  <a:gd name="T55" fmla="*/ 218 h 1418"/>
                  <a:gd name="T56" fmla="*/ 864 w 912"/>
                  <a:gd name="T57" fmla="*/ 218 h 1418"/>
                  <a:gd name="T58" fmla="*/ 864 w 912"/>
                  <a:gd name="T59" fmla="*/ 218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12" h="1418">
                    <a:moveTo>
                      <a:pt x="912" y="120"/>
                    </a:moveTo>
                    <a:cubicBezTo>
                      <a:pt x="912" y="1298"/>
                      <a:pt x="912" y="1298"/>
                      <a:pt x="912" y="1298"/>
                    </a:cubicBezTo>
                    <a:cubicBezTo>
                      <a:pt x="912" y="1364"/>
                      <a:pt x="858" y="1418"/>
                      <a:pt x="792" y="1418"/>
                    </a:cubicBezTo>
                    <a:cubicBezTo>
                      <a:pt x="120" y="1418"/>
                      <a:pt x="120" y="1418"/>
                      <a:pt x="120" y="1418"/>
                    </a:cubicBezTo>
                    <a:cubicBezTo>
                      <a:pt x="54" y="1418"/>
                      <a:pt x="0" y="1364"/>
                      <a:pt x="0" y="129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54"/>
                      <a:pt x="54" y="0"/>
                      <a:pt x="120" y="0"/>
                    </a:cubicBezTo>
                    <a:cubicBezTo>
                      <a:pt x="792" y="0"/>
                      <a:pt x="792" y="0"/>
                      <a:pt x="792" y="0"/>
                    </a:cubicBezTo>
                    <a:cubicBezTo>
                      <a:pt x="858" y="0"/>
                      <a:pt x="912" y="54"/>
                      <a:pt x="912" y="120"/>
                    </a:cubicBezTo>
                    <a:close/>
                    <a:moveTo>
                      <a:pt x="864" y="1298"/>
                    </a:moveTo>
                    <a:cubicBezTo>
                      <a:pt x="864" y="1200"/>
                      <a:pt x="864" y="1200"/>
                      <a:pt x="864" y="1200"/>
                    </a:cubicBezTo>
                    <a:cubicBezTo>
                      <a:pt x="48" y="1200"/>
                      <a:pt x="48" y="1200"/>
                      <a:pt x="48" y="1200"/>
                    </a:cubicBezTo>
                    <a:cubicBezTo>
                      <a:pt x="48" y="1298"/>
                      <a:pt x="48" y="1298"/>
                      <a:pt x="48" y="1298"/>
                    </a:cubicBezTo>
                    <a:cubicBezTo>
                      <a:pt x="48" y="1338"/>
                      <a:pt x="80" y="1370"/>
                      <a:pt x="120" y="1370"/>
                    </a:cubicBezTo>
                    <a:cubicBezTo>
                      <a:pt x="792" y="1370"/>
                      <a:pt x="792" y="1370"/>
                      <a:pt x="792" y="1370"/>
                    </a:cubicBezTo>
                    <a:cubicBezTo>
                      <a:pt x="832" y="1370"/>
                      <a:pt x="864" y="1338"/>
                      <a:pt x="864" y="1298"/>
                    </a:cubicBezTo>
                    <a:close/>
                    <a:moveTo>
                      <a:pt x="864" y="1152"/>
                    </a:moveTo>
                    <a:cubicBezTo>
                      <a:pt x="864" y="266"/>
                      <a:pt x="864" y="266"/>
                      <a:pt x="864" y="266"/>
                    </a:cubicBezTo>
                    <a:cubicBezTo>
                      <a:pt x="48" y="266"/>
                      <a:pt x="48" y="266"/>
                      <a:pt x="48" y="266"/>
                    </a:cubicBezTo>
                    <a:cubicBezTo>
                      <a:pt x="48" y="1152"/>
                      <a:pt x="48" y="1152"/>
                      <a:pt x="48" y="1152"/>
                    </a:cubicBezTo>
                    <a:lnTo>
                      <a:pt x="864" y="1152"/>
                    </a:lnTo>
                    <a:close/>
                    <a:moveTo>
                      <a:pt x="864" y="218"/>
                    </a:moveTo>
                    <a:cubicBezTo>
                      <a:pt x="864" y="120"/>
                      <a:pt x="864" y="120"/>
                      <a:pt x="864" y="120"/>
                    </a:cubicBezTo>
                    <a:cubicBezTo>
                      <a:pt x="864" y="80"/>
                      <a:pt x="832" y="48"/>
                      <a:pt x="792" y="48"/>
                    </a:cubicBezTo>
                    <a:cubicBezTo>
                      <a:pt x="120" y="48"/>
                      <a:pt x="120" y="48"/>
                      <a:pt x="120" y="48"/>
                    </a:cubicBezTo>
                    <a:cubicBezTo>
                      <a:pt x="80" y="48"/>
                      <a:pt x="48" y="80"/>
                      <a:pt x="48" y="120"/>
                    </a:cubicBezTo>
                    <a:cubicBezTo>
                      <a:pt x="48" y="218"/>
                      <a:pt x="48" y="218"/>
                      <a:pt x="48" y="218"/>
                    </a:cubicBezTo>
                    <a:lnTo>
                      <a:pt x="864" y="218"/>
                    </a:lnTo>
                    <a:close/>
                    <a:moveTo>
                      <a:pt x="864" y="218"/>
                    </a:moveTo>
                    <a:cubicBezTo>
                      <a:pt x="864" y="218"/>
                      <a:pt x="864" y="218"/>
                      <a:pt x="864" y="218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8" name="Freeform 50">
                <a:extLst>
                  <a:ext uri="{FF2B5EF4-FFF2-40B4-BE49-F238E27FC236}">
                    <a16:creationId xmlns:a16="http://schemas.microsoft.com/office/drawing/2014/main" id="{E17A5CAC-26E8-4D3A-AD69-E5E80A394F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81924" y="4958154"/>
                <a:ext cx="47678" cy="242169"/>
              </a:xfrm>
              <a:custGeom>
                <a:avLst/>
                <a:gdLst>
                  <a:gd name="T0" fmla="*/ 149 w 149"/>
                  <a:gd name="T1" fmla="*/ 24 h 758"/>
                  <a:gd name="T2" fmla="*/ 149 w 149"/>
                  <a:gd name="T3" fmla="*/ 734 h 758"/>
                  <a:gd name="T4" fmla="*/ 125 w 149"/>
                  <a:gd name="T5" fmla="*/ 758 h 758"/>
                  <a:gd name="T6" fmla="*/ 24 w 149"/>
                  <a:gd name="T7" fmla="*/ 758 h 758"/>
                  <a:gd name="T8" fmla="*/ 0 w 149"/>
                  <a:gd name="T9" fmla="*/ 734 h 758"/>
                  <a:gd name="T10" fmla="*/ 0 w 149"/>
                  <a:gd name="T11" fmla="*/ 24 h 758"/>
                  <a:gd name="T12" fmla="*/ 24 w 149"/>
                  <a:gd name="T13" fmla="*/ 0 h 758"/>
                  <a:gd name="T14" fmla="*/ 125 w 149"/>
                  <a:gd name="T15" fmla="*/ 0 h 758"/>
                  <a:gd name="T16" fmla="*/ 149 w 149"/>
                  <a:gd name="T17" fmla="*/ 24 h 758"/>
                  <a:gd name="T18" fmla="*/ 101 w 149"/>
                  <a:gd name="T19" fmla="*/ 710 h 758"/>
                  <a:gd name="T20" fmla="*/ 101 w 149"/>
                  <a:gd name="T21" fmla="*/ 48 h 758"/>
                  <a:gd name="T22" fmla="*/ 48 w 149"/>
                  <a:gd name="T23" fmla="*/ 48 h 758"/>
                  <a:gd name="T24" fmla="*/ 48 w 149"/>
                  <a:gd name="T25" fmla="*/ 710 h 758"/>
                  <a:gd name="T26" fmla="*/ 101 w 149"/>
                  <a:gd name="T27" fmla="*/ 710 h 758"/>
                  <a:gd name="T28" fmla="*/ 101 w 149"/>
                  <a:gd name="T29" fmla="*/ 710 h 758"/>
                  <a:gd name="T30" fmla="*/ 101 w 149"/>
                  <a:gd name="T31" fmla="*/ 710 h 7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758">
                    <a:moveTo>
                      <a:pt x="149" y="24"/>
                    </a:moveTo>
                    <a:cubicBezTo>
                      <a:pt x="149" y="734"/>
                      <a:pt x="149" y="734"/>
                      <a:pt x="149" y="734"/>
                    </a:cubicBezTo>
                    <a:cubicBezTo>
                      <a:pt x="149" y="747"/>
                      <a:pt x="138" y="758"/>
                      <a:pt x="125" y="758"/>
                    </a:cubicBezTo>
                    <a:cubicBezTo>
                      <a:pt x="24" y="758"/>
                      <a:pt x="24" y="758"/>
                      <a:pt x="24" y="758"/>
                    </a:cubicBezTo>
                    <a:cubicBezTo>
                      <a:pt x="11" y="758"/>
                      <a:pt x="0" y="747"/>
                      <a:pt x="0" y="73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710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710"/>
                      <a:pt x="48" y="710"/>
                      <a:pt x="48" y="710"/>
                    </a:cubicBezTo>
                    <a:lnTo>
                      <a:pt x="101" y="710"/>
                    </a:lnTo>
                    <a:close/>
                    <a:moveTo>
                      <a:pt x="101" y="710"/>
                    </a:moveTo>
                    <a:cubicBezTo>
                      <a:pt x="101" y="710"/>
                      <a:pt x="101" y="710"/>
                      <a:pt x="101" y="71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9" name="Freeform 52">
                <a:extLst>
                  <a:ext uri="{FF2B5EF4-FFF2-40B4-BE49-F238E27FC236}">
                    <a16:creationId xmlns:a16="http://schemas.microsoft.com/office/drawing/2014/main" id="{60CB00CB-EF59-4B44-B41C-F0CB054976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22208" y="5010789"/>
                <a:ext cx="47678" cy="189534"/>
              </a:xfrm>
              <a:custGeom>
                <a:avLst/>
                <a:gdLst>
                  <a:gd name="T0" fmla="*/ 149 w 149"/>
                  <a:gd name="T1" fmla="*/ 24 h 593"/>
                  <a:gd name="T2" fmla="*/ 149 w 149"/>
                  <a:gd name="T3" fmla="*/ 569 h 593"/>
                  <a:gd name="T4" fmla="*/ 125 w 149"/>
                  <a:gd name="T5" fmla="*/ 593 h 593"/>
                  <a:gd name="T6" fmla="*/ 24 w 149"/>
                  <a:gd name="T7" fmla="*/ 593 h 593"/>
                  <a:gd name="T8" fmla="*/ 0 w 149"/>
                  <a:gd name="T9" fmla="*/ 569 h 593"/>
                  <a:gd name="T10" fmla="*/ 0 w 149"/>
                  <a:gd name="T11" fmla="*/ 24 h 593"/>
                  <a:gd name="T12" fmla="*/ 24 w 149"/>
                  <a:gd name="T13" fmla="*/ 0 h 593"/>
                  <a:gd name="T14" fmla="*/ 125 w 149"/>
                  <a:gd name="T15" fmla="*/ 0 h 593"/>
                  <a:gd name="T16" fmla="*/ 149 w 149"/>
                  <a:gd name="T17" fmla="*/ 24 h 593"/>
                  <a:gd name="T18" fmla="*/ 101 w 149"/>
                  <a:gd name="T19" fmla="*/ 545 h 593"/>
                  <a:gd name="T20" fmla="*/ 101 w 149"/>
                  <a:gd name="T21" fmla="*/ 48 h 593"/>
                  <a:gd name="T22" fmla="*/ 48 w 149"/>
                  <a:gd name="T23" fmla="*/ 48 h 593"/>
                  <a:gd name="T24" fmla="*/ 48 w 149"/>
                  <a:gd name="T25" fmla="*/ 545 h 593"/>
                  <a:gd name="T26" fmla="*/ 101 w 149"/>
                  <a:gd name="T27" fmla="*/ 545 h 593"/>
                  <a:gd name="T28" fmla="*/ 101 w 149"/>
                  <a:gd name="T29" fmla="*/ 545 h 593"/>
                  <a:gd name="T30" fmla="*/ 101 w 149"/>
                  <a:gd name="T31" fmla="*/ 545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593">
                    <a:moveTo>
                      <a:pt x="149" y="24"/>
                    </a:moveTo>
                    <a:cubicBezTo>
                      <a:pt x="149" y="569"/>
                      <a:pt x="149" y="569"/>
                      <a:pt x="149" y="569"/>
                    </a:cubicBezTo>
                    <a:cubicBezTo>
                      <a:pt x="149" y="582"/>
                      <a:pt x="138" y="593"/>
                      <a:pt x="125" y="593"/>
                    </a:cubicBezTo>
                    <a:cubicBezTo>
                      <a:pt x="24" y="593"/>
                      <a:pt x="24" y="593"/>
                      <a:pt x="24" y="593"/>
                    </a:cubicBezTo>
                    <a:cubicBezTo>
                      <a:pt x="11" y="593"/>
                      <a:pt x="0" y="582"/>
                      <a:pt x="0" y="56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0"/>
                      <a:pt x="149" y="24"/>
                    </a:cubicBezTo>
                    <a:close/>
                    <a:moveTo>
                      <a:pt x="101" y="545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545"/>
                      <a:pt x="48" y="545"/>
                      <a:pt x="48" y="545"/>
                    </a:cubicBezTo>
                    <a:lnTo>
                      <a:pt x="101" y="545"/>
                    </a:lnTo>
                    <a:close/>
                    <a:moveTo>
                      <a:pt x="101" y="545"/>
                    </a:moveTo>
                    <a:cubicBezTo>
                      <a:pt x="101" y="545"/>
                      <a:pt x="101" y="545"/>
                      <a:pt x="101" y="545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90" name="Freeform 53">
                <a:extLst>
                  <a:ext uri="{FF2B5EF4-FFF2-40B4-BE49-F238E27FC236}">
                    <a16:creationId xmlns:a16="http://schemas.microsoft.com/office/drawing/2014/main" id="{12C0D89F-44CA-4062-B111-98841E16E1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75946" y="4882388"/>
                <a:ext cx="80959" cy="15342"/>
              </a:xfrm>
              <a:custGeom>
                <a:avLst/>
                <a:gdLst>
                  <a:gd name="T0" fmla="*/ 228 w 252"/>
                  <a:gd name="T1" fmla="*/ 0 h 48"/>
                  <a:gd name="T2" fmla="*/ 252 w 252"/>
                  <a:gd name="T3" fmla="*/ 24 h 48"/>
                  <a:gd name="T4" fmla="*/ 228 w 252"/>
                  <a:gd name="T5" fmla="*/ 48 h 48"/>
                  <a:gd name="T6" fmla="*/ 24 w 252"/>
                  <a:gd name="T7" fmla="*/ 48 h 48"/>
                  <a:gd name="T8" fmla="*/ 0 w 252"/>
                  <a:gd name="T9" fmla="*/ 24 h 48"/>
                  <a:gd name="T10" fmla="*/ 24 w 252"/>
                  <a:gd name="T11" fmla="*/ 0 h 48"/>
                  <a:gd name="T12" fmla="*/ 228 w 252"/>
                  <a:gd name="T13" fmla="*/ 0 h 48"/>
                  <a:gd name="T14" fmla="*/ 228 w 252"/>
                  <a:gd name="T15" fmla="*/ 0 h 48"/>
                  <a:gd name="T16" fmla="*/ 228 w 252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2" h="48">
                    <a:moveTo>
                      <a:pt x="228" y="0"/>
                    </a:moveTo>
                    <a:cubicBezTo>
                      <a:pt x="242" y="0"/>
                      <a:pt x="252" y="11"/>
                      <a:pt x="252" y="24"/>
                    </a:cubicBezTo>
                    <a:cubicBezTo>
                      <a:pt x="252" y="37"/>
                      <a:pt x="242" y="48"/>
                      <a:pt x="228" y="48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10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lnTo>
                      <a:pt x="228" y="0"/>
                    </a:lnTo>
                    <a:close/>
                    <a:moveTo>
                      <a:pt x="228" y="0"/>
                    </a:moveTo>
                    <a:cubicBezTo>
                      <a:pt x="228" y="0"/>
                      <a:pt x="228" y="0"/>
                      <a:pt x="228" y="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91" name="Freeform 55">
                <a:extLst>
                  <a:ext uri="{FF2B5EF4-FFF2-40B4-BE49-F238E27FC236}">
                    <a16:creationId xmlns:a16="http://schemas.microsoft.com/office/drawing/2014/main" id="{0142116F-4CE4-4571-A41D-A79DD17840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64922" y="5063188"/>
                <a:ext cx="45719" cy="137135"/>
              </a:xfrm>
              <a:custGeom>
                <a:avLst/>
                <a:gdLst>
                  <a:gd name="T0" fmla="*/ 149 w 149"/>
                  <a:gd name="T1" fmla="*/ 24 h 429"/>
                  <a:gd name="T2" fmla="*/ 149 w 149"/>
                  <a:gd name="T3" fmla="*/ 405 h 429"/>
                  <a:gd name="T4" fmla="*/ 125 w 149"/>
                  <a:gd name="T5" fmla="*/ 429 h 429"/>
                  <a:gd name="T6" fmla="*/ 24 w 149"/>
                  <a:gd name="T7" fmla="*/ 429 h 429"/>
                  <a:gd name="T8" fmla="*/ 0 w 149"/>
                  <a:gd name="T9" fmla="*/ 405 h 429"/>
                  <a:gd name="T10" fmla="*/ 0 w 149"/>
                  <a:gd name="T11" fmla="*/ 24 h 429"/>
                  <a:gd name="T12" fmla="*/ 24 w 149"/>
                  <a:gd name="T13" fmla="*/ 0 h 429"/>
                  <a:gd name="T14" fmla="*/ 125 w 149"/>
                  <a:gd name="T15" fmla="*/ 0 h 429"/>
                  <a:gd name="T16" fmla="*/ 149 w 149"/>
                  <a:gd name="T17" fmla="*/ 24 h 429"/>
                  <a:gd name="T18" fmla="*/ 101 w 149"/>
                  <a:gd name="T19" fmla="*/ 381 h 429"/>
                  <a:gd name="T20" fmla="*/ 101 w 149"/>
                  <a:gd name="T21" fmla="*/ 48 h 429"/>
                  <a:gd name="T22" fmla="*/ 48 w 149"/>
                  <a:gd name="T23" fmla="*/ 48 h 429"/>
                  <a:gd name="T24" fmla="*/ 48 w 149"/>
                  <a:gd name="T25" fmla="*/ 381 h 429"/>
                  <a:gd name="T26" fmla="*/ 101 w 149"/>
                  <a:gd name="T27" fmla="*/ 381 h 429"/>
                  <a:gd name="T28" fmla="*/ 101 w 149"/>
                  <a:gd name="T29" fmla="*/ 381 h 429"/>
                  <a:gd name="T30" fmla="*/ 101 w 149"/>
                  <a:gd name="T31" fmla="*/ 381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429">
                    <a:moveTo>
                      <a:pt x="149" y="24"/>
                    </a:moveTo>
                    <a:cubicBezTo>
                      <a:pt x="149" y="405"/>
                      <a:pt x="149" y="405"/>
                      <a:pt x="149" y="405"/>
                    </a:cubicBezTo>
                    <a:cubicBezTo>
                      <a:pt x="149" y="418"/>
                      <a:pt x="138" y="429"/>
                      <a:pt x="125" y="429"/>
                    </a:cubicBezTo>
                    <a:cubicBezTo>
                      <a:pt x="24" y="429"/>
                      <a:pt x="24" y="429"/>
                      <a:pt x="24" y="429"/>
                    </a:cubicBezTo>
                    <a:cubicBezTo>
                      <a:pt x="11" y="429"/>
                      <a:pt x="0" y="418"/>
                      <a:pt x="0" y="405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381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381"/>
                      <a:pt x="48" y="381"/>
                      <a:pt x="48" y="381"/>
                    </a:cubicBezTo>
                    <a:lnTo>
                      <a:pt x="101" y="381"/>
                    </a:lnTo>
                    <a:close/>
                    <a:moveTo>
                      <a:pt x="101" y="381"/>
                    </a:moveTo>
                    <a:cubicBezTo>
                      <a:pt x="101" y="381"/>
                      <a:pt x="101" y="381"/>
                      <a:pt x="101" y="381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 dirty="0"/>
              </a:p>
            </p:txBody>
          </p:sp>
          <p:sp>
            <p:nvSpPr>
              <p:cNvPr id="192" name="Freeform 57">
                <a:extLst>
                  <a:ext uri="{FF2B5EF4-FFF2-40B4-BE49-F238E27FC236}">
                    <a16:creationId xmlns:a16="http://schemas.microsoft.com/office/drawing/2014/main" id="{B6AE89D4-577A-466F-B837-720F6AC766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03248" y="5116060"/>
                <a:ext cx="47678" cy="84263"/>
              </a:xfrm>
              <a:custGeom>
                <a:avLst/>
                <a:gdLst>
                  <a:gd name="T0" fmla="*/ 149 w 149"/>
                  <a:gd name="T1" fmla="*/ 24 h 264"/>
                  <a:gd name="T2" fmla="*/ 149 w 149"/>
                  <a:gd name="T3" fmla="*/ 240 h 264"/>
                  <a:gd name="T4" fmla="*/ 125 w 149"/>
                  <a:gd name="T5" fmla="*/ 264 h 264"/>
                  <a:gd name="T6" fmla="*/ 24 w 149"/>
                  <a:gd name="T7" fmla="*/ 264 h 264"/>
                  <a:gd name="T8" fmla="*/ 0 w 149"/>
                  <a:gd name="T9" fmla="*/ 240 h 264"/>
                  <a:gd name="T10" fmla="*/ 0 w 149"/>
                  <a:gd name="T11" fmla="*/ 24 h 264"/>
                  <a:gd name="T12" fmla="*/ 24 w 149"/>
                  <a:gd name="T13" fmla="*/ 0 h 264"/>
                  <a:gd name="T14" fmla="*/ 125 w 149"/>
                  <a:gd name="T15" fmla="*/ 0 h 264"/>
                  <a:gd name="T16" fmla="*/ 149 w 149"/>
                  <a:gd name="T17" fmla="*/ 24 h 264"/>
                  <a:gd name="T18" fmla="*/ 101 w 149"/>
                  <a:gd name="T19" fmla="*/ 216 h 264"/>
                  <a:gd name="T20" fmla="*/ 101 w 149"/>
                  <a:gd name="T21" fmla="*/ 48 h 264"/>
                  <a:gd name="T22" fmla="*/ 48 w 149"/>
                  <a:gd name="T23" fmla="*/ 48 h 264"/>
                  <a:gd name="T24" fmla="*/ 48 w 149"/>
                  <a:gd name="T25" fmla="*/ 216 h 264"/>
                  <a:gd name="T26" fmla="*/ 101 w 149"/>
                  <a:gd name="T27" fmla="*/ 216 h 264"/>
                  <a:gd name="T28" fmla="*/ 101 w 149"/>
                  <a:gd name="T29" fmla="*/ 216 h 264"/>
                  <a:gd name="T30" fmla="*/ 101 w 149"/>
                  <a:gd name="T31" fmla="*/ 216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264">
                    <a:moveTo>
                      <a:pt x="149" y="24"/>
                    </a:moveTo>
                    <a:cubicBezTo>
                      <a:pt x="149" y="240"/>
                      <a:pt x="149" y="240"/>
                      <a:pt x="149" y="240"/>
                    </a:cubicBezTo>
                    <a:cubicBezTo>
                      <a:pt x="149" y="253"/>
                      <a:pt x="138" y="264"/>
                      <a:pt x="125" y="264"/>
                    </a:cubicBezTo>
                    <a:cubicBezTo>
                      <a:pt x="24" y="264"/>
                      <a:pt x="24" y="264"/>
                      <a:pt x="24" y="264"/>
                    </a:cubicBezTo>
                    <a:cubicBezTo>
                      <a:pt x="11" y="264"/>
                      <a:pt x="0" y="253"/>
                      <a:pt x="0" y="24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216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216"/>
                      <a:pt x="48" y="216"/>
                      <a:pt x="48" y="216"/>
                    </a:cubicBezTo>
                    <a:lnTo>
                      <a:pt x="101" y="216"/>
                    </a:lnTo>
                    <a:close/>
                    <a:moveTo>
                      <a:pt x="101" y="216"/>
                    </a:moveTo>
                    <a:cubicBezTo>
                      <a:pt x="101" y="216"/>
                      <a:pt x="101" y="216"/>
                      <a:pt x="101" y="216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</p:grpSp>
      </p:grpSp>
      <p:sp>
        <p:nvSpPr>
          <p:cNvPr id="175" name="Oval 174">
            <a:extLst>
              <a:ext uri="{FF2B5EF4-FFF2-40B4-BE49-F238E27FC236}">
                <a16:creationId xmlns:a16="http://schemas.microsoft.com/office/drawing/2014/main" id="{0496FDE3-2519-4B37-8B56-FCCA0E497DB3}"/>
              </a:ext>
            </a:extLst>
          </p:cNvPr>
          <p:cNvSpPr/>
          <p:nvPr/>
        </p:nvSpPr>
        <p:spPr>
          <a:xfrm flipH="1">
            <a:off x="7267329" y="1850490"/>
            <a:ext cx="871306" cy="87130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14300" dir="4800000" algn="tl" rotWithShape="0">
              <a:prstClr val="black">
                <a:alpha val="2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3DC4FBE-52E5-4B45-BEEA-85833BE4A7BE}"/>
              </a:ext>
            </a:extLst>
          </p:cNvPr>
          <p:cNvGrpSpPr/>
          <p:nvPr/>
        </p:nvGrpSpPr>
        <p:grpSpPr>
          <a:xfrm>
            <a:off x="4019701" y="1840291"/>
            <a:ext cx="871306" cy="871307"/>
            <a:chOff x="4019701" y="1840291"/>
            <a:chExt cx="871306" cy="871307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62FE7440-D463-4977-AA2E-14AE6C7A3CC3}"/>
                </a:ext>
              </a:extLst>
            </p:cNvPr>
            <p:cNvSpPr/>
            <p:nvPr/>
          </p:nvSpPr>
          <p:spPr>
            <a:xfrm flipH="1">
              <a:off x="4019701" y="1840291"/>
              <a:ext cx="871306" cy="8713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14300" dist="114300" dir="4800000" algn="tl" rotWithShape="0">
                <a:prstClr val="black">
                  <a:alpha val="2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IN" sz="24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04A8A40C-0676-49F0-B9F8-9D146CE79EEE}"/>
                </a:ext>
              </a:extLst>
            </p:cNvPr>
            <p:cNvGrpSpPr/>
            <p:nvPr/>
          </p:nvGrpSpPr>
          <p:grpSpPr>
            <a:xfrm>
              <a:off x="4179001" y="2020277"/>
              <a:ext cx="580305" cy="501470"/>
              <a:chOff x="7086600" y="4859338"/>
              <a:chExt cx="531813" cy="531812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D23F960C-2EF4-4249-A09C-67FD1A088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325" y="4962525"/>
                <a:ext cx="407988" cy="26352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47495A30-F039-4B1C-821D-F1D956CD33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0100" y="4883150"/>
                <a:ext cx="25400" cy="396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0FCEE7E2-5D91-46BD-BB82-189485B501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88200" y="4883150"/>
                <a:ext cx="12700" cy="396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8F401C4B-A1EA-4E1F-8C9A-F7575F0050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29475" y="4883150"/>
                <a:ext cx="15875" cy="396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6" name="Freeform 294">
                <a:extLst>
                  <a:ext uri="{FF2B5EF4-FFF2-40B4-BE49-F238E27FC236}">
                    <a16:creationId xmlns:a16="http://schemas.microsoft.com/office/drawing/2014/main" id="{22BD2978-4B80-4CE8-9178-00CF635E2A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27875" y="4943475"/>
                <a:ext cx="474663" cy="336550"/>
              </a:xfrm>
              <a:custGeom>
                <a:avLst/>
                <a:gdLst>
                  <a:gd name="T0" fmla="*/ 0 w 899"/>
                  <a:gd name="T1" fmla="*/ 579 h 636"/>
                  <a:gd name="T2" fmla="*/ 50 w 899"/>
                  <a:gd name="T3" fmla="*/ 579 h 636"/>
                  <a:gd name="T4" fmla="*/ 50 w 899"/>
                  <a:gd name="T5" fmla="*/ 18 h 636"/>
                  <a:gd name="T6" fmla="*/ 50 w 899"/>
                  <a:gd name="T7" fmla="*/ 0 h 636"/>
                  <a:gd name="T8" fmla="*/ 66 w 899"/>
                  <a:gd name="T9" fmla="*/ 0 h 636"/>
                  <a:gd name="T10" fmla="*/ 879 w 899"/>
                  <a:gd name="T11" fmla="*/ 0 h 636"/>
                  <a:gd name="T12" fmla="*/ 895 w 899"/>
                  <a:gd name="T13" fmla="*/ 0 h 636"/>
                  <a:gd name="T14" fmla="*/ 895 w 899"/>
                  <a:gd name="T15" fmla="*/ 18 h 636"/>
                  <a:gd name="T16" fmla="*/ 895 w 899"/>
                  <a:gd name="T17" fmla="*/ 579 h 636"/>
                  <a:gd name="T18" fmla="*/ 899 w 899"/>
                  <a:gd name="T19" fmla="*/ 579 h 636"/>
                  <a:gd name="T20" fmla="*/ 899 w 899"/>
                  <a:gd name="T21" fmla="*/ 636 h 636"/>
                  <a:gd name="T22" fmla="*/ 0 w 899"/>
                  <a:gd name="T23" fmla="*/ 636 h 636"/>
                  <a:gd name="T24" fmla="*/ 0 w 899"/>
                  <a:gd name="T25" fmla="*/ 579 h 636"/>
                  <a:gd name="T26" fmla="*/ 84 w 899"/>
                  <a:gd name="T27" fmla="*/ 579 h 636"/>
                  <a:gd name="T28" fmla="*/ 861 w 899"/>
                  <a:gd name="T29" fmla="*/ 579 h 636"/>
                  <a:gd name="T30" fmla="*/ 861 w 899"/>
                  <a:gd name="T31" fmla="*/ 35 h 636"/>
                  <a:gd name="T32" fmla="*/ 84 w 899"/>
                  <a:gd name="T33" fmla="*/ 35 h 636"/>
                  <a:gd name="T34" fmla="*/ 84 w 899"/>
                  <a:gd name="T35" fmla="*/ 579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99" h="636">
                    <a:moveTo>
                      <a:pt x="0" y="579"/>
                    </a:moveTo>
                    <a:lnTo>
                      <a:pt x="50" y="579"/>
                    </a:lnTo>
                    <a:lnTo>
                      <a:pt x="50" y="18"/>
                    </a:lnTo>
                    <a:lnTo>
                      <a:pt x="50" y="0"/>
                    </a:lnTo>
                    <a:lnTo>
                      <a:pt x="66" y="0"/>
                    </a:lnTo>
                    <a:lnTo>
                      <a:pt x="879" y="0"/>
                    </a:lnTo>
                    <a:lnTo>
                      <a:pt x="895" y="0"/>
                    </a:lnTo>
                    <a:lnTo>
                      <a:pt x="895" y="18"/>
                    </a:lnTo>
                    <a:lnTo>
                      <a:pt x="895" y="579"/>
                    </a:lnTo>
                    <a:lnTo>
                      <a:pt x="899" y="579"/>
                    </a:lnTo>
                    <a:lnTo>
                      <a:pt x="899" y="636"/>
                    </a:lnTo>
                    <a:lnTo>
                      <a:pt x="0" y="636"/>
                    </a:lnTo>
                    <a:lnTo>
                      <a:pt x="0" y="579"/>
                    </a:lnTo>
                    <a:close/>
                    <a:moveTo>
                      <a:pt x="84" y="579"/>
                    </a:moveTo>
                    <a:lnTo>
                      <a:pt x="861" y="579"/>
                    </a:lnTo>
                    <a:lnTo>
                      <a:pt x="861" y="35"/>
                    </a:lnTo>
                    <a:lnTo>
                      <a:pt x="84" y="35"/>
                    </a:lnTo>
                    <a:lnTo>
                      <a:pt x="84" y="57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7" name="Freeform 295">
                <a:extLst>
                  <a:ext uri="{FF2B5EF4-FFF2-40B4-BE49-F238E27FC236}">
                    <a16:creationId xmlns:a16="http://schemas.microsoft.com/office/drawing/2014/main" id="{5580846C-5172-4BE8-9545-C787C5CA2C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2950" y="4859338"/>
                <a:ext cx="511175" cy="403225"/>
              </a:xfrm>
              <a:custGeom>
                <a:avLst/>
                <a:gdLst>
                  <a:gd name="T0" fmla="*/ 35 w 968"/>
                  <a:gd name="T1" fmla="*/ 762 h 762"/>
                  <a:gd name="T2" fmla="*/ 35 w 968"/>
                  <a:gd name="T3" fmla="*/ 34 h 762"/>
                  <a:gd name="T4" fmla="*/ 345 w 968"/>
                  <a:gd name="T5" fmla="*/ 34 h 762"/>
                  <a:gd name="T6" fmla="*/ 404 w 968"/>
                  <a:gd name="T7" fmla="*/ 103 h 762"/>
                  <a:gd name="T8" fmla="*/ 409 w 968"/>
                  <a:gd name="T9" fmla="*/ 110 h 762"/>
                  <a:gd name="T10" fmla="*/ 417 w 968"/>
                  <a:gd name="T11" fmla="*/ 110 h 762"/>
                  <a:gd name="T12" fmla="*/ 933 w 968"/>
                  <a:gd name="T13" fmla="*/ 110 h 762"/>
                  <a:gd name="T14" fmla="*/ 933 w 968"/>
                  <a:gd name="T15" fmla="*/ 161 h 762"/>
                  <a:gd name="T16" fmla="*/ 945 w 968"/>
                  <a:gd name="T17" fmla="*/ 161 h 762"/>
                  <a:gd name="T18" fmla="*/ 961 w 968"/>
                  <a:gd name="T19" fmla="*/ 161 h 762"/>
                  <a:gd name="T20" fmla="*/ 961 w 968"/>
                  <a:gd name="T21" fmla="*/ 171 h 762"/>
                  <a:gd name="T22" fmla="*/ 968 w 968"/>
                  <a:gd name="T23" fmla="*/ 171 h 762"/>
                  <a:gd name="T24" fmla="*/ 968 w 968"/>
                  <a:gd name="T25" fmla="*/ 92 h 762"/>
                  <a:gd name="T26" fmla="*/ 968 w 968"/>
                  <a:gd name="T27" fmla="*/ 75 h 762"/>
                  <a:gd name="T28" fmla="*/ 950 w 968"/>
                  <a:gd name="T29" fmla="*/ 75 h 762"/>
                  <a:gd name="T30" fmla="*/ 426 w 968"/>
                  <a:gd name="T31" fmla="*/ 75 h 762"/>
                  <a:gd name="T32" fmla="*/ 365 w 968"/>
                  <a:gd name="T33" fmla="*/ 6 h 762"/>
                  <a:gd name="T34" fmla="*/ 360 w 968"/>
                  <a:gd name="T35" fmla="*/ 0 h 762"/>
                  <a:gd name="T36" fmla="*/ 353 w 968"/>
                  <a:gd name="T37" fmla="*/ 0 h 762"/>
                  <a:gd name="T38" fmla="*/ 18 w 968"/>
                  <a:gd name="T39" fmla="*/ 0 h 762"/>
                  <a:gd name="T40" fmla="*/ 0 w 968"/>
                  <a:gd name="T41" fmla="*/ 0 h 762"/>
                  <a:gd name="T42" fmla="*/ 0 w 968"/>
                  <a:gd name="T43" fmla="*/ 16 h 762"/>
                  <a:gd name="T44" fmla="*/ 0 w 968"/>
                  <a:gd name="T45" fmla="*/ 762 h 762"/>
                  <a:gd name="T46" fmla="*/ 35 w 968"/>
                  <a:gd name="T47" fmla="*/ 762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68" h="762">
                    <a:moveTo>
                      <a:pt x="35" y="762"/>
                    </a:moveTo>
                    <a:lnTo>
                      <a:pt x="35" y="34"/>
                    </a:lnTo>
                    <a:lnTo>
                      <a:pt x="345" y="34"/>
                    </a:lnTo>
                    <a:lnTo>
                      <a:pt x="404" y="103"/>
                    </a:lnTo>
                    <a:lnTo>
                      <a:pt x="409" y="110"/>
                    </a:lnTo>
                    <a:lnTo>
                      <a:pt x="417" y="110"/>
                    </a:lnTo>
                    <a:lnTo>
                      <a:pt x="933" y="110"/>
                    </a:lnTo>
                    <a:lnTo>
                      <a:pt x="933" y="161"/>
                    </a:lnTo>
                    <a:lnTo>
                      <a:pt x="945" y="161"/>
                    </a:lnTo>
                    <a:lnTo>
                      <a:pt x="961" y="161"/>
                    </a:lnTo>
                    <a:lnTo>
                      <a:pt x="961" y="171"/>
                    </a:lnTo>
                    <a:lnTo>
                      <a:pt x="968" y="171"/>
                    </a:lnTo>
                    <a:lnTo>
                      <a:pt x="968" y="92"/>
                    </a:lnTo>
                    <a:lnTo>
                      <a:pt x="968" y="75"/>
                    </a:lnTo>
                    <a:lnTo>
                      <a:pt x="950" y="75"/>
                    </a:lnTo>
                    <a:lnTo>
                      <a:pt x="426" y="75"/>
                    </a:lnTo>
                    <a:lnTo>
                      <a:pt x="365" y="6"/>
                    </a:lnTo>
                    <a:lnTo>
                      <a:pt x="360" y="0"/>
                    </a:lnTo>
                    <a:lnTo>
                      <a:pt x="35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0" y="762"/>
                    </a:lnTo>
                    <a:lnTo>
                      <a:pt x="35" y="7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8" name="Freeform 296">
                <a:extLst>
                  <a:ext uri="{FF2B5EF4-FFF2-40B4-BE49-F238E27FC236}">
                    <a16:creationId xmlns:a16="http://schemas.microsoft.com/office/drawing/2014/main" id="{8425A8D2-B0DC-4F18-995D-58825365E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6600" y="5280025"/>
                <a:ext cx="531813" cy="111125"/>
              </a:xfrm>
              <a:custGeom>
                <a:avLst/>
                <a:gdLst>
                  <a:gd name="T0" fmla="*/ 0 w 1004"/>
                  <a:gd name="T1" fmla="*/ 102 h 209"/>
                  <a:gd name="T2" fmla="*/ 438 w 1004"/>
                  <a:gd name="T3" fmla="*/ 102 h 209"/>
                  <a:gd name="T4" fmla="*/ 444 w 1004"/>
                  <a:gd name="T5" fmla="*/ 93 h 209"/>
                  <a:gd name="T6" fmla="*/ 452 w 1004"/>
                  <a:gd name="T7" fmla="*/ 84 h 209"/>
                  <a:gd name="T8" fmla="*/ 461 w 1004"/>
                  <a:gd name="T9" fmla="*/ 78 h 209"/>
                  <a:gd name="T10" fmla="*/ 471 w 1004"/>
                  <a:gd name="T11" fmla="*/ 72 h 209"/>
                  <a:gd name="T12" fmla="*/ 471 w 1004"/>
                  <a:gd name="T13" fmla="*/ 0 h 209"/>
                  <a:gd name="T14" fmla="*/ 533 w 1004"/>
                  <a:gd name="T15" fmla="*/ 0 h 209"/>
                  <a:gd name="T16" fmla="*/ 533 w 1004"/>
                  <a:gd name="T17" fmla="*/ 72 h 209"/>
                  <a:gd name="T18" fmla="*/ 542 w 1004"/>
                  <a:gd name="T19" fmla="*/ 78 h 209"/>
                  <a:gd name="T20" fmla="*/ 551 w 1004"/>
                  <a:gd name="T21" fmla="*/ 84 h 209"/>
                  <a:gd name="T22" fmla="*/ 558 w 1004"/>
                  <a:gd name="T23" fmla="*/ 93 h 209"/>
                  <a:gd name="T24" fmla="*/ 565 w 1004"/>
                  <a:gd name="T25" fmla="*/ 102 h 209"/>
                  <a:gd name="T26" fmla="*/ 1004 w 1004"/>
                  <a:gd name="T27" fmla="*/ 102 h 209"/>
                  <a:gd name="T28" fmla="*/ 1004 w 1004"/>
                  <a:gd name="T29" fmla="*/ 172 h 209"/>
                  <a:gd name="T30" fmla="*/ 565 w 1004"/>
                  <a:gd name="T31" fmla="*/ 172 h 209"/>
                  <a:gd name="T32" fmla="*/ 560 w 1004"/>
                  <a:gd name="T33" fmla="*/ 179 h 209"/>
                  <a:gd name="T34" fmla="*/ 553 w 1004"/>
                  <a:gd name="T35" fmla="*/ 187 h 209"/>
                  <a:gd name="T36" fmla="*/ 547 w 1004"/>
                  <a:gd name="T37" fmla="*/ 193 h 209"/>
                  <a:gd name="T38" fmla="*/ 539 w 1004"/>
                  <a:gd name="T39" fmla="*/ 198 h 209"/>
                  <a:gd name="T40" fmla="*/ 530 w 1004"/>
                  <a:gd name="T41" fmla="*/ 204 h 209"/>
                  <a:gd name="T42" fmla="*/ 521 w 1004"/>
                  <a:gd name="T43" fmla="*/ 206 h 209"/>
                  <a:gd name="T44" fmla="*/ 512 w 1004"/>
                  <a:gd name="T45" fmla="*/ 209 h 209"/>
                  <a:gd name="T46" fmla="*/ 502 w 1004"/>
                  <a:gd name="T47" fmla="*/ 209 h 209"/>
                  <a:gd name="T48" fmla="*/ 492 w 1004"/>
                  <a:gd name="T49" fmla="*/ 209 h 209"/>
                  <a:gd name="T50" fmla="*/ 481 w 1004"/>
                  <a:gd name="T51" fmla="*/ 206 h 209"/>
                  <a:gd name="T52" fmla="*/ 472 w 1004"/>
                  <a:gd name="T53" fmla="*/ 204 h 209"/>
                  <a:gd name="T54" fmla="*/ 464 w 1004"/>
                  <a:gd name="T55" fmla="*/ 198 h 209"/>
                  <a:gd name="T56" fmla="*/ 456 w 1004"/>
                  <a:gd name="T57" fmla="*/ 193 h 209"/>
                  <a:gd name="T58" fmla="*/ 449 w 1004"/>
                  <a:gd name="T59" fmla="*/ 187 h 209"/>
                  <a:gd name="T60" fmla="*/ 443 w 1004"/>
                  <a:gd name="T61" fmla="*/ 179 h 209"/>
                  <a:gd name="T62" fmla="*/ 438 w 1004"/>
                  <a:gd name="T63" fmla="*/ 172 h 209"/>
                  <a:gd name="T64" fmla="*/ 0 w 1004"/>
                  <a:gd name="T65" fmla="*/ 172 h 209"/>
                  <a:gd name="T66" fmla="*/ 0 w 1004"/>
                  <a:gd name="T67" fmla="*/ 102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04" h="209">
                    <a:moveTo>
                      <a:pt x="0" y="102"/>
                    </a:moveTo>
                    <a:lnTo>
                      <a:pt x="438" y="102"/>
                    </a:lnTo>
                    <a:lnTo>
                      <a:pt x="444" y="93"/>
                    </a:lnTo>
                    <a:lnTo>
                      <a:pt x="452" y="84"/>
                    </a:lnTo>
                    <a:lnTo>
                      <a:pt x="461" y="78"/>
                    </a:lnTo>
                    <a:lnTo>
                      <a:pt x="471" y="72"/>
                    </a:lnTo>
                    <a:lnTo>
                      <a:pt x="471" y="0"/>
                    </a:lnTo>
                    <a:lnTo>
                      <a:pt x="533" y="0"/>
                    </a:lnTo>
                    <a:lnTo>
                      <a:pt x="533" y="72"/>
                    </a:lnTo>
                    <a:lnTo>
                      <a:pt x="542" y="78"/>
                    </a:lnTo>
                    <a:lnTo>
                      <a:pt x="551" y="84"/>
                    </a:lnTo>
                    <a:lnTo>
                      <a:pt x="558" y="93"/>
                    </a:lnTo>
                    <a:lnTo>
                      <a:pt x="565" y="102"/>
                    </a:lnTo>
                    <a:lnTo>
                      <a:pt x="1004" y="102"/>
                    </a:lnTo>
                    <a:lnTo>
                      <a:pt x="1004" y="172"/>
                    </a:lnTo>
                    <a:lnTo>
                      <a:pt x="565" y="172"/>
                    </a:lnTo>
                    <a:lnTo>
                      <a:pt x="560" y="179"/>
                    </a:lnTo>
                    <a:lnTo>
                      <a:pt x="553" y="187"/>
                    </a:lnTo>
                    <a:lnTo>
                      <a:pt x="547" y="193"/>
                    </a:lnTo>
                    <a:lnTo>
                      <a:pt x="539" y="198"/>
                    </a:lnTo>
                    <a:lnTo>
                      <a:pt x="530" y="204"/>
                    </a:lnTo>
                    <a:lnTo>
                      <a:pt x="521" y="206"/>
                    </a:lnTo>
                    <a:lnTo>
                      <a:pt x="512" y="209"/>
                    </a:lnTo>
                    <a:lnTo>
                      <a:pt x="502" y="209"/>
                    </a:lnTo>
                    <a:lnTo>
                      <a:pt x="492" y="209"/>
                    </a:lnTo>
                    <a:lnTo>
                      <a:pt x="481" y="206"/>
                    </a:lnTo>
                    <a:lnTo>
                      <a:pt x="472" y="204"/>
                    </a:lnTo>
                    <a:lnTo>
                      <a:pt x="464" y="198"/>
                    </a:lnTo>
                    <a:lnTo>
                      <a:pt x="456" y="193"/>
                    </a:lnTo>
                    <a:lnTo>
                      <a:pt x="449" y="187"/>
                    </a:lnTo>
                    <a:lnTo>
                      <a:pt x="443" y="179"/>
                    </a:lnTo>
                    <a:lnTo>
                      <a:pt x="438" y="172"/>
                    </a:lnTo>
                    <a:lnTo>
                      <a:pt x="0" y="172"/>
                    </a:lnTo>
                    <a:lnTo>
                      <a:pt x="0" y="10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69EAA5BD-4848-408B-ADF3-ED752E93DF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64425" y="4984750"/>
                <a:ext cx="95250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36816040-1691-4E3D-A190-5C7D8D81D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64425" y="5008563"/>
                <a:ext cx="65088" cy="23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</p:grp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B74D0C7D-8906-471C-BFBE-DAAACB981CAD}"/>
              </a:ext>
            </a:extLst>
          </p:cNvPr>
          <p:cNvGrpSpPr/>
          <p:nvPr/>
        </p:nvGrpSpPr>
        <p:grpSpPr>
          <a:xfrm>
            <a:off x="7416999" y="1981576"/>
            <a:ext cx="642319" cy="586448"/>
            <a:chOff x="-3390901" y="1392237"/>
            <a:chExt cx="4237038" cy="3884614"/>
          </a:xfrm>
          <a:solidFill>
            <a:srgbClr val="92D050"/>
          </a:solidFill>
        </p:grpSpPr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71322412-0210-4C58-A4D3-5ACD60F37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67013" y="4745038"/>
              <a:ext cx="660400" cy="531813"/>
            </a:xfrm>
            <a:custGeom>
              <a:avLst/>
              <a:gdLst>
                <a:gd name="T0" fmla="*/ 416 w 416"/>
                <a:gd name="T1" fmla="*/ 94 h 335"/>
                <a:gd name="T2" fmla="*/ 279 w 416"/>
                <a:gd name="T3" fmla="*/ 335 h 335"/>
                <a:gd name="T4" fmla="*/ 0 w 416"/>
                <a:gd name="T5" fmla="*/ 335 h 335"/>
                <a:gd name="T6" fmla="*/ 190 w 416"/>
                <a:gd name="T7" fmla="*/ 0 h 335"/>
                <a:gd name="T8" fmla="*/ 416 w 416"/>
                <a:gd name="T9" fmla="*/ 9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335">
                  <a:moveTo>
                    <a:pt x="416" y="94"/>
                  </a:moveTo>
                  <a:lnTo>
                    <a:pt x="279" y="335"/>
                  </a:lnTo>
                  <a:lnTo>
                    <a:pt x="0" y="335"/>
                  </a:lnTo>
                  <a:lnTo>
                    <a:pt x="190" y="0"/>
                  </a:lnTo>
                  <a:lnTo>
                    <a:pt x="416" y="9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CB2AA821-D9A6-4F12-842A-D09804210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93788" y="4745038"/>
              <a:ext cx="660400" cy="531813"/>
            </a:xfrm>
            <a:custGeom>
              <a:avLst/>
              <a:gdLst>
                <a:gd name="T0" fmla="*/ 0 w 416"/>
                <a:gd name="T1" fmla="*/ 94 h 335"/>
                <a:gd name="T2" fmla="*/ 137 w 416"/>
                <a:gd name="T3" fmla="*/ 335 h 335"/>
                <a:gd name="T4" fmla="*/ 416 w 416"/>
                <a:gd name="T5" fmla="*/ 335 h 335"/>
                <a:gd name="T6" fmla="*/ 226 w 416"/>
                <a:gd name="T7" fmla="*/ 0 h 335"/>
                <a:gd name="T8" fmla="*/ 0 w 416"/>
                <a:gd name="T9" fmla="*/ 9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335">
                  <a:moveTo>
                    <a:pt x="0" y="94"/>
                  </a:moveTo>
                  <a:lnTo>
                    <a:pt x="137" y="335"/>
                  </a:lnTo>
                  <a:lnTo>
                    <a:pt x="416" y="335"/>
                  </a:lnTo>
                  <a:lnTo>
                    <a:pt x="226" y="0"/>
                  </a:lnTo>
                  <a:lnTo>
                    <a:pt x="0" y="9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079D6D0F-FD2A-4190-AD29-9A64A91284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390901" y="1392237"/>
              <a:ext cx="3581402" cy="3575049"/>
            </a:xfrm>
            <a:custGeom>
              <a:avLst/>
              <a:gdLst>
                <a:gd name="connsiteX0" fmla="*/ 1790700 w 3581400"/>
                <a:gd name="connsiteY0" fmla="*/ 0 h 3575050"/>
                <a:gd name="connsiteX1" fmla="*/ 3581400 w 3581400"/>
                <a:gd name="connsiteY1" fmla="*/ 1787525 h 3575050"/>
                <a:gd name="connsiteX2" fmla="*/ 1790700 w 3581400"/>
                <a:gd name="connsiteY2" fmla="*/ 3575050 h 3575050"/>
                <a:gd name="connsiteX3" fmla="*/ 0 w 3581400"/>
                <a:gd name="connsiteY3" fmla="*/ 1787525 h 3575050"/>
                <a:gd name="connsiteX4" fmla="*/ 1790700 w 3581400"/>
                <a:gd name="connsiteY4" fmla="*/ 0 h 3575050"/>
                <a:gd name="connsiteX5" fmla="*/ 1790701 w 3581400"/>
                <a:gd name="connsiteY5" fmla="*/ 550863 h 3575050"/>
                <a:gd name="connsiteX6" fmla="*/ 550863 w 3581400"/>
                <a:gd name="connsiteY6" fmla="*/ 1787526 h 3575050"/>
                <a:gd name="connsiteX7" fmla="*/ 1790701 w 3581400"/>
                <a:gd name="connsiteY7" fmla="*/ 3024189 h 3575050"/>
                <a:gd name="connsiteX8" fmla="*/ 3030539 w 3581400"/>
                <a:gd name="connsiteY8" fmla="*/ 1787526 h 3575050"/>
                <a:gd name="connsiteX9" fmla="*/ 1790701 w 3581400"/>
                <a:gd name="connsiteY9" fmla="*/ 550863 h 357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81400" h="3575050">
                  <a:moveTo>
                    <a:pt x="1790700" y="0"/>
                  </a:moveTo>
                  <a:cubicBezTo>
                    <a:pt x="2779676" y="0"/>
                    <a:pt x="3581400" y="800302"/>
                    <a:pt x="3581400" y="1787525"/>
                  </a:cubicBezTo>
                  <a:cubicBezTo>
                    <a:pt x="3581400" y="2774748"/>
                    <a:pt x="2779676" y="3575050"/>
                    <a:pt x="1790700" y="3575050"/>
                  </a:cubicBezTo>
                  <a:cubicBezTo>
                    <a:pt x="801724" y="3575050"/>
                    <a:pt x="0" y="2774748"/>
                    <a:pt x="0" y="1787525"/>
                  </a:cubicBezTo>
                  <a:cubicBezTo>
                    <a:pt x="0" y="800302"/>
                    <a:pt x="801724" y="0"/>
                    <a:pt x="1790700" y="0"/>
                  </a:cubicBezTo>
                  <a:close/>
                  <a:moveTo>
                    <a:pt x="1790701" y="550863"/>
                  </a:moveTo>
                  <a:cubicBezTo>
                    <a:pt x="1105957" y="550863"/>
                    <a:pt x="550863" y="1104536"/>
                    <a:pt x="550863" y="1787526"/>
                  </a:cubicBezTo>
                  <a:cubicBezTo>
                    <a:pt x="550863" y="2470516"/>
                    <a:pt x="1105957" y="3024189"/>
                    <a:pt x="1790701" y="3024189"/>
                  </a:cubicBezTo>
                  <a:cubicBezTo>
                    <a:pt x="2475445" y="3024189"/>
                    <a:pt x="3030539" y="2470516"/>
                    <a:pt x="3030539" y="1787526"/>
                  </a:cubicBezTo>
                  <a:cubicBezTo>
                    <a:pt x="3030539" y="1104536"/>
                    <a:pt x="2475445" y="550863"/>
                    <a:pt x="1790701" y="550863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B229648B-975E-4440-AF2C-96C8121EB9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366963" y="2414588"/>
              <a:ext cx="1533526" cy="1530350"/>
            </a:xfrm>
            <a:custGeom>
              <a:avLst/>
              <a:gdLst>
                <a:gd name="connsiteX0" fmla="*/ 766763 w 1533526"/>
                <a:gd name="connsiteY0" fmla="*/ 0 h 1530350"/>
                <a:gd name="connsiteX1" fmla="*/ 1533526 w 1533526"/>
                <a:gd name="connsiteY1" fmla="*/ 765175 h 1530350"/>
                <a:gd name="connsiteX2" fmla="*/ 766763 w 1533526"/>
                <a:gd name="connsiteY2" fmla="*/ 1530350 h 1530350"/>
                <a:gd name="connsiteX3" fmla="*/ 0 w 1533526"/>
                <a:gd name="connsiteY3" fmla="*/ 765175 h 1530350"/>
                <a:gd name="connsiteX4" fmla="*/ 766763 w 1533526"/>
                <a:gd name="connsiteY4" fmla="*/ 0 h 153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3526" h="1530350">
                  <a:moveTo>
                    <a:pt x="766763" y="0"/>
                  </a:moveTo>
                  <a:cubicBezTo>
                    <a:pt x="1190235" y="0"/>
                    <a:pt x="1533526" y="342581"/>
                    <a:pt x="1533526" y="765175"/>
                  </a:cubicBezTo>
                  <a:cubicBezTo>
                    <a:pt x="1533526" y="1187769"/>
                    <a:pt x="1190235" y="1530350"/>
                    <a:pt x="766763" y="1530350"/>
                  </a:cubicBezTo>
                  <a:cubicBezTo>
                    <a:pt x="343291" y="1530350"/>
                    <a:pt x="0" y="1187769"/>
                    <a:pt x="0" y="765175"/>
                  </a:cubicBezTo>
                  <a:cubicBezTo>
                    <a:pt x="0" y="342581"/>
                    <a:pt x="343291" y="0"/>
                    <a:pt x="766763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sp>
          <p:nvSpPr>
            <p:cNvPr id="148" name="Freeform 24">
              <a:extLst>
                <a:ext uri="{FF2B5EF4-FFF2-40B4-BE49-F238E27FC236}">
                  <a16:creationId xmlns:a16="http://schemas.microsoft.com/office/drawing/2014/main" id="{13A604AB-0ECE-4E33-8834-35CC62021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0363" y="2819401"/>
              <a:ext cx="1206500" cy="720725"/>
            </a:xfrm>
            <a:custGeom>
              <a:avLst/>
              <a:gdLst>
                <a:gd name="T0" fmla="*/ 228 w 760"/>
                <a:gd name="T1" fmla="*/ 0 h 454"/>
                <a:gd name="T2" fmla="*/ 0 w 760"/>
                <a:gd name="T3" fmla="*/ 227 h 454"/>
                <a:gd name="T4" fmla="*/ 228 w 760"/>
                <a:gd name="T5" fmla="*/ 454 h 454"/>
                <a:gd name="T6" fmla="*/ 760 w 760"/>
                <a:gd name="T7" fmla="*/ 454 h 454"/>
                <a:gd name="T8" fmla="*/ 532 w 760"/>
                <a:gd name="T9" fmla="*/ 227 h 454"/>
                <a:gd name="T10" fmla="*/ 760 w 760"/>
                <a:gd name="T11" fmla="*/ 0 h 454"/>
                <a:gd name="T12" fmla="*/ 228 w 760"/>
                <a:gd name="T13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0" h="454">
                  <a:moveTo>
                    <a:pt x="228" y="0"/>
                  </a:moveTo>
                  <a:lnTo>
                    <a:pt x="0" y="227"/>
                  </a:lnTo>
                  <a:lnTo>
                    <a:pt x="228" y="454"/>
                  </a:lnTo>
                  <a:lnTo>
                    <a:pt x="760" y="454"/>
                  </a:lnTo>
                  <a:lnTo>
                    <a:pt x="532" y="227"/>
                  </a:lnTo>
                  <a:lnTo>
                    <a:pt x="760" y="0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</p:spTree>
    <p:extLst>
      <p:ext uri="{BB962C8B-B14F-4D97-AF65-F5344CB8AC3E}">
        <p14:creationId xmlns:p14="http://schemas.microsoft.com/office/powerpoint/2010/main" val="68641617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Oval 163">
            <a:extLst>
              <a:ext uri="{FF2B5EF4-FFF2-40B4-BE49-F238E27FC236}">
                <a16:creationId xmlns:a16="http://schemas.microsoft.com/office/drawing/2014/main" id="{FE436C90-3EEF-4729-AE4D-11106A1F4453}"/>
              </a:ext>
            </a:extLst>
          </p:cNvPr>
          <p:cNvSpPr/>
          <p:nvPr/>
        </p:nvSpPr>
        <p:spPr>
          <a:xfrm rot="10800000" flipH="1" flipV="1">
            <a:off x="7522471" y="4180650"/>
            <a:ext cx="1122891" cy="1122892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644EB66-2F1F-4DC1-BB33-75FAFEEA5001}"/>
              </a:ext>
            </a:extLst>
          </p:cNvPr>
          <p:cNvGrpSpPr/>
          <p:nvPr/>
        </p:nvGrpSpPr>
        <p:grpSpPr>
          <a:xfrm rot="120000">
            <a:off x="3660972" y="4031032"/>
            <a:ext cx="1678674" cy="1427245"/>
            <a:chOff x="3660972" y="4031032"/>
            <a:chExt cx="1678674" cy="1427245"/>
          </a:xfrm>
          <a:solidFill>
            <a:srgbClr val="00B0F0"/>
          </a:solidFill>
        </p:grpSpPr>
        <p:sp>
          <p:nvSpPr>
            <p:cNvPr id="151" name="Rectangle 6">
              <a:extLst>
                <a:ext uri="{FF2B5EF4-FFF2-40B4-BE49-F238E27FC236}">
                  <a16:creationId xmlns:a16="http://schemas.microsoft.com/office/drawing/2014/main" id="{D3CE5A45-E119-4AEF-9D4D-FDAA3D95B7DD}"/>
                </a:ext>
              </a:extLst>
            </p:cNvPr>
            <p:cNvSpPr/>
            <p:nvPr/>
          </p:nvSpPr>
          <p:spPr>
            <a:xfrm rot="3438665" flipV="1">
              <a:off x="4370745" y="3985512"/>
              <a:ext cx="923382" cy="1014421"/>
            </a:xfrm>
            <a:custGeom>
              <a:avLst/>
              <a:gdLst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0 w 864096"/>
                <a:gd name="connsiteY4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195 w 864096"/>
                <a:gd name="connsiteY4" fmla="*/ 761886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47951 w 864096"/>
                <a:gd name="connsiteY4" fmla="*/ 765649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4795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972108"/>
                <a:gd name="connsiteY0" fmla="*/ 0 h 1512168"/>
                <a:gd name="connsiteX1" fmla="*/ 864096 w 972108"/>
                <a:gd name="connsiteY1" fmla="*/ 0 h 1512168"/>
                <a:gd name="connsiteX2" fmla="*/ 864096 w 972108"/>
                <a:gd name="connsiteY2" fmla="*/ 1512168 h 1512168"/>
                <a:gd name="connsiteX3" fmla="*/ 0 w 972108"/>
                <a:gd name="connsiteY3" fmla="*/ 1512168 h 1512168"/>
                <a:gd name="connsiteX4" fmla="*/ 185581 w 972108"/>
                <a:gd name="connsiteY4" fmla="*/ 765649 h 1512168"/>
                <a:gd name="connsiteX5" fmla="*/ 0 w 972108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85581 w 864096"/>
                <a:gd name="connsiteY4" fmla="*/ 765649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3899 w 864096"/>
                <a:gd name="connsiteY2" fmla="*/ 75436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4328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4328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02027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44725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02027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44725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4919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6763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4919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6763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577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71726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71726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97102 w 864096"/>
                <a:gd name="connsiteY5" fmla="*/ 7619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97102 w 864096"/>
                <a:gd name="connsiteY5" fmla="*/ 7619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21900 w 864096"/>
                <a:gd name="connsiteY5" fmla="*/ 7588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21900 w 864096"/>
                <a:gd name="connsiteY5" fmla="*/ 7588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4542 w 864096"/>
                <a:gd name="connsiteY5" fmla="*/ 756774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16560 w 864096"/>
                <a:gd name="connsiteY2" fmla="*/ 75454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4542 w 864096"/>
                <a:gd name="connsiteY5" fmla="*/ 756774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16560 w 864096"/>
                <a:gd name="connsiteY2" fmla="*/ 75454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8756 w 864096"/>
                <a:gd name="connsiteY5" fmla="*/ 756774 h 1512168"/>
                <a:gd name="connsiteX6" fmla="*/ 0 w 864096"/>
                <a:gd name="connsiteY6" fmla="*/ 0 h 151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4096" h="1512168">
                  <a:moveTo>
                    <a:pt x="0" y="0"/>
                  </a:moveTo>
                  <a:lnTo>
                    <a:pt x="864096" y="0"/>
                  </a:lnTo>
                  <a:cubicBezTo>
                    <a:pt x="864030" y="251453"/>
                    <a:pt x="516626" y="503088"/>
                    <a:pt x="516560" y="754541"/>
                  </a:cubicBezTo>
                  <a:cubicBezTo>
                    <a:pt x="516626" y="1007144"/>
                    <a:pt x="864030" y="1259565"/>
                    <a:pt x="864096" y="1512168"/>
                  </a:cubicBezTo>
                  <a:lnTo>
                    <a:pt x="0" y="1512168"/>
                  </a:lnTo>
                  <a:cubicBezTo>
                    <a:pt x="398" y="1262074"/>
                    <a:pt x="338358" y="1006868"/>
                    <a:pt x="338756" y="756774"/>
                  </a:cubicBezTo>
                  <a:cubicBezTo>
                    <a:pt x="338358" y="502812"/>
                    <a:pt x="398" y="25396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E282F35C-734C-4AC8-8321-CF2B9937A7B0}"/>
                </a:ext>
              </a:extLst>
            </p:cNvPr>
            <p:cNvSpPr/>
            <p:nvPr/>
          </p:nvSpPr>
          <p:spPr>
            <a:xfrm rot="8838665" flipV="1">
              <a:off x="3660972" y="4335385"/>
              <a:ext cx="1122891" cy="11228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6CE9A536-36D1-4F88-A24F-CCFDE1998884}"/>
                </a:ext>
              </a:extLst>
            </p:cNvPr>
            <p:cNvSpPr/>
            <p:nvPr/>
          </p:nvSpPr>
          <p:spPr>
            <a:xfrm rot="9122328" flipV="1">
              <a:off x="3786770" y="4461174"/>
              <a:ext cx="871306" cy="8713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14300" dist="114300" dir="4800000" algn="tl" rotWithShape="0">
                <a:prstClr val="black">
                  <a:alpha val="2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Introduction</a:t>
            </a:r>
            <a:endParaRPr lang="en-IN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A9486A73-9790-459A-BB7A-D9D757DB731A}"/>
              </a:ext>
            </a:extLst>
          </p:cNvPr>
          <p:cNvGrpSpPr/>
          <p:nvPr/>
        </p:nvGrpSpPr>
        <p:grpSpPr>
          <a:xfrm>
            <a:off x="8463157" y="1746356"/>
            <a:ext cx="2633351" cy="945040"/>
            <a:chOff x="8471617" y="1319673"/>
            <a:chExt cx="2628884" cy="945040"/>
          </a:xfrm>
        </p:grpSpPr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DF8E6535-D006-445C-8FE7-7642FE561825}"/>
                </a:ext>
              </a:extLst>
            </p:cNvPr>
            <p:cNvSpPr txBox="1"/>
            <p:nvPr/>
          </p:nvSpPr>
          <p:spPr>
            <a:xfrm>
              <a:off x="8471617" y="1741493"/>
              <a:ext cx="2628884" cy="52322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o improve the energy monitoring process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24F39066-CAC1-4064-904B-0E5FFB5CFDE8}"/>
                </a:ext>
              </a:extLst>
            </p:cNvPr>
            <p:cNvSpPr txBox="1"/>
            <p:nvPr/>
          </p:nvSpPr>
          <p:spPr>
            <a:xfrm>
              <a:off x="8471617" y="1319673"/>
              <a:ext cx="2628884" cy="40011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defTabSz="1218987">
                <a:defRPr/>
              </a:pPr>
              <a:r>
                <a:rPr lang="en-US" sz="2000" b="1" kern="0" dirty="0">
                  <a:solidFill>
                    <a:schemeClr val="bg1">
                      <a:lumMod val="6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im</a:t>
              </a: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A38984E-F68C-4A7D-9A90-2768842FE519}"/>
              </a:ext>
            </a:extLst>
          </p:cNvPr>
          <p:cNvGrpSpPr/>
          <p:nvPr/>
        </p:nvGrpSpPr>
        <p:grpSpPr>
          <a:xfrm>
            <a:off x="8735880" y="4377919"/>
            <a:ext cx="2633352" cy="1037373"/>
            <a:chOff x="8471617" y="1011897"/>
            <a:chExt cx="2628885" cy="1037373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D63F5527-366A-4CE0-B27F-4E301C6AE841}"/>
                </a:ext>
              </a:extLst>
            </p:cNvPr>
            <p:cNvSpPr txBox="1"/>
            <p:nvPr/>
          </p:nvSpPr>
          <p:spPr>
            <a:xfrm>
              <a:off x="8471617" y="1741493"/>
              <a:ext cx="2628884" cy="30777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nalyzing results is easier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FD8337BB-FD90-479A-B69D-5C7C0C7EB6EC}"/>
                </a:ext>
              </a:extLst>
            </p:cNvPr>
            <p:cNvSpPr txBox="1"/>
            <p:nvPr/>
          </p:nvSpPr>
          <p:spPr>
            <a:xfrm>
              <a:off x="8471618" y="1011897"/>
              <a:ext cx="2628884" cy="707886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defTabSz="1218987">
                <a:defRPr/>
              </a:pPr>
              <a:r>
                <a:rPr lang="en-US" sz="2000" b="1" kern="0" dirty="0">
                  <a:solidFill>
                    <a:schemeClr val="bg1">
                      <a:lumMod val="6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teractive Analytical Display </a:t>
              </a:r>
            </a:p>
          </p:txBody>
        </p:sp>
      </p:grpSp>
      <p:sp>
        <p:nvSpPr>
          <p:cNvPr id="156" name="Oval 155">
            <a:extLst>
              <a:ext uri="{FF2B5EF4-FFF2-40B4-BE49-F238E27FC236}">
                <a16:creationId xmlns:a16="http://schemas.microsoft.com/office/drawing/2014/main" id="{C3541CF1-9B64-4B5C-B6E3-B60CFD662F21}"/>
              </a:ext>
            </a:extLst>
          </p:cNvPr>
          <p:cNvSpPr/>
          <p:nvPr/>
        </p:nvSpPr>
        <p:spPr>
          <a:xfrm>
            <a:off x="3898320" y="1724699"/>
            <a:ext cx="1122891" cy="112289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34656BF7-3D20-482F-BC12-77C85D2502CF}"/>
              </a:ext>
            </a:extLst>
          </p:cNvPr>
          <p:cNvSpPr/>
          <p:nvPr/>
        </p:nvSpPr>
        <p:spPr>
          <a:xfrm flipH="1">
            <a:off x="7141529" y="1724699"/>
            <a:ext cx="1122891" cy="1122892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sp>
        <p:nvSpPr>
          <p:cNvPr id="153" name="Rectangle 6">
            <a:extLst>
              <a:ext uri="{FF2B5EF4-FFF2-40B4-BE49-F238E27FC236}">
                <a16:creationId xmlns:a16="http://schemas.microsoft.com/office/drawing/2014/main" id="{D1FB74FA-9531-415F-B47E-897B5480BE1E}"/>
              </a:ext>
            </a:extLst>
          </p:cNvPr>
          <p:cNvSpPr/>
          <p:nvPr/>
        </p:nvSpPr>
        <p:spPr>
          <a:xfrm rot="18640883">
            <a:off x="4562762" y="2252408"/>
            <a:ext cx="923382" cy="1014421"/>
          </a:xfrm>
          <a:custGeom>
            <a:avLst/>
            <a:gdLst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0 w 864096"/>
              <a:gd name="connsiteY4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195 w 864096"/>
              <a:gd name="connsiteY4" fmla="*/ 761886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4795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4795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972108"/>
              <a:gd name="connsiteY0" fmla="*/ 0 h 1512168"/>
              <a:gd name="connsiteX1" fmla="*/ 864096 w 972108"/>
              <a:gd name="connsiteY1" fmla="*/ 0 h 1512168"/>
              <a:gd name="connsiteX2" fmla="*/ 864096 w 972108"/>
              <a:gd name="connsiteY2" fmla="*/ 1512168 h 1512168"/>
              <a:gd name="connsiteX3" fmla="*/ 0 w 972108"/>
              <a:gd name="connsiteY3" fmla="*/ 1512168 h 1512168"/>
              <a:gd name="connsiteX4" fmla="*/ 185581 w 972108"/>
              <a:gd name="connsiteY4" fmla="*/ 765649 h 1512168"/>
              <a:gd name="connsiteX5" fmla="*/ 0 w 972108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8558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3899 w 864096"/>
              <a:gd name="connsiteY2" fmla="*/ 75436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577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8756 w 864096"/>
              <a:gd name="connsiteY5" fmla="*/ 756774 h 1512168"/>
              <a:gd name="connsiteX6" fmla="*/ 0 w 864096"/>
              <a:gd name="connsiteY6" fmla="*/ 0 h 1512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4096" h="1512168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sp>
        <p:nvSpPr>
          <p:cNvPr id="161" name="Rectangle 6">
            <a:extLst>
              <a:ext uri="{FF2B5EF4-FFF2-40B4-BE49-F238E27FC236}">
                <a16:creationId xmlns:a16="http://schemas.microsoft.com/office/drawing/2014/main" id="{B41CED6F-C859-4D8F-9589-DF43D650B90B}"/>
              </a:ext>
            </a:extLst>
          </p:cNvPr>
          <p:cNvSpPr/>
          <p:nvPr/>
        </p:nvSpPr>
        <p:spPr>
          <a:xfrm rot="17862954" flipH="1" flipV="1">
            <a:off x="6941633" y="3867372"/>
            <a:ext cx="923382" cy="1014421"/>
          </a:xfrm>
          <a:custGeom>
            <a:avLst/>
            <a:gdLst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0 w 864096"/>
              <a:gd name="connsiteY4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195 w 864096"/>
              <a:gd name="connsiteY4" fmla="*/ 761886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4795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4795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972108"/>
              <a:gd name="connsiteY0" fmla="*/ 0 h 1512168"/>
              <a:gd name="connsiteX1" fmla="*/ 864096 w 972108"/>
              <a:gd name="connsiteY1" fmla="*/ 0 h 1512168"/>
              <a:gd name="connsiteX2" fmla="*/ 864096 w 972108"/>
              <a:gd name="connsiteY2" fmla="*/ 1512168 h 1512168"/>
              <a:gd name="connsiteX3" fmla="*/ 0 w 972108"/>
              <a:gd name="connsiteY3" fmla="*/ 1512168 h 1512168"/>
              <a:gd name="connsiteX4" fmla="*/ 185581 w 972108"/>
              <a:gd name="connsiteY4" fmla="*/ 765649 h 1512168"/>
              <a:gd name="connsiteX5" fmla="*/ 0 w 972108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8558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3899 w 864096"/>
              <a:gd name="connsiteY2" fmla="*/ 75436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577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8756 w 864096"/>
              <a:gd name="connsiteY5" fmla="*/ 756774 h 1512168"/>
              <a:gd name="connsiteX6" fmla="*/ 0 w 864096"/>
              <a:gd name="connsiteY6" fmla="*/ 0 h 1512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4096" h="1512168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sp>
        <p:nvSpPr>
          <p:cNvPr id="162" name="Rectangle 6">
            <a:extLst>
              <a:ext uri="{FF2B5EF4-FFF2-40B4-BE49-F238E27FC236}">
                <a16:creationId xmlns:a16="http://schemas.microsoft.com/office/drawing/2014/main" id="{E9069C9A-E292-4E9B-A070-42D662F2E971}"/>
              </a:ext>
            </a:extLst>
          </p:cNvPr>
          <p:cNvSpPr/>
          <p:nvPr/>
        </p:nvSpPr>
        <p:spPr>
          <a:xfrm rot="2959117" flipH="1">
            <a:off x="6676596" y="2252408"/>
            <a:ext cx="923382" cy="1014421"/>
          </a:xfrm>
          <a:custGeom>
            <a:avLst/>
            <a:gdLst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0 w 864096"/>
              <a:gd name="connsiteY4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195 w 864096"/>
              <a:gd name="connsiteY4" fmla="*/ 761886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4795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4795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972108"/>
              <a:gd name="connsiteY0" fmla="*/ 0 h 1512168"/>
              <a:gd name="connsiteX1" fmla="*/ 864096 w 972108"/>
              <a:gd name="connsiteY1" fmla="*/ 0 h 1512168"/>
              <a:gd name="connsiteX2" fmla="*/ 864096 w 972108"/>
              <a:gd name="connsiteY2" fmla="*/ 1512168 h 1512168"/>
              <a:gd name="connsiteX3" fmla="*/ 0 w 972108"/>
              <a:gd name="connsiteY3" fmla="*/ 1512168 h 1512168"/>
              <a:gd name="connsiteX4" fmla="*/ 185581 w 972108"/>
              <a:gd name="connsiteY4" fmla="*/ 765649 h 1512168"/>
              <a:gd name="connsiteX5" fmla="*/ 0 w 972108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8558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3899 w 864096"/>
              <a:gd name="connsiteY2" fmla="*/ 75436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577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8756 w 864096"/>
              <a:gd name="connsiteY5" fmla="*/ 756774 h 1512168"/>
              <a:gd name="connsiteX6" fmla="*/ 0 w 864096"/>
              <a:gd name="connsiteY6" fmla="*/ 0 h 1512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4096" h="1512168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AC12983F-5223-40A1-9F26-D50D7B2A1377}"/>
              </a:ext>
            </a:extLst>
          </p:cNvPr>
          <p:cNvSpPr/>
          <p:nvPr/>
        </p:nvSpPr>
        <p:spPr>
          <a:xfrm>
            <a:off x="4902569" y="2547777"/>
            <a:ext cx="2410272" cy="2410272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464F9DA4-3D20-4F9A-BB42-544FF2C30A86}"/>
              </a:ext>
            </a:extLst>
          </p:cNvPr>
          <p:cNvSpPr/>
          <p:nvPr/>
        </p:nvSpPr>
        <p:spPr>
          <a:xfrm>
            <a:off x="5034874" y="2680082"/>
            <a:ext cx="2145663" cy="214566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14300" dir="4800000" algn="tl" rotWithShape="0">
              <a:prstClr val="black">
                <a:alpha val="2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3587F614-E465-4CC2-8519-FDFBAE6B8160}"/>
              </a:ext>
            </a:extLst>
          </p:cNvPr>
          <p:cNvGrpSpPr/>
          <p:nvPr/>
        </p:nvGrpSpPr>
        <p:grpSpPr>
          <a:xfrm>
            <a:off x="5783665" y="3250216"/>
            <a:ext cx="648080" cy="1005394"/>
            <a:chOff x="655638" y="2620963"/>
            <a:chExt cx="2009775" cy="311785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214" name="Freeform 5">
              <a:extLst>
                <a:ext uri="{FF2B5EF4-FFF2-40B4-BE49-F238E27FC236}">
                  <a16:creationId xmlns:a16="http://schemas.microsoft.com/office/drawing/2014/main" id="{4F549AD1-54E5-41CB-971B-AA341D2C79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075" y="3498850"/>
              <a:ext cx="1358900" cy="1362075"/>
            </a:xfrm>
            <a:custGeom>
              <a:avLst/>
              <a:gdLst>
                <a:gd name="T0" fmla="*/ 1030 w 1036"/>
                <a:gd name="T1" fmla="*/ 439 h 1040"/>
                <a:gd name="T2" fmla="*/ 979 w 1036"/>
                <a:gd name="T3" fmla="*/ 439 h 1040"/>
                <a:gd name="T4" fmla="*/ 936 w 1036"/>
                <a:gd name="T5" fmla="*/ 407 h 1040"/>
                <a:gd name="T6" fmla="*/ 894 w 1036"/>
                <a:gd name="T7" fmla="*/ 304 h 1040"/>
                <a:gd name="T8" fmla="*/ 901 w 1036"/>
                <a:gd name="T9" fmla="*/ 252 h 1040"/>
                <a:gd name="T10" fmla="*/ 937 w 1036"/>
                <a:gd name="T11" fmla="*/ 215 h 1040"/>
                <a:gd name="T12" fmla="*/ 823 w 1036"/>
                <a:gd name="T13" fmla="*/ 101 h 1040"/>
                <a:gd name="T14" fmla="*/ 786 w 1036"/>
                <a:gd name="T15" fmla="*/ 137 h 1040"/>
                <a:gd name="T16" fmla="*/ 734 w 1036"/>
                <a:gd name="T17" fmla="*/ 144 h 1040"/>
                <a:gd name="T18" fmla="*/ 631 w 1036"/>
                <a:gd name="T19" fmla="*/ 102 h 1040"/>
                <a:gd name="T20" fmla="*/ 599 w 1036"/>
                <a:gd name="T21" fmla="*/ 59 h 1040"/>
                <a:gd name="T22" fmla="*/ 599 w 1036"/>
                <a:gd name="T23" fmla="*/ 8 h 1040"/>
                <a:gd name="T24" fmla="*/ 437 w 1036"/>
                <a:gd name="T25" fmla="*/ 8 h 1040"/>
                <a:gd name="T26" fmla="*/ 437 w 1036"/>
                <a:gd name="T27" fmla="*/ 59 h 1040"/>
                <a:gd name="T28" fmla="*/ 405 w 1036"/>
                <a:gd name="T29" fmla="*/ 102 h 1040"/>
                <a:gd name="T30" fmla="*/ 302 w 1036"/>
                <a:gd name="T31" fmla="*/ 144 h 1040"/>
                <a:gd name="T32" fmla="*/ 249 w 1036"/>
                <a:gd name="T33" fmla="*/ 137 h 1040"/>
                <a:gd name="T34" fmla="*/ 213 w 1036"/>
                <a:gd name="T35" fmla="*/ 101 h 1040"/>
                <a:gd name="T36" fmla="*/ 99 w 1036"/>
                <a:gd name="T37" fmla="*/ 215 h 1040"/>
                <a:gd name="T38" fmla="*/ 135 w 1036"/>
                <a:gd name="T39" fmla="*/ 251 h 1040"/>
                <a:gd name="T40" fmla="*/ 142 w 1036"/>
                <a:gd name="T41" fmla="*/ 304 h 1040"/>
                <a:gd name="T42" fmla="*/ 100 w 1036"/>
                <a:gd name="T43" fmla="*/ 407 h 1040"/>
                <a:gd name="T44" fmla="*/ 57 w 1036"/>
                <a:gd name="T45" fmla="*/ 439 h 1040"/>
                <a:gd name="T46" fmla="*/ 6 w 1036"/>
                <a:gd name="T47" fmla="*/ 439 h 1040"/>
                <a:gd name="T48" fmla="*/ 0 w 1036"/>
                <a:gd name="T49" fmla="*/ 520 h 1040"/>
                <a:gd name="T50" fmla="*/ 6 w 1036"/>
                <a:gd name="T51" fmla="*/ 601 h 1040"/>
                <a:gd name="T52" fmla="*/ 57 w 1036"/>
                <a:gd name="T53" fmla="*/ 601 h 1040"/>
                <a:gd name="T54" fmla="*/ 100 w 1036"/>
                <a:gd name="T55" fmla="*/ 633 h 1040"/>
                <a:gd name="T56" fmla="*/ 142 w 1036"/>
                <a:gd name="T57" fmla="*/ 736 h 1040"/>
                <a:gd name="T58" fmla="*/ 135 w 1036"/>
                <a:gd name="T59" fmla="*/ 789 h 1040"/>
                <a:gd name="T60" fmla="*/ 99 w 1036"/>
                <a:gd name="T61" fmla="*/ 825 h 1040"/>
                <a:gd name="T62" fmla="*/ 213 w 1036"/>
                <a:gd name="T63" fmla="*/ 939 h 1040"/>
                <a:gd name="T64" fmla="*/ 249 w 1036"/>
                <a:gd name="T65" fmla="*/ 903 h 1040"/>
                <a:gd name="T66" fmla="*/ 302 w 1036"/>
                <a:gd name="T67" fmla="*/ 896 h 1040"/>
                <a:gd name="T68" fmla="*/ 405 w 1036"/>
                <a:gd name="T69" fmla="*/ 938 h 1040"/>
                <a:gd name="T70" fmla="*/ 437 w 1036"/>
                <a:gd name="T71" fmla="*/ 981 h 1040"/>
                <a:gd name="T72" fmla="*/ 437 w 1036"/>
                <a:gd name="T73" fmla="*/ 1032 h 1040"/>
                <a:gd name="T74" fmla="*/ 599 w 1036"/>
                <a:gd name="T75" fmla="*/ 1032 h 1040"/>
                <a:gd name="T76" fmla="*/ 599 w 1036"/>
                <a:gd name="T77" fmla="*/ 981 h 1040"/>
                <a:gd name="T78" fmla="*/ 631 w 1036"/>
                <a:gd name="T79" fmla="*/ 938 h 1040"/>
                <a:gd name="T80" fmla="*/ 734 w 1036"/>
                <a:gd name="T81" fmla="*/ 896 h 1040"/>
                <a:gd name="T82" fmla="*/ 786 w 1036"/>
                <a:gd name="T83" fmla="*/ 903 h 1040"/>
                <a:gd name="T84" fmla="*/ 823 w 1036"/>
                <a:gd name="T85" fmla="*/ 939 h 1040"/>
                <a:gd name="T86" fmla="*/ 937 w 1036"/>
                <a:gd name="T87" fmla="*/ 825 h 1040"/>
                <a:gd name="T88" fmla="*/ 901 w 1036"/>
                <a:gd name="T89" fmla="*/ 788 h 1040"/>
                <a:gd name="T90" fmla="*/ 894 w 1036"/>
                <a:gd name="T91" fmla="*/ 736 h 1040"/>
                <a:gd name="T92" fmla="*/ 936 w 1036"/>
                <a:gd name="T93" fmla="*/ 633 h 1040"/>
                <a:gd name="T94" fmla="*/ 979 w 1036"/>
                <a:gd name="T95" fmla="*/ 601 h 1040"/>
                <a:gd name="T96" fmla="*/ 1030 w 1036"/>
                <a:gd name="T97" fmla="*/ 601 h 1040"/>
                <a:gd name="T98" fmla="*/ 1036 w 1036"/>
                <a:gd name="T99" fmla="*/ 520 h 1040"/>
                <a:gd name="T100" fmla="*/ 1030 w 1036"/>
                <a:gd name="T101" fmla="*/ 439 h 1040"/>
                <a:gd name="T102" fmla="*/ 518 w 1036"/>
                <a:gd name="T103" fmla="*/ 746 h 1040"/>
                <a:gd name="T104" fmla="*/ 292 w 1036"/>
                <a:gd name="T105" fmla="*/ 520 h 1040"/>
                <a:gd name="T106" fmla="*/ 518 w 1036"/>
                <a:gd name="T107" fmla="*/ 294 h 1040"/>
                <a:gd name="T108" fmla="*/ 744 w 1036"/>
                <a:gd name="T109" fmla="*/ 520 h 1040"/>
                <a:gd name="T110" fmla="*/ 518 w 1036"/>
                <a:gd name="T111" fmla="*/ 746 h 1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6" h="1040">
                  <a:moveTo>
                    <a:pt x="1030" y="439"/>
                  </a:moveTo>
                  <a:cubicBezTo>
                    <a:pt x="979" y="439"/>
                    <a:pt x="979" y="439"/>
                    <a:pt x="979" y="439"/>
                  </a:cubicBezTo>
                  <a:cubicBezTo>
                    <a:pt x="959" y="439"/>
                    <a:pt x="942" y="426"/>
                    <a:pt x="936" y="407"/>
                  </a:cubicBezTo>
                  <a:cubicBezTo>
                    <a:pt x="927" y="371"/>
                    <a:pt x="912" y="337"/>
                    <a:pt x="894" y="304"/>
                  </a:cubicBezTo>
                  <a:cubicBezTo>
                    <a:pt x="884" y="287"/>
                    <a:pt x="887" y="266"/>
                    <a:pt x="901" y="252"/>
                  </a:cubicBezTo>
                  <a:cubicBezTo>
                    <a:pt x="937" y="215"/>
                    <a:pt x="937" y="215"/>
                    <a:pt x="937" y="215"/>
                  </a:cubicBezTo>
                  <a:cubicBezTo>
                    <a:pt x="905" y="171"/>
                    <a:pt x="867" y="133"/>
                    <a:pt x="823" y="101"/>
                  </a:cubicBezTo>
                  <a:cubicBezTo>
                    <a:pt x="786" y="137"/>
                    <a:pt x="786" y="137"/>
                    <a:pt x="786" y="137"/>
                  </a:cubicBezTo>
                  <a:cubicBezTo>
                    <a:pt x="772" y="151"/>
                    <a:pt x="751" y="154"/>
                    <a:pt x="734" y="144"/>
                  </a:cubicBezTo>
                  <a:cubicBezTo>
                    <a:pt x="701" y="126"/>
                    <a:pt x="667" y="111"/>
                    <a:pt x="631" y="102"/>
                  </a:cubicBezTo>
                  <a:cubicBezTo>
                    <a:pt x="612" y="96"/>
                    <a:pt x="599" y="79"/>
                    <a:pt x="599" y="59"/>
                  </a:cubicBezTo>
                  <a:cubicBezTo>
                    <a:pt x="599" y="8"/>
                    <a:pt x="599" y="8"/>
                    <a:pt x="599" y="8"/>
                  </a:cubicBezTo>
                  <a:cubicBezTo>
                    <a:pt x="546" y="0"/>
                    <a:pt x="490" y="0"/>
                    <a:pt x="437" y="8"/>
                  </a:cubicBezTo>
                  <a:cubicBezTo>
                    <a:pt x="437" y="59"/>
                    <a:pt x="437" y="59"/>
                    <a:pt x="437" y="59"/>
                  </a:cubicBezTo>
                  <a:cubicBezTo>
                    <a:pt x="437" y="79"/>
                    <a:pt x="424" y="96"/>
                    <a:pt x="405" y="102"/>
                  </a:cubicBezTo>
                  <a:cubicBezTo>
                    <a:pt x="369" y="111"/>
                    <a:pt x="335" y="126"/>
                    <a:pt x="302" y="144"/>
                  </a:cubicBezTo>
                  <a:cubicBezTo>
                    <a:pt x="285" y="154"/>
                    <a:pt x="264" y="151"/>
                    <a:pt x="249" y="137"/>
                  </a:cubicBezTo>
                  <a:cubicBezTo>
                    <a:pt x="213" y="101"/>
                    <a:pt x="213" y="101"/>
                    <a:pt x="213" y="101"/>
                  </a:cubicBezTo>
                  <a:cubicBezTo>
                    <a:pt x="169" y="133"/>
                    <a:pt x="131" y="171"/>
                    <a:pt x="99" y="215"/>
                  </a:cubicBezTo>
                  <a:cubicBezTo>
                    <a:pt x="135" y="251"/>
                    <a:pt x="135" y="251"/>
                    <a:pt x="135" y="251"/>
                  </a:cubicBezTo>
                  <a:cubicBezTo>
                    <a:pt x="149" y="266"/>
                    <a:pt x="152" y="287"/>
                    <a:pt x="142" y="304"/>
                  </a:cubicBezTo>
                  <a:cubicBezTo>
                    <a:pt x="124" y="337"/>
                    <a:pt x="109" y="371"/>
                    <a:pt x="100" y="407"/>
                  </a:cubicBezTo>
                  <a:cubicBezTo>
                    <a:pt x="94" y="426"/>
                    <a:pt x="77" y="439"/>
                    <a:pt x="57" y="439"/>
                  </a:cubicBezTo>
                  <a:cubicBezTo>
                    <a:pt x="6" y="439"/>
                    <a:pt x="6" y="439"/>
                    <a:pt x="6" y="439"/>
                  </a:cubicBezTo>
                  <a:cubicBezTo>
                    <a:pt x="2" y="466"/>
                    <a:pt x="0" y="493"/>
                    <a:pt x="0" y="520"/>
                  </a:cubicBezTo>
                  <a:cubicBezTo>
                    <a:pt x="0" y="547"/>
                    <a:pt x="2" y="574"/>
                    <a:pt x="6" y="601"/>
                  </a:cubicBezTo>
                  <a:cubicBezTo>
                    <a:pt x="57" y="601"/>
                    <a:pt x="57" y="601"/>
                    <a:pt x="57" y="601"/>
                  </a:cubicBezTo>
                  <a:cubicBezTo>
                    <a:pt x="77" y="601"/>
                    <a:pt x="94" y="614"/>
                    <a:pt x="100" y="633"/>
                  </a:cubicBezTo>
                  <a:cubicBezTo>
                    <a:pt x="109" y="669"/>
                    <a:pt x="124" y="703"/>
                    <a:pt x="142" y="736"/>
                  </a:cubicBezTo>
                  <a:cubicBezTo>
                    <a:pt x="152" y="753"/>
                    <a:pt x="149" y="774"/>
                    <a:pt x="135" y="789"/>
                  </a:cubicBezTo>
                  <a:cubicBezTo>
                    <a:pt x="99" y="825"/>
                    <a:pt x="99" y="825"/>
                    <a:pt x="99" y="825"/>
                  </a:cubicBezTo>
                  <a:cubicBezTo>
                    <a:pt x="131" y="868"/>
                    <a:pt x="169" y="907"/>
                    <a:pt x="213" y="939"/>
                  </a:cubicBezTo>
                  <a:cubicBezTo>
                    <a:pt x="249" y="903"/>
                    <a:pt x="249" y="903"/>
                    <a:pt x="249" y="903"/>
                  </a:cubicBezTo>
                  <a:cubicBezTo>
                    <a:pt x="264" y="889"/>
                    <a:pt x="285" y="886"/>
                    <a:pt x="302" y="896"/>
                  </a:cubicBezTo>
                  <a:cubicBezTo>
                    <a:pt x="335" y="914"/>
                    <a:pt x="369" y="929"/>
                    <a:pt x="405" y="938"/>
                  </a:cubicBezTo>
                  <a:cubicBezTo>
                    <a:pt x="424" y="944"/>
                    <a:pt x="437" y="961"/>
                    <a:pt x="437" y="981"/>
                  </a:cubicBezTo>
                  <a:cubicBezTo>
                    <a:pt x="437" y="1032"/>
                    <a:pt x="437" y="1032"/>
                    <a:pt x="437" y="1032"/>
                  </a:cubicBezTo>
                  <a:cubicBezTo>
                    <a:pt x="490" y="1040"/>
                    <a:pt x="546" y="1040"/>
                    <a:pt x="599" y="1032"/>
                  </a:cubicBezTo>
                  <a:cubicBezTo>
                    <a:pt x="599" y="981"/>
                    <a:pt x="599" y="981"/>
                    <a:pt x="599" y="981"/>
                  </a:cubicBezTo>
                  <a:cubicBezTo>
                    <a:pt x="599" y="961"/>
                    <a:pt x="612" y="944"/>
                    <a:pt x="631" y="938"/>
                  </a:cubicBezTo>
                  <a:cubicBezTo>
                    <a:pt x="667" y="929"/>
                    <a:pt x="701" y="914"/>
                    <a:pt x="734" y="896"/>
                  </a:cubicBezTo>
                  <a:cubicBezTo>
                    <a:pt x="751" y="886"/>
                    <a:pt x="772" y="889"/>
                    <a:pt x="786" y="903"/>
                  </a:cubicBezTo>
                  <a:cubicBezTo>
                    <a:pt x="823" y="939"/>
                    <a:pt x="823" y="939"/>
                    <a:pt x="823" y="939"/>
                  </a:cubicBezTo>
                  <a:cubicBezTo>
                    <a:pt x="867" y="907"/>
                    <a:pt x="905" y="868"/>
                    <a:pt x="937" y="825"/>
                  </a:cubicBezTo>
                  <a:cubicBezTo>
                    <a:pt x="901" y="788"/>
                    <a:pt x="901" y="788"/>
                    <a:pt x="901" y="788"/>
                  </a:cubicBezTo>
                  <a:cubicBezTo>
                    <a:pt x="887" y="774"/>
                    <a:pt x="884" y="753"/>
                    <a:pt x="894" y="736"/>
                  </a:cubicBezTo>
                  <a:cubicBezTo>
                    <a:pt x="912" y="703"/>
                    <a:pt x="927" y="669"/>
                    <a:pt x="936" y="633"/>
                  </a:cubicBezTo>
                  <a:cubicBezTo>
                    <a:pt x="942" y="614"/>
                    <a:pt x="959" y="601"/>
                    <a:pt x="979" y="601"/>
                  </a:cubicBezTo>
                  <a:cubicBezTo>
                    <a:pt x="1030" y="601"/>
                    <a:pt x="1030" y="601"/>
                    <a:pt x="1030" y="601"/>
                  </a:cubicBezTo>
                  <a:cubicBezTo>
                    <a:pt x="1034" y="574"/>
                    <a:pt x="1036" y="547"/>
                    <a:pt x="1036" y="520"/>
                  </a:cubicBezTo>
                  <a:cubicBezTo>
                    <a:pt x="1036" y="493"/>
                    <a:pt x="1034" y="466"/>
                    <a:pt x="1030" y="439"/>
                  </a:cubicBezTo>
                  <a:close/>
                  <a:moveTo>
                    <a:pt x="518" y="746"/>
                  </a:moveTo>
                  <a:cubicBezTo>
                    <a:pt x="393" y="746"/>
                    <a:pt x="292" y="644"/>
                    <a:pt x="292" y="520"/>
                  </a:cubicBezTo>
                  <a:cubicBezTo>
                    <a:pt x="292" y="396"/>
                    <a:pt x="393" y="294"/>
                    <a:pt x="518" y="294"/>
                  </a:cubicBezTo>
                  <a:cubicBezTo>
                    <a:pt x="642" y="294"/>
                    <a:pt x="744" y="396"/>
                    <a:pt x="744" y="520"/>
                  </a:cubicBezTo>
                  <a:cubicBezTo>
                    <a:pt x="744" y="644"/>
                    <a:pt x="642" y="746"/>
                    <a:pt x="518" y="746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5" name="Freeform 6">
              <a:extLst>
                <a:ext uri="{FF2B5EF4-FFF2-40B4-BE49-F238E27FC236}">
                  <a16:creationId xmlns:a16="http://schemas.microsoft.com/office/drawing/2014/main" id="{FFCE3800-2B7A-4FD1-9549-636086FEA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75" y="2692400"/>
              <a:ext cx="1858964" cy="463550"/>
            </a:xfrm>
            <a:custGeom>
              <a:avLst/>
              <a:gdLst>
                <a:gd name="T0" fmla="*/ 0 w 1418"/>
                <a:gd name="T1" fmla="*/ 346 h 354"/>
                <a:gd name="T2" fmla="*/ 0 w 1418"/>
                <a:gd name="T3" fmla="*/ 80 h 354"/>
                <a:gd name="T4" fmla="*/ 80 w 1418"/>
                <a:gd name="T5" fmla="*/ 0 h 354"/>
                <a:gd name="T6" fmla="*/ 1338 w 1418"/>
                <a:gd name="T7" fmla="*/ 0 h 354"/>
                <a:gd name="T8" fmla="*/ 1418 w 1418"/>
                <a:gd name="T9" fmla="*/ 80 h 354"/>
                <a:gd name="T10" fmla="*/ 1418 w 1418"/>
                <a:gd name="T11" fmla="*/ 354 h 354"/>
                <a:gd name="T12" fmla="*/ 0 w 1418"/>
                <a:gd name="T13" fmla="*/ 346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8" h="354">
                  <a:moveTo>
                    <a:pt x="0" y="346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338" y="0"/>
                    <a:pt x="1338" y="0"/>
                    <a:pt x="1338" y="0"/>
                  </a:cubicBezTo>
                  <a:cubicBezTo>
                    <a:pt x="1382" y="0"/>
                    <a:pt x="1418" y="36"/>
                    <a:pt x="1418" y="80"/>
                  </a:cubicBezTo>
                  <a:cubicBezTo>
                    <a:pt x="1418" y="354"/>
                    <a:pt x="1418" y="354"/>
                    <a:pt x="1418" y="354"/>
                  </a:cubicBezTo>
                  <a:lnTo>
                    <a:pt x="0" y="3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6" name="Freeform 7">
              <a:extLst>
                <a:ext uri="{FF2B5EF4-FFF2-40B4-BE49-F238E27FC236}">
                  <a16:creationId xmlns:a16="http://schemas.microsoft.com/office/drawing/2014/main" id="{5A87BC95-E4F6-415C-A73F-3069A1621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75" y="5195888"/>
              <a:ext cx="1858963" cy="463550"/>
            </a:xfrm>
            <a:custGeom>
              <a:avLst/>
              <a:gdLst>
                <a:gd name="T0" fmla="*/ 0 w 1418"/>
                <a:gd name="T1" fmla="*/ 8 h 354"/>
                <a:gd name="T2" fmla="*/ 0 w 1418"/>
                <a:gd name="T3" fmla="*/ 274 h 354"/>
                <a:gd name="T4" fmla="*/ 80 w 1418"/>
                <a:gd name="T5" fmla="*/ 354 h 354"/>
                <a:gd name="T6" fmla="*/ 1338 w 1418"/>
                <a:gd name="T7" fmla="*/ 354 h 354"/>
                <a:gd name="T8" fmla="*/ 1418 w 1418"/>
                <a:gd name="T9" fmla="*/ 274 h 354"/>
                <a:gd name="T10" fmla="*/ 1418 w 1418"/>
                <a:gd name="T11" fmla="*/ 0 h 354"/>
                <a:gd name="T12" fmla="*/ 0 w 1418"/>
                <a:gd name="T13" fmla="*/ 8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8" h="354">
                  <a:moveTo>
                    <a:pt x="0" y="8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318"/>
                    <a:pt x="36" y="354"/>
                    <a:pt x="80" y="354"/>
                  </a:cubicBezTo>
                  <a:cubicBezTo>
                    <a:pt x="1338" y="354"/>
                    <a:pt x="1338" y="354"/>
                    <a:pt x="1338" y="354"/>
                  </a:cubicBezTo>
                  <a:cubicBezTo>
                    <a:pt x="1382" y="354"/>
                    <a:pt x="1418" y="318"/>
                    <a:pt x="1418" y="274"/>
                  </a:cubicBezTo>
                  <a:cubicBezTo>
                    <a:pt x="1418" y="0"/>
                    <a:pt x="1418" y="0"/>
                    <a:pt x="1418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7" name="Freeform 8">
              <a:extLst>
                <a:ext uri="{FF2B5EF4-FFF2-40B4-BE49-F238E27FC236}">
                  <a16:creationId xmlns:a16="http://schemas.microsoft.com/office/drawing/2014/main" id="{3FDFBA81-214D-4BDE-B132-6C2BE2CE4D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638" y="2620963"/>
              <a:ext cx="2009775" cy="3117850"/>
            </a:xfrm>
            <a:custGeom>
              <a:avLst/>
              <a:gdLst>
                <a:gd name="T0" fmla="*/ 1532 w 1532"/>
                <a:gd name="T1" fmla="*/ 201 h 2382"/>
                <a:gd name="T2" fmla="*/ 1532 w 1532"/>
                <a:gd name="T3" fmla="*/ 2181 h 2382"/>
                <a:gd name="T4" fmla="*/ 1331 w 1532"/>
                <a:gd name="T5" fmla="*/ 2382 h 2382"/>
                <a:gd name="T6" fmla="*/ 201 w 1532"/>
                <a:gd name="T7" fmla="*/ 2382 h 2382"/>
                <a:gd name="T8" fmla="*/ 0 w 1532"/>
                <a:gd name="T9" fmla="*/ 2181 h 2382"/>
                <a:gd name="T10" fmla="*/ 0 w 1532"/>
                <a:gd name="T11" fmla="*/ 201 h 2382"/>
                <a:gd name="T12" fmla="*/ 201 w 1532"/>
                <a:gd name="T13" fmla="*/ 0 h 2382"/>
                <a:gd name="T14" fmla="*/ 1331 w 1532"/>
                <a:gd name="T15" fmla="*/ 0 h 2382"/>
                <a:gd name="T16" fmla="*/ 1532 w 1532"/>
                <a:gd name="T17" fmla="*/ 201 h 2382"/>
                <a:gd name="T18" fmla="*/ 1451 w 1532"/>
                <a:gd name="T19" fmla="*/ 2181 h 2382"/>
                <a:gd name="T20" fmla="*/ 1451 w 1532"/>
                <a:gd name="T21" fmla="*/ 2016 h 2382"/>
                <a:gd name="T22" fmla="*/ 81 w 1532"/>
                <a:gd name="T23" fmla="*/ 2016 h 2382"/>
                <a:gd name="T24" fmla="*/ 81 w 1532"/>
                <a:gd name="T25" fmla="*/ 2181 h 2382"/>
                <a:gd name="T26" fmla="*/ 201 w 1532"/>
                <a:gd name="T27" fmla="*/ 2301 h 2382"/>
                <a:gd name="T28" fmla="*/ 1331 w 1532"/>
                <a:gd name="T29" fmla="*/ 2301 h 2382"/>
                <a:gd name="T30" fmla="*/ 1451 w 1532"/>
                <a:gd name="T31" fmla="*/ 2181 h 2382"/>
                <a:gd name="T32" fmla="*/ 1451 w 1532"/>
                <a:gd name="T33" fmla="*/ 1935 h 2382"/>
                <a:gd name="T34" fmla="*/ 1451 w 1532"/>
                <a:gd name="T35" fmla="*/ 447 h 2382"/>
                <a:gd name="T36" fmla="*/ 81 w 1532"/>
                <a:gd name="T37" fmla="*/ 447 h 2382"/>
                <a:gd name="T38" fmla="*/ 81 w 1532"/>
                <a:gd name="T39" fmla="*/ 1935 h 2382"/>
                <a:gd name="T40" fmla="*/ 1451 w 1532"/>
                <a:gd name="T41" fmla="*/ 1935 h 2382"/>
                <a:gd name="T42" fmla="*/ 1451 w 1532"/>
                <a:gd name="T43" fmla="*/ 366 h 2382"/>
                <a:gd name="T44" fmla="*/ 1451 w 1532"/>
                <a:gd name="T45" fmla="*/ 201 h 2382"/>
                <a:gd name="T46" fmla="*/ 1331 w 1532"/>
                <a:gd name="T47" fmla="*/ 81 h 2382"/>
                <a:gd name="T48" fmla="*/ 201 w 1532"/>
                <a:gd name="T49" fmla="*/ 81 h 2382"/>
                <a:gd name="T50" fmla="*/ 81 w 1532"/>
                <a:gd name="T51" fmla="*/ 201 h 2382"/>
                <a:gd name="T52" fmla="*/ 81 w 1532"/>
                <a:gd name="T53" fmla="*/ 366 h 2382"/>
                <a:gd name="T54" fmla="*/ 1451 w 1532"/>
                <a:gd name="T55" fmla="*/ 366 h 2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32" h="2382">
                  <a:moveTo>
                    <a:pt x="1532" y="201"/>
                  </a:moveTo>
                  <a:cubicBezTo>
                    <a:pt x="1532" y="2181"/>
                    <a:pt x="1532" y="2181"/>
                    <a:pt x="1532" y="2181"/>
                  </a:cubicBezTo>
                  <a:cubicBezTo>
                    <a:pt x="1532" y="2291"/>
                    <a:pt x="1442" y="2382"/>
                    <a:pt x="1331" y="2382"/>
                  </a:cubicBezTo>
                  <a:cubicBezTo>
                    <a:pt x="201" y="2382"/>
                    <a:pt x="201" y="2382"/>
                    <a:pt x="201" y="2382"/>
                  </a:cubicBezTo>
                  <a:cubicBezTo>
                    <a:pt x="90" y="2382"/>
                    <a:pt x="0" y="2291"/>
                    <a:pt x="0" y="218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91"/>
                    <a:pt x="90" y="0"/>
                    <a:pt x="201" y="0"/>
                  </a:cubicBezTo>
                  <a:cubicBezTo>
                    <a:pt x="1331" y="0"/>
                    <a:pt x="1331" y="0"/>
                    <a:pt x="1331" y="0"/>
                  </a:cubicBezTo>
                  <a:cubicBezTo>
                    <a:pt x="1442" y="0"/>
                    <a:pt x="1532" y="91"/>
                    <a:pt x="1532" y="201"/>
                  </a:cubicBezTo>
                  <a:close/>
                  <a:moveTo>
                    <a:pt x="1451" y="2181"/>
                  </a:moveTo>
                  <a:cubicBezTo>
                    <a:pt x="1451" y="2016"/>
                    <a:pt x="1451" y="2016"/>
                    <a:pt x="1451" y="2016"/>
                  </a:cubicBezTo>
                  <a:cubicBezTo>
                    <a:pt x="81" y="2016"/>
                    <a:pt x="81" y="2016"/>
                    <a:pt x="81" y="2016"/>
                  </a:cubicBezTo>
                  <a:cubicBezTo>
                    <a:pt x="81" y="2181"/>
                    <a:pt x="81" y="2181"/>
                    <a:pt x="81" y="2181"/>
                  </a:cubicBezTo>
                  <a:cubicBezTo>
                    <a:pt x="81" y="2247"/>
                    <a:pt x="135" y="2301"/>
                    <a:pt x="201" y="2301"/>
                  </a:cubicBezTo>
                  <a:cubicBezTo>
                    <a:pt x="1331" y="2301"/>
                    <a:pt x="1331" y="2301"/>
                    <a:pt x="1331" y="2301"/>
                  </a:cubicBezTo>
                  <a:cubicBezTo>
                    <a:pt x="1397" y="2301"/>
                    <a:pt x="1451" y="2247"/>
                    <a:pt x="1451" y="2181"/>
                  </a:cubicBezTo>
                  <a:close/>
                  <a:moveTo>
                    <a:pt x="1451" y="1935"/>
                  </a:moveTo>
                  <a:cubicBezTo>
                    <a:pt x="1451" y="447"/>
                    <a:pt x="1451" y="447"/>
                    <a:pt x="1451" y="447"/>
                  </a:cubicBezTo>
                  <a:cubicBezTo>
                    <a:pt x="81" y="447"/>
                    <a:pt x="81" y="447"/>
                    <a:pt x="81" y="447"/>
                  </a:cubicBezTo>
                  <a:cubicBezTo>
                    <a:pt x="81" y="1935"/>
                    <a:pt x="81" y="1935"/>
                    <a:pt x="81" y="1935"/>
                  </a:cubicBezTo>
                  <a:lnTo>
                    <a:pt x="1451" y="1935"/>
                  </a:lnTo>
                  <a:close/>
                  <a:moveTo>
                    <a:pt x="1451" y="366"/>
                  </a:moveTo>
                  <a:cubicBezTo>
                    <a:pt x="1451" y="201"/>
                    <a:pt x="1451" y="201"/>
                    <a:pt x="1451" y="201"/>
                  </a:cubicBezTo>
                  <a:cubicBezTo>
                    <a:pt x="1451" y="135"/>
                    <a:pt x="1397" y="81"/>
                    <a:pt x="1331" y="81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135" y="81"/>
                    <a:pt x="81" y="135"/>
                    <a:pt x="81" y="201"/>
                  </a:cubicBezTo>
                  <a:cubicBezTo>
                    <a:pt x="81" y="366"/>
                    <a:pt x="81" y="366"/>
                    <a:pt x="81" y="366"/>
                  </a:cubicBezTo>
                  <a:lnTo>
                    <a:pt x="1451" y="3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8" name="Freeform 9">
              <a:extLst>
                <a:ext uri="{FF2B5EF4-FFF2-40B4-BE49-F238E27FC236}">
                  <a16:creationId xmlns:a16="http://schemas.microsoft.com/office/drawing/2014/main" id="{48945286-D005-4457-8C3A-753181F55D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0275" y="3444875"/>
              <a:ext cx="1458913" cy="1462088"/>
            </a:xfrm>
            <a:custGeom>
              <a:avLst/>
              <a:gdLst>
                <a:gd name="T0" fmla="*/ 1112 w 1112"/>
                <a:gd name="T1" fmla="*/ 561 h 1117"/>
                <a:gd name="T2" fmla="*/ 1059 w 1112"/>
                <a:gd name="T3" fmla="*/ 716 h 1117"/>
                <a:gd name="T4" fmla="*/ 986 w 1112"/>
                <a:gd name="T5" fmla="*/ 771 h 1117"/>
                <a:gd name="T6" fmla="*/ 1027 w 1112"/>
                <a:gd name="T7" fmla="*/ 857 h 1117"/>
                <a:gd name="T8" fmla="*/ 802 w 1112"/>
                <a:gd name="T9" fmla="*/ 1026 h 1117"/>
                <a:gd name="T10" fmla="*/ 711 w 1112"/>
                <a:gd name="T11" fmla="*/ 1014 h 1117"/>
                <a:gd name="T12" fmla="*/ 680 w 1112"/>
                <a:gd name="T13" fmla="*/ 1103 h 1117"/>
                <a:gd name="T14" fmla="*/ 432 w 1112"/>
                <a:gd name="T15" fmla="*/ 1103 h 1117"/>
                <a:gd name="T16" fmla="*/ 401 w 1112"/>
                <a:gd name="T17" fmla="*/ 1014 h 1117"/>
                <a:gd name="T18" fmla="*/ 310 w 1112"/>
                <a:gd name="T19" fmla="*/ 1026 h 1117"/>
                <a:gd name="T20" fmla="*/ 85 w 1112"/>
                <a:gd name="T21" fmla="*/ 857 h 1117"/>
                <a:gd name="T22" fmla="*/ 126 w 1112"/>
                <a:gd name="T23" fmla="*/ 772 h 1117"/>
                <a:gd name="T24" fmla="*/ 53 w 1112"/>
                <a:gd name="T25" fmla="*/ 716 h 1117"/>
                <a:gd name="T26" fmla="*/ 0 w 1112"/>
                <a:gd name="T27" fmla="*/ 561 h 1117"/>
                <a:gd name="T28" fmla="*/ 53 w 1112"/>
                <a:gd name="T29" fmla="*/ 406 h 1117"/>
                <a:gd name="T30" fmla="*/ 126 w 1112"/>
                <a:gd name="T31" fmla="*/ 351 h 1117"/>
                <a:gd name="T32" fmla="*/ 85 w 1112"/>
                <a:gd name="T33" fmla="*/ 265 h 1117"/>
                <a:gd name="T34" fmla="*/ 310 w 1112"/>
                <a:gd name="T35" fmla="*/ 96 h 1117"/>
                <a:gd name="T36" fmla="*/ 401 w 1112"/>
                <a:gd name="T37" fmla="*/ 108 h 1117"/>
                <a:gd name="T38" fmla="*/ 432 w 1112"/>
                <a:gd name="T39" fmla="*/ 19 h 1117"/>
                <a:gd name="T40" fmla="*/ 711 w 1112"/>
                <a:gd name="T41" fmla="*/ 58 h 1117"/>
                <a:gd name="T42" fmla="*/ 766 w 1112"/>
                <a:gd name="T43" fmla="*/ 131 h 1117"/>
                <a:gd name="T44" fmla="*/ 852 w 1112"/>
                <a:gd name="T45" fmla="*/ 90 h 1117"/>
                <a:gd name="T46" fmla="*/ 1021 w 1112"/>
                <a:gd name="T47" fmla="*/ 315 h 1117"/>
                <a:gd name="T48" fmla="*/ 1009 w 1112"/>
                <a:gd name="T49" fmla="*/ 406 h 1117"/>
                <a:gd name="T50" fmla="*/ 1099 w 1112"/>
                <a:gd name="T51" fmla="*/ 437 h 1117"/>
                <a:gd name="T52" fmla="*/ 1026 w 1112"/>
                <a:gd name="T53" fmla="*/ 487 h 1117"/>
                <a:gd name="T54" fmla="*/ 940 w 1112"/>
                <a:gd name="T55" fmla="*/ 457 h 1117"/>
                <a:gd name="T56" fmla="*/ 907 w 1112"/>
                <a:gd name="T57" fmla="*/ 315 h 1117"/>
                <a:gd name="T58" fmla="*/ 836 w 1112"/>
                <a:gd name="T59" fmla="*/ 176 h 1117"/>
                <a:gd name="T60" fmla="*/ 754 w 1112"/>
                <a:gd name="T61" fmla="*/ 216 h 1117"/>
                <a:gd name="T62" fmla="*/ 630 w 1112"/>
                <a:gd name="T63" fmla="*/ 138 h 1117"/>
                <a:gd name="T64" fmla="*/ 482 w 1112"/>
                <a:gd name="T65" fmla="*/ 91 h 1117"/>
                <a:gd name="T66" fmla="*/ 452 w 1112"/>
                <a:gd name="T67" fmla="*/ 177 h 1117"/>
                <a:gd name="T68" fmla="*/ 310 w 1112"/>
                <a:gd name="T69" fmla="*/ 210 h 1117"/>
                <a:gd name="T70" fmla="*/ 171 w 1112"/>
                <a:gd name="T71" fmla="*/ 281 h 1117"/>
                <a:gd name="T72" fmla="*/ 211 w 1112"/>
                <a:gd name="T73" fmla="*/ 363 h 1117"/>
                <a:gd name="T74" fmla="*/ 133 w 1112"/>
                <a:gd name="T75" fmla="*/ 487 h 1117"/>
                <a:gd name="T76" fmla="*/ 80 w 1112"/>
                <a:gd name="T77" fmla="*/ 561 h 1117"/>
                <a:gd name="T78" fmla="*/ 133 w 1112"/>
                <a:gd name="T79" fmla="*/ 635 h 1117"/>
                <a:gd name="T80" fmla="*/ 211 w 1112"/>
                <a:gd name="T81" fmla="*/ 759 h 1117"/>
                <a:gd name="T82" fmla="*/ 171 w 1112"/>
                <a:gd name="T83" fmla="*/ 841 h 1117"/>
                <a:gd name="T84" fmla="*/ 310 w 1112"/>
                <a:gd name="T85" fmla="*/ 913 h 1117"/>
                <a:gd name="T86" fmla="*/ 452 w 1112"/>
                <a:gd name="T87" fmla="*/ 945 h 1117"/>
                <a:gd name="T88" fmla="*/ 482 w 1112"/>
                <a:gd name="T89" fmla="*/ 1031 h 1117"/>
                <a:gd name="T90" fmla="*/ 630 w 1112"/>
                <a:gd name="T91" fmla="*/ 984 h 1117"/>
                <a:gd name="T92" fmla="*/ 754 w 1112"/>
                <a:gd name="T93" fmla="*/ 906 h 1117"/>
                <a:gd name="T94" fmla="*/ 836 w 1112"/>
                <a:gd name="T95" fmla="*/ 946 h 1117"/>
                <a:gd name="T96" fmla="*/ 907 w 1112"/>
                <a:gd name="T97" fmla="*/ 807 h 1117"/>
                <a:gd name="T98" fmla="*/ 940 w 1112"/>
                <a:gd name="T99" fmla="*/ 665 h 1117"/>
                <a:gd name="T100" fmla="*/ 1026 w 1112"/>
                <a:gd name="T101" fmla="*/ 635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12" h="1117">
                  <a:moveTo>
                    <a:pt x="1099" y="437"/>
                  </a:moveTo>
                  <a:cubicBezTo>
                    <a:pt x="1108" y="478"/>
                    <a:pt x="1112" y="519"/>
                    <a:pt x="1112" y="561"/>
                  </a:cubicBezTo>
                  <a:cubicBezTo>
                    <a:pt x="1112" y="603"/>
                    <a:pt x="1108" y="644"/>
                    <a:pt x="1099" y="685"/>
                  </a:cubicBezTo>
                  <a:cubicBezTo>
                    <a:pt x="1094" y="703"/>
                    <a:pt x="1078" y="716"/>
                    <a:pt x="1059" y="716"/>
                  </a:cubicBezTo>
                  <a:cubicBezTo>
                    <a:pt x="1009" y="716"/>
                    <a:pt x="1009" y="716"/>
                    <a:pt x="1009" y="716"/>
                  </a:cubicBezTo>
                  <a:cubicBezTo>
                    <a:pt x="1002" y="735"/>
                    <a:pt x="994" y="753"/>
                    <a:pt x="986" y="771"/>
                  </a:cubicBezTo>
                  <a:cubicBezTo>
                    <a:pt x="1021" y="807"/>
                    <a:pt x="1021" y="807"/>
                    <a:pt x="1021" y="807"/>
                  </a:cubicBezTo>
                  <a:cubicBezTo>
                    <a:pt x="1035" y="821"/>
                    <a:pt x="1037" y="841"/>
                    <a:pt x="1027" y="857"/>
                  </a:cubicBezTo>
                  <a:cubicBezTo>
                    <a:pt x="983" y="927"/>
                    <a:pt x="922" y="988"/>
                    <a:pt x="852" y="1032"/>
                  </a:cubicBezTo>
                  <a:cubicBezTo>
                    <a:pt x="836" y="1042"/>
                    <a:pt x="816" y="1040"/>
                    <a:pt x="802" y="1026"/>
                  </a:cubicBezTo>
                  <a:cubicBezTo>
                    <a:pt x="766" y="991"/>
                    <a:pt x="766" y="991"/>
                    <a:pt x="766" y="991"/>
                  </a:cubicBezTo>
                  <a:cubicBezTo>
                    <a:pt x="748" y="999"/>
                    <a:pt x="730" y="1007"/>
                    <a:pt x="711" y="1014"/>
                  </a:cubicBezTo>
                  <a:cubicBezTo>
                    <a:pt x="711" y="1064"/>
                    <a:pt x="711" y="1064"/>
                    <a:pt x="711" y="1064"/>
                  </a:cubicBezTo>
                  <a:cubicBezTo>
                    <a:pt x="711" y="1083"/>
                    <a:pt x="698" y="1099"/>
                    <a:pt x="680" y="1103"/>
                  </a:cubicBezTo>
                  <a:cubicBezTo>
                    <a:pt x="639" y="1113"/>
                    <a:pt x="598" y="1117"/>
                    <a:pt x="556" y="1117"/>
                  </a:cubicBezTo>
                  <a:cubicBezTo>
                    <a:pt x="514" y="1117"/>
                    <a:pt x="473" y="1113"/>
                    <a:pt x="432" y="1103"/>
                  </a:cubicBezTo>
                  <a:cubicBezTo>
                    <a:pt x="414" y="1099"/>
                    <a:pt x="401" y="1083"/>
                    <a:pt x="401" y="1064"/>
                  </a:cubicBezTo>
                  <a:cubicBezTo>
                    <a:pt x="401" y="1014"/>
                    <a:pt x="401" y="1014"/>
                    <a:pt x="401" y="1014"/>
                  </a:cubicBezTo>
                  <a:cubicBezTo>
                    <a:pt x="382" y="1007"/>
                    <a:pt x="364" y="999"/>
                    <a:pt x="346" y="991"/>
                  </a:cubicBezTo>
                  <a:cubicBezTo>
                    <a:pt x="310" y="1026"/>
                    <a:pt x="310" y="1026"/>
                    <a:pt x="310" y="1026"/>
                  </a:cubicBezTo>
                  <a:cubicBezTo>
                    <a:pt x="296" y="1040"/>
                    <a:pt x="276" y="1042"/>
                    <a:pt x="260" y="1032"/>
                  </a:cubicBezTo>
                  <a:cubicBezTo>
                    <a:pt x="190" y="988"/>
                    <a:pt x="129" y="927"/>
                    <a:pt x="85" y="857"/>
                  </a:cubicBezTo>
                  <a:cubicBezTo>
                    <a:pt x="75" y="841"/>
                    <a:pt x="77" y="821"/>
                    <a:pt x="91" y="807"/>
                  </a:cubicBezTo>
                  <a:cubicBezTo>
                    <a:pt x="126" y="772"/>
                    <a:pt x="126" y="772"/>
                    <a:pt x="126" y="772"/>
                  </a:cubicBezTo>
                  <a:cubicBezTo>
                    <a:pt x="118" y="753"/>
                    <a:pt x="110" y="735"/>
                    <a:pt x="103" y="716"/>
                  </a:cubicBezTo>
                  <a:cubicBezTo>
                    <a:pt x="53" y="716"/>
                    <a:pt x="53" y="716"/>
                    <a:pt x="53" y="716"/>
                  </a:cubicBezTo>
                  <a:cubicBezTo>
                    <a:pt x="34" y="716"/>
                    <a:pt x="18" y="703"/>
                    <a:pt x="14" y="685"/>
                  </a:cubicBezTo>
                  <a:cubicBezTo>
                    <a:pt x="4" y="644"/>
                    <a:pt x="0" y="603"/>
                    <a:pt x="0" y="561"/>
                  </a:cubicBezTo>
                  <a:cubicBezTo>
                    <a:pt x="0" y="519"/>
                    <a:pt x="4" y="478"/>
                    <a:pt x="14" y="437"/>
                  </a:cubicBezTo>
                  <a:cubicBezTo>
                    <a:pt x="18" y="419"/>
                    <a:pt x="34" y="406"/>
                    <a:pt x="53" y="406"/>
                  </a:cubicBezTo>
                  <a:cubicBezTo>
                    <a:pt x="103" y="406"/>
                    <a:pt x="103" y="406"/>
                    <a:pt x="103" y="406"/>
                  </a:cubicBezTo>
                  <a:cubicBezTo>
                    <a:pt x="110" y="387"/>
                    <a:pt x="118" y="369"/>
                    <a:pt x="126" y="351"/>
                  </a:cubicBezTo>
                  <a:cubicBezTo>
                    <a:pt x="91" y="315"/>
                    <a:pt x="91" y="315"/>
                    <a:pt x="91" y="315"/>
                  </a:cubicBezTo>
                  <a:cubicBezTo>
                    <a:pt x="77" y="301"/>
                    <a:pt x="75" y="281"/>
                    <a:pt x="85" y="265"/>
                  </a:cubicBezTo>
                  <a:cubicBezTo>
                    <a:pt x="129" y="195"/>
                    <a:pt x="190" y="134"/>
                    <a:pt x="260" y="90"/>
                  </a:cubicBezTo>
                  <a:cubicBezTo>
                    <a:pt x="276" y="80"/>
                    <a:pt x="296" y="82"/>
                    <a:pt x="310" y="96"/>
                  </a:cubicBezTo>
                  <a:cubicBezTo>
                    <a:pt x="346" y="131"/>
                    <a:pt x="346" y="131"/>
                    <a:pt x="346" y="131"/>
                  </a:cubicBezTo>
                  <a:cubicBezTo>
                    <a:pt x="364" y="123"/>
                    <a:pt x="382" y="115"/>
                    <a:pt x="401" y="108"/>
                  </a:cubicBezTo>
                  <a:cubicBezTo>
                    <a:pt x="401" y="58"/>
                    <a:pt x="401" y="58"/>
                    <a:pt x="401" y="58"/>
                  </a:cubicBezTo>
                  <a:cubicBezTo>
                    <a:pt x="401" y="39"/>
                    <a:pt x="414" y="23"/>
                    <a:pt x="432" y="19"/>
                  </a:cubicBezTo>
                  <a:cubicBezTo>
                    <a:pt x="513" y="0"/>
                    <a:pt x="599" y="0"/>
                    <a:pt x="680" y="19"/>
                  </a:cubicBezTo>
                  <a:cubicBezTo>
                    <a:pt x="698" y="23"/>
                    <a:pt x="711" y="39"/>
                    <a:pt x="711" y="58"/>
                  </a:cubicBezTo>
                  <a:cubicBezTo>
                    <a:pt x="711" y="108"/>
                    <a:pt x="711" y="108"/>
                    <a:pt x="711" y="108"/>
                  </a:cubicBezTo>
                  <a:cubicBezTo>
                    <a:pt x="730" y="115"/>
                    <a:pt x="748" y="123"/>
                    <a:pt x="766" y="131"/>
                  </a:cubicBezTo>
                  <a:cubicBezTo>
                    <a:pt x="802" y="96"/>
                    <a:pt x="802" y="96"/>
                    <a:pt x="802" y="96"/>
                  </a:cubicBezTo>
                  <a:cubicBezTo>
                    <a:pt x="816" y="82"/>
                    <a:pt x="836" y="80"/>
                    <a:pt x="852" y="90"/>
                  </a:cubicBezTo>
                  <a:cubicBezTo>
                    <a:pt x="922" y="134"/>
                    <a:pt x="983" y="195"/>
                    <a:pt x="1027" y="265"/>
                  </a:cubicBezTo>
                  <a:cubicBezTo>
                    <a:pt x="1037" y="281"/>
                    <a:pt x="1035" y="301"/>
                    <a:pt x="1021" y="315"/>
                  </a:cubicBezTo>
                  <a:cubicBezTo>
                    <a:pt x="986" y="351"/>
                    <a:pt x="986" y="351"/>
                    <a:pt x="986" y="351"/>
                  </a:cubicBezTo>
                  <a:cubicBezTo>
                    <a:pt x="994" y="369"/>
                    <a:pt x="1002" y="387"/>
                    <a:pt x="1009" y="406"/>
                  </a:cubicBezTo>
                  <a:cubicBezTo>
                    <a:pt x="1059" y="406"/>
                    <a:pt x="1059" y="406"/>
                    <a:pt x="1059" y="406"/>
                  </a:cubicBezTo>
                  <a:cubicBezTo>
                    <a:pt x="1078" y="406"/>
                    <a:pt x="1094" y="419"/>
                    <a:pt x="1099" y="437"/>
                  </a:cubicBezTo>
                  <a:close/>
                  <a:moveTo>
                    <a:pt x="1032" y="561"/>
                  </a:moveTo>
                  <a:cubicBezTo>
                    <a:pt x="1032" y="536"/>
                    <a:pt x="1030" y="511"/>
                    <a:pt x="1026" y="487"/>
                  </a:cubicBezTo>
                  <a:cubicBezTo>
                    <a:pt x="979" y="487"/>
                    <a:pt x="979" y="487"/>
                    <a:pt x="979" y="487"/>
                  </a:cubicBezTo>
                  <a:cubicBezTo>
                    <a:pt x="961" y="487"/>
                    <a:pt x="945" y="475"/>
                    <a:pt x="940" y="457"/>
                  </a:cubicBezTo>
                  <a:cubicBezTo>
                    <a:pt x="931" y="424"/>
                    <a:pt x="918" y="393"/>
                    <a:pt x="901" y="363"/>
                  </a:cubicBezTo>
                  <a:cubicBezTo>
                    <a:pt x="892" y="347"/>
                    <a:pt x="895" y="328"/>
                    <a:pt x="907" y="315"/>
                  </a:cubicBezTo>
                  <a:cubicBezTo>
                    <a:pt x="941" y="281"/>
                    <a:pt x="941" y="281"/>
                    <a:pt x="941" y="281"/>
                  </a:cubicBezTo>
                  <a:cubicBezTo>
                    <a:pt x="912" y="241"/>
                    <a:pt x="876" y="206"/>
                    <a:pt x="836" y="176"/>
                  </a:cubicBezTo>
                  <a:cubicBezTo>
                    <a:pt x="802" y="210"/>
                    <a:pt x="802" y="210"/>
                    <a:pt x="802" y="210"/>
                  </a:cubicBezTo>
                  <a:cubicBezTo>
                    <a:pt x="790" y="222"/>
                    <a:pt x="770" y="225"/>
                    <a:pt x="754" y="216"/>
                  </a:cubicBezTo>
                  <a:cubicBezTo>
                    <a:pt x="724" y="199"/>
                    <a:pt x="693" y="186"/>
                    <a:pt x="660" y="177"/>
                  </a:cubicBezTo>
                  <a:cubicBezTo>
                    <a:pt x="642" y="172"/>
                    <a:pt x="630" y="156"/>
                    <a:pt x="630" y="138"/>
                  </a:cubicBezTo>
                  <a:cubicBezTo>
                    <a:pt x="630" y="91"/>
                    <a:pt x="630" y="91"/>
                    <a:pt x="630" y="91"/>
                  </a:cubicBezTo>
                  <a:cubicBezTo>
                    <a:pt x="581" y="83"/>
                    <a:pt x="531" y="83"/>
                    <a:pt x="482" y="91"/>
                  </a:cubicBezTo>
                  <a:cubicBezTo>
                    <a:pt x="482" y="138"/>
                    <a:pt x="482" y="138"/>
                    <a:pt x="482" y="138"/>
                  </a:cubicBezTo>
                  <a:cubicBezTo>
                    <a:pt x="482" y="156"/>
                    <a:pt x="469" y="172"/>
                    <a:pt x="452" y="177"/>
                  </a:cubicBezTo>
                  <a:cubicBezTo>
                    <a:pt x="419" y="186"/>
                    <a:pt x="388" y="199"/>
                    <a:pt x="358" y="216"/>
                  </a:cubicBezTo>
                  <a:cubicBezTo>
                    <a:pt x="342" y="225"/>
                    <a:pt x="322" y="222"/>
                    <a:pt x="310" y="210"/>
                  </a:cubicBezTo>
                  <a:cubicBezTo>
                    <a:pt x="276" y="176"/>
                    <a:pt x="276" y="176"/>
                    <a:pt x="276" y="176"/>
                  </a:cubicBezTo>
                  <a:cubicBezTo>
                    <a:pt x="236" y="205"/>
                    <a:pt x="200" y="241"/>
                    <a:pt x="171" y="281"/>
                  </a:cubicBezTo>
                  <a:cubicBezTo>
                    <a:pt x="205" y="315"/>
                    <a:pt x="205" y="315"/>
                    <a:pt x="205" y="315"/>
                  </a:cubicBezTo>
                  <a:cubicBezTo>
                    <a:pt x="217" y="327"/>
                    <a:pt x="220" y="347"/>
                    <a:pt x="211" y="363"/>
                  </a:cubicBezTo>
                  <a:cubicBezTo>
                    <a:pt x="194" y="393"/>
                    <a:pt x="181" y="424"/>
                    <a:pt x="172" y="457"/>
                  </a:cubicBezTo>
                  <a:cubicBezTo>
                    <a:pt x="167" y="475"/>
                    <a:pt x="151" y="487"/>
                    <a:pt x="133" y="487"/>
                  </a:cubicBezTo>
                  <a:cubicBezTo>
                    <a:pt x="86" y="487"/>
                    <a:pt x="86" y="487"/>
                    <a:pt x="86" y="487"/>
                  </a:cubicBezTo>
                  <a:cubicBezTo>
                    <a:pt x="82" y="511"/>
                    <a:pt x="80" y="536"/>
                    <a:pt x="80" y="561"/>
                  </a:cubicBezTo>
                  <a:cubicBezTo>
                    <a:pt x="80" y="586"/>
                    <a:pt x="82" y="611"/>
                    <a:pt x="86" y="635"/>
                  </a:cubicBezTo>
                  <a:cubicBezTo>
                    <a:pt x="133" y="635"/>
                    <a:pt x="133" y="635"/>
                    <a:pt x="133" y="635"/>
                  </a:cubicBezTo>
                  <a:cubicBezTo>
                    <a:pt x="151" y="635"/>
                    <a:pt x="167" y="648"/>
                    <a:pt x="172" y="665"/>
                  </a:cubicBezTo>
                  <a:cubicBezTo>
                    <a:pt x="181" y="698"/>
                    <a:pt x="194" y="729"/>
                    <a:pt x="211" y="759"/>
                  </a:cubicBezTo>
                  <a:cubicBezTo>
                    <a:pt x="220" y="775"/>
                    <a:pt x="217" y="795"/>
                    <a:pt x="205" y="807"/>
                  </a:cubicBezTo>
                  <a:cubicBezTo>
                    <a:pt x="171" y="841"/>
                    <a:pt x="171" y="841"/>
                    <a:pt x="171" y="841"/>
                  </a:cubicBezTo>
                  <a:cubicBezTo>
                    <a:pt x="200" y="881"/>
                    <a:pt x="236" y="916"/>
                    <a:pt x="276" y="946"/>
                  </a:cubicBezTo>
                  <a:cubicBezTo>
                    <a:pt x="310" y="913"/>
                    <a:pt x="310" y="913"/>
                    <a:pt x="310" y="913"/>
                  </a:cubicBezTo>
                  <a:cubicBezTo>
                    <a:pt x="322" y="900"/>
                    <a:pt x="342" y="897"/>
                    <a:pt x="358" y="906"/>
                  </a:cubicBezTo>
                  <a:cubicBezTo>
                    <a:pt x="388" y="923"/>
                    <a:pt x="419" y="936"/>
                    <a:pt x="452" y="945"/>
                  </a:cubicBezTo>
                  <a:cubicBezTo>
                    <a:pt x="469" y="950"/>
                    <a:pt x="482" y="966"/>
                    <a:pt x="482" y="984"/>
                  </a:cubicBezTo>
                  <a:cubicBezTo>
                    <a:pt x="482" y="1031"/>
                    <a:pt x="482" y="1031"/>
                    <a:pt x="482" y="1031"/>
                  </a:cubicBezTo>
                  <a:cubicBezTo>
                    <a:pt x="531" y="1039"/>
                    <a:pt x="581" y="1039"/>
                    <a:pt x="630" y="1031"/>
                  </a:cubicBezTo>
                  <a:cubicBezTo>
                    <a:pt x="630" y="984"/>
                    <a:pt x="630" y="984"/>
                    <a:pt x="630" y="984"/>
                  </a:cubicBezTo>
                  <a:cubicBezTo>
                    <a:pt x="630" y="966"/>
                    <a:pt x="642" y="950"/>
                    <a:pt x="660" y="945"/>
                  </a:cubicBezTo>
                  <a:cubicBezTo>
                    <a:pt x="693" y="936"/>
                    <a:pt x="724" y="923"/>
                    <a:pt x="754" y="906"/>
                  </a:cubicBezTo>
                  <a:cubicBezTo>
                    <a:pt x="770" y="897"/>
                    <a:pt x="790" y="900"/>
                    <a:pt x="802" y="912"/>
                  </a:cubicBezTo>
                  <a:cubicBezTo>
                    <a:pt x="836" y="946"/>
                    <a:pt x="836" y="946"/>
                    <a:pt x="836" y="946"/>
                  </a:cubicBezTo>
                  <a:cubicBezTo>
                    <a:pt x="876" y="916"/>
                    <a:pt x="912" y="881"/>
                    <a:pt x="941" y="841"/>
                  </a:cubicBezTo>
                  <a:cubicBezTo>
                    <a:pt x="907" y="807"/>
                    <a:pt x="907" y="807"/>
                    <a:pt x="907" y="807"/>
                  </a:cubicBezTo>
                  <a:cubicBezTo>
                    <a:pt x="895" y="795"/>
                    <a:pt x="892" y="775"/>
                    <a:pt x="901" y="759"/>
                  </a:cubicBezTo>
                  <a:cubicBezTo>
                    <a:pt x="918" y="729"/>
                    <a:pt x="931" y="698"/>
                    <a:pt x="940" y="665"/>
                  </a:cubicBezTo>
                  <a:cubicBezTo>
                    <a:pt x="945" y="648"/>
                    <a:pt x="961" y="635"/>
                    <a:pt x="979" y="635"/>
                  </a:cubicBezTo>
                  <a:cubicBezTo>
                    <a:pt x="1026" y="635"/>
                    <a:pt x="1026" y="635"/>
                    <a:pt x="1026" y="635"/>
                  </a:cubicBezTo>
                  <a:cubicBezTo>
                    <a:pt x="1030" y="611"/>
                    <a:pt x="1032" y="586"/>
                    <a:pt x="1032" y="5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9" name="Freeform 10">
              <a:extLst>
                <a:ext uri="{FF2B5EF4-FFF2-40B4-BE49-F238E27FC236}">
                  <a16:creationId xmlns:a16="http://schemas.microsoft.com/office/drawing/2014/main" id="{E8DF3EE6-E2C9-4A15-B087-50279C0621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8888" y="3779838"/>
              <a:ext cx="803275" cy="800100"/>
            </a:xfrm>
            <a:custGeom>
              <a:avLst/>
              <a:gdLst>
                <a:gd name="T0" fmla="*/ 306 w 612"/>
                <a:gd name="T1" fmla="*/ 0 h 612"/>
                <a:gd name="T2" fmla="*/ 612 w 612"/>
                <a:gd name="T3" fmla="*/ 306 h 612"/>
                <a:gd name="T4" fmla="*/ 306 w 612"/>
                <a:gd name="T5" fmla="*/ 612 h 612"/>
                <a:gd name="T6" fmla="*/ 0 w 612"/>
                <a:gd name="T7" fmla="*/ 306 h 612"/>
                <a:gd name="T8" fmla="*/ 306 w 612"/>
                <a:gd name="T9" fmla="*/ 0 h 612"/>
                <a:gd name="T10" fmla="*/ 532 w 612"/>
                <a:gd name="T11" fmla="*/ 306 h 612"/>
                <a:gd name="T12" fmla="*/ 306 w 612"/>
                <a:gd name="T13" fmla="*/ 80 h 612"/>
                <a:gd name="T14" fmla="*/ 80 w 612"/>
                <a:gd name="T15" fmla="*/ 306 h 612"/>
                <a:gd name="T16" fmla="*/ 306 w 612"/>
                <a:gd name="T17" fmla="*/ 532 h 612"/>
                <a:gd name="T18" fmla="*/ 532 w 612"/>
                <a:gd name="T19" fmla="*/ 306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2" h="612">
                  <a:moveTo>
                    <a:pt x="306" y="0"/>
                  </a:moveTo>
                  <a:cubicBezTo>
                    <a:pt x="475" y="0"/>
                    <a:pt x="612" y="137"/>
                    <a:pt x="612" y="306"/>
                  </a:cubicBezTo>
                  <a:cubicBezTo>
                    <a:pt x="612" y="475"/>
                    <a:pt x="475" y="612"/>
                    <a:pt x="306" y="612"/>
                  </a:cubicBezTo>
                  <a:cubicBezTo>
                    <a:pt x="137" y="612"/>
                    <a:pt x="0" y="475"/>
                    <a:pt x="0" y="306"/>
                  </a:cubicBezTo>
                  <a:cubicBezTo>
                    <a:pt x="0" y="137"/>
                    <a:pt x="137" y="0"/>
                    <a:pt x="306" y="0"/>
                  </a:cubicBezTo>
                  <a:close/>
                  <a:moveTo>
                    <a:pt x="532" y="306"/>
                  </a:moveTo>
                  <a:cubicBezTo>
                    <a:pt x="532" y="182"/>
                    <a:pt x="430" y="80"/>
                    <a:pt x="306" y="80"/>
                  </a:cubicBezTo>
                  <a:cubicBezTo>
                    <a:pt x="181" y="80"/>
                    <a:pt x="80" y="182"/>
                    <a:pt x="80" y="306"/>
                  </a:cubicBezTo>
                  <a:cubicBezTo>
                    <a:pt x="80" y="430"/>
                    <a:pt x="181" y="532"/>
                    <a:pt x="306" y="532"/>
                  </a:cubicBezTo>
                  <a:cubicBezTo>
                    <a:pt x="430" y="532"/>
                    <a:pt x="532" y="430"/>
                    <a:pt x="532" y="30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20" name="Freeform 11">
              <a:extLst>
                <a:ext uri="{FF2B5EF4-FFF2-40B4-BE49-F238E27FC236}">
                  <a16:creationId xmlns:a16="http://schemas.microsoft.com/office/drawing/2014/main" id="{7B4F3F95-59C2-4F02-8F21-27D7F59ACE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2712" y="2860674"/>
              <a:ext cx="555625" cy="106362"/>
            </a:xfrm>
            <a:custGeom>
              <a:avLst/>
              <a:gdLst>
                <a:gd name="T0" fmla="*/ 384 w 424"/>
                <a:gd name="T1" fmla="*/ 0 h 81"/>
                <a:gd name="T2" fmla="*/ 424 w 424"/>
                <a:gd name="T3" fmla="*/ 41 h 81"/>
                <a:gd name="T4" fmla="*/ 384 w 424"/>
                <a:gd name="T5" fmla="*/ 81 h 81"/>
                <a:gd name="T6" fmla="*/ 40 w 424"/>
                <a:gd name="T7" fmla="*/ 81 h 81"/>
                <a:gd name="T8" fmla="*/ 0 w 424"/>
                <a:gd name="T9" fmla="*/ 41 h 81"/>
                <a:gd name="T10" fmla="*/ 40 w 424"/>
                <a:gd name="T11" fmla="*/ 0 h 81"/>
                <a:gd name="T12" fmla="*/ 384 w 424"/>
                <a:gd name="T1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4" h="81">
                  <a:moveTo>
                    <a:pt x="384" y="0"/>
                  </a:moveTo>
                  <a:cubicBezTo>
                    <a:pt x="406" y="0"/>
                    <a:pt x="424" y="18"/>
                    <a:pt x="424" y="41"/>
                  </a:cubicBezTo>
                  <a:cubicBezTo>
                    <a:pt x="424" y="63"/>
                    <a:pt x="406" y="81"/>
                    <a:pt x="384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18" y="81"/>
                    <a:pt x="0" y="63"/>
                    <a:pt x="0" y="41"/>
                  </a:cubicBezTo>
                  <a:cubicBezTo>
                    <a:pt x="0" y="18"/>
                    <a:pt x="18" y="0"/>
                    <a:pt x="40" y="0"/>
                  </a:cubicBezTo>
                  <a:lnTo>
                    <a:pt x="38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49913026-A93A-467A-BA3A-B78C5CD52E5A}"/>
              </a:ext>
            </a:extLst>
          </p:cNvPr>
          <p:cNvGrpSpPr/>
          <p:nvPr/>
        </p:nvGrpSpPr>
        <p:grpSpPr>
          <a:xfrm rot="19942417">
            <a:off x="4025619" y="4614685"/>
            <a:ext cx="420901" cy="506212"/>
            <a:chOff x="-407988" y="1982788"/>
            <a:chExt cx="2595563" cy="3121659"/>
          </a:xfrm>
          <a:solidFill>
            <a:schemeClr val="bg1">
              <a:lumMod val="65000"/>
            </a:schemeClr>
          </a:solidFill>
        </p:grpSpPr>
        <p:sp>
          <p:nvSpPr>
            <p:cNvPr id="193" name="Freeform 32">
              <a:extLst>
                <a:ext uri="{FF2B5EF4-FFF2-40B4-BE49-F238E27FC236}">
                  <a16:creationId xmlns:a16="http://schemas.microsoft.com/office/drawing/2014/main" id="{889DF114-0F89-4F3A-BD31-14EBADD2CD7B}"/>
                </a:ext>
              </a:extLst>
            </p:cNvPr>
            <p:cNvSpPr>
              <a:spLocks/>
            </p:cNvSpPr>
            <p:nvPr/>
          </p:nvSpPr>
          <p:spPr bwMode="auto">
            <a:xfrm rot="1734044">
              <a:off x="129031" y="2429437"/>
              <a:ext cx="1525594" cy="1939928"/>
            </a:xfrm>
            <a:custGeom>
              <a:avLst/>
              <a:gdLst>
                <a:gd name="T0" fmla="*/ 554 w 708"/>
                <a:gd name="T1" fmla="*/ 701 h 903"/>
                <a:gd name="T2" fmla="*/ 702 w 708"/>
                <a:gd name="T3" fmla="*/ 349 h 903"/>
                <a:gd name="T4" fmla="*/ 362 w 708"/>
                <a:gd name="T5" fmla="*/ 7 h 903"/>
                <a:gd name="T6" fmla="*/ 4 w 708"/>
                <a:gd name="T7" fmla="*/ 357 h 903"/>
                <a:gd name="T8" fmla="*/ 68 w 708"/>
                <a:gd name="T9" fmla="*/ 555 h 903"/>
                <a:gd name="T10" fmla="*/ 205 w 708"/>
                <a:gd name="T11" fmla="*/ 903 h 903"/>
                <a:gd name="T12" fmla="*/ 503 w 708"/>
                <a:gd name="T13" fmla="*/ 903 h 903"/>
                <a:gd name="T14" fmla="*/ 554 w 708"/>
                <a:gd name="T15" fmla="*/ 701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8" h="903">
                  <a:moveTo>
                    <a:pt x="554" y="701"/>
                  </a:moveTo>
                  <a:cubicBezTo>
                    <a:pt x="614" y="577"/>
                    <a:pt x="708" y="503"/>
                    <a:pt x="702" y="349"/>
                  </a:cubicBezTo>
                  <a:cubicBezTo>
                    <a:pt x="696" y="195"/>
                    <a:pt x="589" y="17"/>
                    <a:pt x="362" y="7"/>
                  </a:cubicBezTo>
                  <a:cubicBezTo>
                    <a:pt x="362" y="7"/>
                    <a:pt x="40" y="0"/>
                    <a:pt x="4" y="357"/>
                  </a:cubicBezTo>
                  <a:cubicBezTo>
                    <a:pt x="4" y="357"/>
                    <a:pt x="0" y="474"/>
                    <a:pt x="68" y="555"/>
                  </a:cubicBezTo>
                  <a:cubicBezTo>
                    <a:pt x="127" y="627"/>
                    <a:pt x="195" y="753"/>
                    <a:pt x="205" y="903"/>
                  </a:cubicBezTo>
                  <a:cubicBezTo>
                    <a:pt x="503" y="903"/>
                    <a:pt x="503" y="903"/>
                    <a:pt x="503" y="903"/>
                  </a:cubicBezTo>
                  <a:cubicBezTo>
                    <a:pt x="507" y="850"/>
                    <a:pt x="520" y="772"/>
                    <a:pt x="554" y="70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/>
            </a:p>
          </p:txBody>
        </p:sp>
        <p:sp>
          <p:nvSpPr>
            <p:cNvPr id="195" name="Freeform 34">
              <a:extLst>
                <a:ext uri="{FF2B5EF4-FFF2-40B4-BE49-F238E27FC236}">
                  <a16:creationId xmlns:a16="http://schemas.microsoft.com/office/drawing/2014/main" id="{A9386663-B5D4-4C8C-994B-9975CA4F5D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875" y="3224213"/>
              <a:ext cx="393700" cy="103187"/>
            </a:xfrm>
            <a:custGeom>
              <a:avLst/>
              <a:gdLst>
                <a:gd name="T0" fmla="*/ 159 w 183"/>
                <a:gd name="T1" fmla="*/ 0 h 48"/>
                <a:gd name="T2" fmla="*/ 183 w 183"/>
                <a:gd name="T3" fmla="*/ 24 h 48"/>
                <a:gd name="T4" fmla="*/ 159 w 183"/>
                <a:gd name="T5" fmla="*/ 48 h 48"/>
                <a:gd name="T6" fmla="*/ 24 w 183"/>
                <a:gd name="T7" fmla="*/ 48 h 48"/>
                <a:gd name="T8" fmla="*/ 0 w 183"/>
                <a:gd name="T9" fmla="*/ 24 h 48"/>
                <a:gd name="T10" fmla="*/ 24 w 183"/>
                <a:gd name="T11" fmla="*/ 0 h 48"/>
                <a:gd name="T12" fmla="*/ 159 w 183"/>
                <a:gd name="T13" fmla="*/ 0 h 48"/>
                <a:gd name="T14" fmla="*/ 159 w 183"/>
                <a:gd name="T15" fmla="*/ 0 h 48"/>
                <a:gd name="T16" fmla="*/ 159 w 183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48">
                  <a:moveTo>
                    <a:pt x="159" y="0"/>
                  </a:moveTo>
                  <a:cubicBezTo>
                    <a:pt x="172" y="0"/>
                    <a:pt x="183" y="11"/>
                    <a:pt x="183" y="24"/>
                  </a:cubicBezTo>
                  <a:cubicBezTo>
                    <a:pt x="183" y="38"/>
                    <a:pt x="172" y="48"/>
                    <a:pt x="159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lnTo>
                    <a:pt x="159" y="0"/>
                  </a:lnTo>
                  <a:close/>
                  <a:moveTo>
                    <a:pt x="159" y="0"/>
                  </a:moveTo>
                  <a:cubicBezTo>
                    <a:pt x="159" y="0"/>
                    <a:pt x="159" y="0"/>
                    <a:pt x="15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6" name="Freeform 35">
              <a:extLst>
                <a:ext uri="{FF2B5EF4-FFF2-40B4-BE49-F238E27FC236}">
                  <a16:creationId xmlns:a16="http://schemas.microsoft.com/office/drawing/2014/main" id="{1D9BA9A5-70A2-4958-995C-A977185FE5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2597150"/>
              <a:ext cx="371475" cy="254000"/>
            </a:xfrm>
            <a:custGeom>
              <a:avLst/>
              <a:gdLst>
                <a:gd name="T0" fmla="*/ 165 w 172"/>
                <a:gd name="T1" fmla="*/ 15 h 118"/>
                <a:gd name="T2" fmla="*/ 156 w 172"/>
                <a:gd name="T3" fmla="*/ 48 h 118"/>
                <a:gd name="T4" fmla="*/ 40 w 172"/>
                <a:gd name="T5" fmla="*/ 115 h 118"/>
                <a:gd name="T6" fmla="*/ 28 w 172"/>
                <a:gd name="T7" fmla="*/ 118 h 118"/>
                <a:gd name="T8" fmla="*/ 7 w 172"/>
                <a:gd name="T9" fmla="*/ 106 h 118"/>
                <a:gd name="T10" fmla="*/ 16 w 172"/>
                <a:gd name="T11" fmla="*/ 74 h 118"/>
                <a:gd name="T12" fmla="*/ 132 w 172"/>
                <a:gd name="T13" fmla="*/ 6 h 118"/>
                <a:gd name="T14" fmla="*/ 165 w 172"/>
                <a:gd name="T15" fmla="*/ 15 h 118"/>
                <a:gd name="T16" fmla="*/ 165 w 172"/>
                <a:gd name="T17" fmla="*/ 15 h 118"/>
                <a:gd name="T18" fmla="*/ 165 w 172"/>
                <a:gd name="T19" fmla="*/ 1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118">
                  <a:moveTo>
                    <a:pt x="165" y="15"/>
                  </a:moveTo>
                  <a:cubicBezTo>
                    <a:pt x="172" y="27"/>
                    <a:pt x="168" y="41"/>
                    <a:pt x="156" y="48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6" y="117"/>
                    <a:pt x="32" y="118"/>
                    <a:pt x="28" y="118"/>
                  </a:cubicBezTo>
                  <a:cubicBezTo>
                    <a:pt x="20" y="118"/>
                    <a:pt x="12" y="114"/>
                    <a:pt x="7" y="106"/>
                  </a:cubicBezTo>
                  <a:cubicBezTo>
                    <a:pt x="0" y="95"/>
                    <a:pt x="4" y="80"/>
                    <a:pt x="16" y="74"/>
                  </a:cubicBezTo>
                  <a:cubicBezTo>
                    <a:pt x="132" y="6"/>
                    <a:pt x="132" y="6"/>
                    <a:pt x="132" y="6"/>
                  </a:cubicBezTo>
                  <a:cubicBezTo>
                    <a:pt x="144" y="0"/>
                    <a:pt x="158" y="4"/>
                    <a:pt x="165" y="15"/>
                  </a:cubicBezTo>
                  <a:close/>
                  <a:moveTo>
                    <a:pt x="165" y="15"/>
                  </a:moveTo>
                  <a:cubicBezTo>
                    <a:pt x="165" y="15"/>
                    <a:pt x="165" y="15"/>
                    <a:pt x="165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7" name="Freeform 36">
              <a:extLst>
                <a:ext uri="{FF2B5EF4-FFF2-40B4-BE49-F238E27FC236}">
                  <a16:creationId xmlns:a16="http://schemas.microsoft.com/office/drawing/2014/main" id="{C4ED65D2-37BF-4D02-8A69-D3CDCCEDF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3695700"/>
              <a:ext cx="371475" cy="255587"/>
            </a:xfrm>
            <a:custGeom>
              <a:avLst/>
              <a:gdLst>
                <a:gd name="T0" fmla="*/ 156 w 172"/>
                <a:gd name="T1" fmla="*/ 74 h 119"/>
                <a:gd name="T2" fmla="*/ 165 w 172"/>
                <a:gd name="T3" fmla="*/ 107 h 119"/>
                <a:gd name="T4" fmla="*/ 144 w 172"/>
                <a:gd name="T5" fmla="*/ 119 h 119"/>
                <a:gd name="T6" fmla="*/ 132 w 172"/>
                <a:gd name="T7" fmla="*/ 115 h 119"/>
                <a:gd name="T8" fmla="*/ 16 w 172"/>
                <a:gd name="T9" fmla="*/ 48 h 119"/>
                <a:gd name="T10" fmla="*/ 7 w 172"/>
                <a:gd name="T11" fmla="*/ 15 h 119"/>
                <a:gd name="T12" fmla="*/ 40 w 172"/>
                <a:gd name="T13" fmla="*/ 7 h 119"/>
                <a:gd name="T14" fmla="*/ 156 w 172"/>
                <a:gd name="T15" fmla="*/ 74 h 119"/>
                <a:gd name="T16" fmla="*/ 156 w 172"/>
                <a:gd name="T17" fmla="*/ 74 h 119"/>
                <a:gd name="T18" fmla="*/ 156 w 172"/>
                <a:gd name="T19" fmla="*/ 7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119">
                  <a:moveTo>
                    <a:pt x="156" y="74"/>
                  </a:moveTo>
                  <a:cubicBezTo>
                    <a:pt x="168" y="80"/>
                    <a:pt x="172" y="95"/>
                    <a:pt x="165" y="107"/>
                  </a:cubicBezTo>
                  <a:cubicBezTo>
                    <a:pt x="161" y="114"/>
                    <a:pt x="153" y="119"/>
                    <a:pt x="144" y="119"/>
                  </a:cubicBezTo>
                  <a:cubicBezTo>
                    <a:pt x="140" y="119"/>
                    <a:pt x="136" y="118"/>
                    <a:pt x="132" y="115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4" y="42"/>
                    <a:pt x="0" y="27"/>
                    <a:pt x="7" y="15"/>
                  </a:cubicBezTo>
                  <a:cubicBezTo>
                    <a:pt x="14" y="4"/>
                    <a:pt x="28" y="0"/>
                    <a:pt x="40" y="7"/>
                  </a:cubicBezTo>
                  <a:lnTo>
                    <a:pt x="156" y="74"/>
                  </a:lnTo>
                  <a:close/>
                  <a:moveTo>
                    <a:pt x="156" y="74"/>
                  </a:moveTo>
                  <a:cubicBezTo>
                    <a:pt x="156" y="74"/>
                    <a:pt x="156" y="74"/>
                    <a:pt x="156" y="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8" name="Freeform 37">
              <a:extLst>
                <a:ext uri="{FF2B5EF4-FFF2-40B4-BE49-F238E27FC236}">
                  <a16:creationId xmlns:a16="http://schemas.microsoft.com/office/drawing/2014/main" id="{2FE3B227-92BF-401E-9D11-2DA5453D155A}"/>
                </a:ext>
              </a:extLst>
            </p:cNvPr>
            <p:cNvSpPr>
              <a:spLocks noEditPoints="1"/>
            </p:cNvSpPr>
            <p:nvPr/>
          </p:nvSpPr>
          <p:spPr bwMode="auto">
            <a:xfrm rot="1736145">
              <a:off x="-84083" y="2446968"/>
              <a:ext cx="1616072" cy="2657479"/>
            </a:xfrm>
            <a:custGeom>
              <a:avLst/>
              <a:gdLst>
                <a:gd name="T0" fmla="*/ 750 w 750"/>
                <a:gd name="T1" fmla="*/ 376 h 1237"/>
                <a:gd name="T2" fmla="*/ 674 w 750"/>
                <a:gd name="T3" fmla="*/ 602 h 1237"/>
                <a:gd name="T4" fmla="*/ 546 w 750"/>
                <a:gd name="T5" fmla="*/ 976 h 1237"/>
                <a:gd name="T6" fmla="*/ 546 w 750"/>
                <a:gd name="T7" fmla="*/ 1120 h 1237"/>
                <a:gd name="T8" fmla="*/ 430 w 750"/>
                <a:gd name="T9" fmla="*/ 1237 h 1237"/>
                <a:gd name="T10" fmla="*/ 321 w 750"/>
                <a:gd name="T11" fmla="*/ 1237 h 1237"/>
                <a:gd name="T12" fmla="*/ 205 w 750"/>
                <a:gd name="T13" fmla="*/ 1120 h 1237"/>
                <a:gd name="T14" fmla="*/ 205 w 750"/>
                <a:gd name="T15" fmla="*/ 976 h 1237"/>
                <a:gd name="T16" fmla="*/ 77 w 750"/>
                <a:gd name="T17" fmla="*/ 603 h 1237"/>
                <a:gd name="T18" fmla="*/ 1 w 750"/>
                <a:gd name="T19" fmla="*/ 373 h 1237"/>
                <a:gd name="T20" fmla="*/ 110 w 750"/>
                <a:gd name="T21" fmla="*/ 112 h 1237"/>
                <a:gd name="T22" fmla="*/ 370 w 750"/>
                <a:gd name="T23" fmla="*/ 2 h 1237"/>
                <a:gd name="T24" fmla="*/ 638 w 750"/>
                <a:gd name="T25" fmla="*/ 110 h 1237"/>
                <a:gd name="T26" fmla="*/ 750 w 750"/>
                <a:gd name="T27" fmla="*/ 376 h 1237"/>
                <a:gd name="T28" fmla="*/ 636 w 750"/>
                <a:gd name="T29" fmla="*/ 573 h 1237"/>
                <a:gd name="T30" fmla="*/ 702 w 750"/>
                <a:gd name="T31" fmla="*/ 376 h 1237"/>
                <a:gd name="T32" fmla="*/ 604 w 750"/>
                <a:gd name="T33" fmla="*/ 144 h 1237"/>
                <a:gd name="T34" fmla="*/ 371 w 750"/>
                <a:gd name="T35" fmla="*/ 50 h 1237"/>
                <a:gd name="T36" fmla="*/ 49 w 750"/>
                <a:gd name="T37" fmla="*/ 373 h 1237"/>
                <a:gd name="T38" fmla="*/ 116 w 750"/>
                <a:gd name="T39" fmla="*/ 574 h 1237"/>
                <a:gd name="T40" fmla="*/ 253 w 750"/>
                <a:gd name="T41" fmla="*/ 967 h 1237"/>
                <a:gd name="T42" fmla="*/ 498 w 750"/>
                <a:gd name="T43" fmla="*/ 967 h 1237"/>
                <a:gd name="T44" fmla="*/ 636 w 750"/>
                <a:gd name="T45" fmla="*/ 573 h 1237"/>
                <a:gd name="T46" fmla="*/ 498 w 750"/>
                <a:gd name="T47" fmla="*/ 1120 h 1237"/>
                <a:gd name="T48" fmla="*/ 498 w 750"/>
                <a:gd name="T49" fmla="*/ 1113 h 1237"/>
                <a:gd name="T50" fmla="*/ 253 w 750"/>
                <a:gd name="T51" fmla="*/ 1085 h 1237"/>
                <a:gd name="T52" fmla="*/ 253 w 750"/>
                <a:gd name="T53" fmla="*/ 1104 h 1237"/>
                <a:gd name="T54" fmla="*/ 497 w 750"/>
                <a:gd name="T55" fmla="*/ 1132 h 1237"/>
                <a:gd name="T56" fmla="*/ 498 w 750"/>
                <a:gd name="T57" fmla="*/ 1120 h 1237"/>
                <a:gd name="T58" fmla="*/ 498 w 750"/>
                <a:gd name="T59" fmla="*/ 1064 h 1237"/>
                <a:gd name="T60" fmla="*/ 498 w 750"/>
                <a:gd name="T61" fmla="*/ 1015 h 1237"/>
                <a:gd name="T62" fmla="*/ 253 w 750"/>
                <a:gd name="T63" fmla="*/ 1015 h 1237"/>
                <a:gd name="T64" fmla="*/ 253 w 750"/>
                <a:gd name="T65" fmla="*/ 1036 h 1237"/>
                <a:gd name="T66" fmla="*/ 498 w 750"/>
                <a:gd name="T67" fmla="*/ 1064 h 1237"/>
                <a:gd name="T68" fmla="*/ 468 w 750"/>
                <a:gd name="T69" fmla="*/ 1177 h 1237"/>
                <a:gd name="T70" fmla="*/ 261 w 750"/>
                <a:gd name="T71" fmla="*/ 1153 h 1237"/>
                <a:gd name="T72" fmla="*/ 321 w 750"/>
                <a:gd name="T73" fmla="*/ 1189 h 1237"/>
                <a:gd name="T74" fmla="*/ 430 w 750"/>
                <a:gd name="T75" fmla="*/ 1189 h 1237"/>
                <a:gd name="T76" fmla="*/ 468 w 750"/>
                <a:gd name="T77" fmla="*/ 1177 h 1237"/>
                <a:gd name="T78" fmla="*/ 468 w 750"/>
                <a:gd name="T79" fmla="*/ 1177 h 1237"/>
                <a:gd name="T80" fmla="*/ 468 w 750"/>
                <a:gd name="T81" fmla="*/ 1177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50" h="1237">
                  <a:moveTo>
                    <a:pt x="750" y="376"/>
                  </a:moveTo>
                  <a:cubicBezTo>
                    <a:pt x="750" y="459"/>
                    <a:pt x="724" y="537"/>
                    <a:pt x="674" y="602"/>
                  </a:cubicBezTo>
                  <a:cubicBezTo>
                    <a:pt x="590" y="713"/>
                    <a:pt x="546" y="842"/>
                    <a:pt x="546" y="976"/>
                  </a:cubicBezTo>
                  <a:cubicBezTo>
                    <a:pt x="546" y="1120"/>
                    <a:pt x="546" y="1120"/>
                    <a:pt x="546" y="1120"/>
                  </a:cubicBezTo>
                  <a:cubicBezTo>
                    <a:pt x="546" y="1185"/>
                    <a:pt x="494" y="1237"/>
                    <a:pt x="430" y="1237"/>
                  </a:cubicBezTo>
                  <a:cubicBezTo>
                    <a:pt x="321" y="1237"/>
                    <a:pt x="321" y="1237"/>
                    <a:pt x="321" y="1237"/>
                  </a:cubicBezTo>
                  <a:cubicBezTo>
                    <a:pt x="257" y="1237"/>
                    <a:pt x="205" y="1185"/>
                    <a:pt x="205" y="1120"/>
                  </a:cubicBezTo>
                  <a:cubicBezTo>
                    <a:pt x="205" y="976"/>
                    <a:pt x="205" y="976"/>
                    <a:pt x="205" y="976"/>
                  </a:cubicBezTo>
                  <a:cubicBezTo>
                    <a:pt x="205" y="843"/>
                    <a:pt x="160" y="711"/>
                    <a:pt x="77" y="603"/>
                  </a:cubicBezTo>
                  <a:cubicBezTo>
                    <a:pt x="27" y="536"/>
                    <a:pt x="0" y="457"/>
                    <a:pt x="1" y="373"/>
                  </a:cubicBezTo>
                  <a:cubicBezTo>
                    <a:pt x="2" y="275"/>
                    <a:pt x="41" y="182"/>
                    <a:pt x="110" y="112"/>
                  </a:cubicBezTo>
                  <a:cubicBezTo>
                    <a:pt x="180" y="43"/>
                    <a:pt x="272" y="3"/>
                    <a:pt x="370" y="2"/>
                  </a:cubicBezTo>
                  <a:cubicBezTo>
                    <a:pt x="471" y="0"/>
                    <a:pt x="566" y="39"/>
                    <a:pt x="638" y="110"/>
                  </a:cubicBezTo>
                  <a:cubicBezTo>
                    <a:pt x="710" y="180"/>
                    <a:pt x="750" y="275"/>
                    <a:pt x="750" y="376"/>
                  </a:cubicBezTo>
                  <a:close/>
                  <a:moveTo>
                    <a:pt x="636" y="573"/>
                  </a:moveTo>
                  <a:cubicBezTo>
                    <a:pt x="679" y="516"/>
                    <a:pt x="702" y="448"/>
                    <a:pt x="702" y="376"/>
                  </a:cubicBezTo>
                  <a:cubicBezTo>
                    <a:pt x="702" y="288"/>
                    <a:pt x="667" y="206"/>
                    <a:pt x="604" y="144"/>
                  </a:cubicBezTo>
                  <a:cubicBezTo>
                    <a:pt x="542" y="82"/>
                    <a:pt x="459" y="49"/>
                    <a:pt x="371" y="50"/>
                  </a:cubicBezTo>
                  <a:cubicBezTo>
                    <a:pt x="195" y="52"/>
                    <a:pt x="51" y="197"/>
                    <a:pt x="49" y="373"/>
                  </a:cubicBezTo>
                  <a:cubicBezTo>
                    <a:pt x="48" y="446"/>
                    <a:pt x="71" y="516"/>
                    <a:pt x="116" y="574"/>
                  </a:cubicBezTo>
                  <a:cubicBezTo>
                    <a:pt x="202" y="688"/>
                    <a:pt x="251" y="827"/>
                    <a:pt x="253" y="967"/>
                  </a:cubicBezTo>
                  <a:cubicBezTo>
                    <a:pt x="498" y="967"/>
                    <a:pt x="498" y="967"/>
                    <a:pt x="498" y="967"/>
                  </a:cubicBezTo>
                  <a:cubicBezTo>
                    <a:pt x="500" y="825"/>
                    <a:pt x="547" y="690"/>
                    <a:pt x="636" y="573"/>
                  </a:cubicBezTo>
                  <a:close/>
                  <a:moveTo>
                    <a:pt x="498" y="1120"/>
                  </a:moveTo>
                  <a:cubicBezTo>
                    <a:pt x="498" y="1113"/>
                    <a:pt x="498" y="1113"/>
                    <a:pt x="498" y="1113"/>
                  </a:cubicBezTo>
                  <a:cubicBezTo>
                    <a:pt x="253" y="1085"/>
                    <a:pt x="253" y="1085"/>
                    <a:pt x="253" y="1085"/>
                  </a:cubicBezTo>
                  <a:cubicBezTo>
                    <a:pt x="253" y="1104"/>
                    <a:pt x="253" y="1104"/>
                    <a:pt x="253" y="1104"/>
                  </a:cubicBezTo>
                  <a:cubicBezTo>
                    <a:pt x="497" y="1132"/>
                    <a:pt x="497" y="1132"/>
                    <a:pt x="497" y="1132"/>
                  </a:cubicBezTo>
                  <a:cubicBezTo>
                    <a:pt x="498" y="1128"/>
                    <a:pt x="498" y="1124"/>
                    <a:pt x="498" y="1120"/>
                  </a:cubicBezTo>
                  <a:close/>
                  <a:moveTo>
                    <a:pt x="498" y="1064"/>
                  </a:moveTo>
                  <a:cubicBezTo>
                    <a:pt x="498" y="1015"/>
                    <a:pt x="498" y="1015"/>
                    <a:pt x="498" y="1015"/>
                  </a:cubicBezTo>
                  <a:cubicBezTo>
                    <a:pt x="253" y="1015"/>
                    <a:pt x="253" y="1015"/>
                    <a:pt x="253" y="1015"/>
                  </a:cubicBezTo>
                  <a:cubicBezTo>
                    <a:pt x="253" y="1036"/>
                    <a:pt x="253" y="1036"/>
                    <a:pt x="253" y="1036"/>
                  </a:cubicBezTo>
                  <a:lnTo>
                    <a:pt x="498" y="1064"/>
                  </a:lnTo>
                  <a:close/>
                  <a:moveTo>
                    <a:pt x="468" y="1177"/>
                  </a:moveTo>
                  <a:cubicBezTo>
                    <a:pt x="261" y="1153"/>
                    <a:pt x="261" y="1153"/>
                    <a:pt x="261" y="1153"/>
                  </a:cubicBezTo>
                  <a:cubicBezTo>
                    <a:pt x="273" y="1174"/>
                    <a:pt x="296" y="1189"/>
                    <a:pt x="321" y="1189"/>
                  </a:cubicBezTo>
                  <a:cubicBezTo>
                    <a:pt x="430" y="1189"/>
                    <a:pt x="430" y="1189"/>
                    <a:pt x="430" y="1189"/>
                  </a:cubicBezTo>
                  <a:cubicBezTo>
                    <a:pt x="444" y="1189"/>
                    <a:pt x="457" y="1184"/>
                    <a:pt x="468" y="1177"/>
                  </a:cubicBezTo>
                  <a:close/>
                  <a:moveTo>
                    <a:pt x="468" y="1177"/>
                  </a:moveTo>
                  <a:cubicBezTo>
                    <a:pt x="468" y="1177"/>
                    <a:pt x="468" y="1177"/>
                    <a:pt x="468" y="11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9" name="Freeform 38">
              <a:extLst>
                <a:ext uri="{FF2B5EF4-FFF2-40B4-BE49-F238E27FC236}">
                  <a16:creationId xmlns:a16="http://schemas.microsoft.com/office/drawing/2014/main" id="{9194B382-0E1E-405E-87B3-86A0FB8E5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9688" y="2141538"/>
              <a:ext cx="261938" cy="360362"/>
            </a:xfrm>
            <a:custGeom>
              <a:avLst/>
              <a:gdLst>
                <a:gd name="T0" fmla="*/ 107 w 122"/>
                <a:gd name="T1" fmla="*/ 7 h 168"/>
                <a:gd name="T2" fmla="*/ 115 w 122"/>
                <a:gd name="T3" fmla="*/ 39 h 168"/>
                <a:gd name="T4" fmla="*/ 48 w 122"/>
                <a:gd name="T5" fmla="*/ 156 h 168"/>
                <a:gd name="T6" fmla="*/ 27 w 122"/>
                <a:gd name="T7" fmla="*/ 168 h 168"/>
                <a:gd name="T8" fmla="*/ 15 w 122"/>
                <a:gd name="T9" fmla="*/ 165 h 168"/>
                <a:gd name="T10" fmla="*/ 7 w 122"/>
                <a:gd name="T11" fmla="*/ 132 h 168"/>
                <a:gd name="T12" fmla="*/ 74 w 122"/>
                <a:gd name="T13" fmla="*/ 15 h 168"/>
                <a:gd name="T14" fmla="*/ 107 w 122"/>
                <a:gd name="T15" fmla="*/ 7 h 168"/>
                <a:gd name="T16" fmla="*/ 107 w 122"/>
                <a:gd name="T17" fmla="*/ 7 h 168"/>
                <a:gd name="T18" fmla="*/ 107 w 122"/>
                <a:gd name="T19" fmla="*/ 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68">
                  <a:moveTo>
                    <a:pt x="107" y="7"/>
                  </a:moveTo>
                  <a:cubicBezTo>
                    <a:pt x="118" y="13"/>
                    <a:pt x="122" y="28"/>
                    <a:pt x="115" y="39"/>
                  </a:cubicBezTo>
                  <a:cubicBezTo>
                    <a:pt x="48" y="156"/>
                    <a:pt x="48" y="156"/>
                    <a:pt x="48" y="156"/>
                  </a:cubicBezTo>
                  <a:cubicBezTo>
                    <a:pt x="44" y="164"/>
                    <a:pt x="36" y="168"/>
                    <a:pt x="27" y="168"/>
                  </a:cubicBezTo>
                  <a:cubicBezTo>
                    <a:pt x="23" y="168"/>
                    <a:pt x="19" y="167"/>
                    <a:pt x="15" y="165"/>
                  </a:cubicBezTo>
                  <a:cubicBezTo>
                    <a:pt x="4" y="158"/>
                    <a:pt x="0" y="143"/>
                    <a:pt x="7" y="132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80" y="4"/>
                    <a:pt x="95" y="0"/>
                    <a:pt x="107" y="7"/>
                  </a:cubicBezTo>
                  <a:close/>
                  <a:moveTo>
                    <a:pt x="107" y="7"/>
                  </a:moveTo>
                  <a:cubicBezTo>
                    <a:pt x="107" y="7"/>
                    <a:pt x="107" y="7"/>
                    <a:pt x="107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0" name="Freeform 39">
              <a:extLst>
                <a:ext uri="{FF2B5EF4-FFF2-40B4-BE49-F238E27FC236}">
                  <a16:creationId xmlns:a16="http://schemas.microsoft.com/office/drawing/2014/main" id="{DC6437C4-DD72-4A31-AC57-50A61B19F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6613" y="1982788"/>
              <a:ext cx="103188" cy="390525"/>
            </a:xfrm>
            <a:custGeom>
              <a:avLst/>
              <a:gdLst>
                <a:gd name="T0" fmla="*/ 48 w 48"/>
                <a:gd name="T1" fmla="*/ 24 h 182"/>
                <a:gd name="T2" fmla="*/ 48 w 48"/>
                <a:gd name="T3" fmla="*/ 158 h 182"/>
                <a:gd name="T4" fmla="*/ 24 w 48"/>
                <a:gd name="T5" fmla="*/ 182 h 182"/>
                <a:gd name="T6" fmla="*/ 0 w 48"/>
                <a:gd name="T7" fmla="*/ 158 h 182"/>
                <a:gd name="T8" fmla="*/ 0 w 48"/>
                <a:gd name="T9" fmla="*/ 24 h 182"/>
                <a:gd name="T10" fmla="*/ 24 w 48"/>
                <a:gd name="T11" fmla="*/ 0 h 182"/>
                <a:gd name="T12" fmla="*/ 48 w 48"/>
                <a:gd name="T13" fmla="*/ 24 h 182"/>
                <a:gd name="T14" fmla="*/ 48 w 48"/>
                <a:gd name="T15" fmla="*/ 24 h 182"/>
                <a:gd name="T16" fmla="*/ 48 w 48"/>
                <a:gd name="T17" fmla="*/ 2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82">
                  <a:moveTo>
                    <a:pt x="48" y="24"/>
                  </a:moveTo>
                  <a:cubicBezTo>
                    <a:pt x="48" y="158"/>
                    <a:pt x="48" y="158"/>
                    <a:pt x="48" y="158"/>
                  </a:cubicBezTo>
                  <a:cubicBezTo>
                    <a:pt x="48" y="172"/>
                    <a:pt x="38" y="182"/>
                    <a:pt x="24" y="182"/>
                  </a:cubicBezTo>
                  <a:cubicBezTo>
                    <a:pt x="11" y="182"/>
                    <a:pt x="0" y="172"/>
                    <a:pt x="0" y="15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1" name="Freeform 40">
              <a:extLst>
                <a:ext uri="{FF2B5EF4-FFF2-40B4-BE49-F238E27FC236}">
                  <a16:creationId xmlns:a16="http://schemas.microsoft.com/office/drawing/2014/main" id="{212ADB15-961E-4936-8988-0CBD0A8D9E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963" y="2141538"/>
              <a:ext cx="263525" cy="360362"/>
            </a:xfrm>
            <a:custGeom>
              <a:avLst/>
              <a:gdLst>
                <a:gd name="T0" fmla="*/ 115 w 122"/>
                <a:gd name="T1" fmla="*/ 132 h 168"/>
                <a:gd name="T2" fmla="*/ 106 w 122"/>
                <a:gd name="T3" fmla="*/ 165 h 168"/>
                <a:gd name="T4" fmla="*/ 94 w 122"/>
                <a:gd name="T5" fmla="*/ 168 h 168"/>
                <a:gd name="T6" fmla="*/ 74 w 122"/>
                <a:gd name="T7" fmla="*/ 156 h 168"/>
                <a:gd name="T8" fmla="*/ 6 w 122"/>
                <a:gd name="T9" fmla="*/ 39 h 168"/>
                <a:gd name="T10" fmla="*/ 15 w 122"/>
                <a:gd name="T11" fmla="*/ 7 h 168"/>
                <a:gd name="T12" fmla="*/ 48 w 122"/>
                <a:gd name="T13" fmla="*/ 15 h 168"/>
                <a:gd name="T14" fmla="*/ 115 w 122"/>
                <a:gd name="T15" fmla="*/ 132 h 168"/>
                <a:gd name="T16" fmla="*/ 115 w 122"/>
                <a:gd name="T17" fmla="*/ 132 h 168"/>
                <a:gd name="T18" fmla="*/ 115 w 122"/>
                <a:gd name="T19" fmla="*/ 13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68">
                  <a:moveTo>
                    <a:pt x="115" y="132"/>
                  </a:moveTo>
                  <a:cubicBezTo>
                    <a:pt x="122" y="143"/>
                    <a:pt x="118" y="158"/>
                    <a:pt x="106" y="165"/>
                  </a:cubicBezTo>
                  <a:cubicBezTo>
                    <a:pt x="103" y="167"/>
                    <a:pt x="98" y="168"/>
                    <a:pt x="94" y="168"/>
                  </a:cubicBezTo>
                  <a:cubicBezTo>
                    <a:pt x="86" y="168"/>
                    <a:pt x="78" y="164"/>
                    <a:pt x="74" y="156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0" y="28"/>
                    <a:pt x="4" y="13"/>
                    <a:pt x="15" y="7"/>
                  </a:cubicBezTo>
                  <a:cubicBezTo>
                    <a:pt x="27" y="0"/>
                    <a:pt x="41" y="4"/>
                    <a:pt x="48" y="15"/>
                  </a:cubicBezTo>
                  <a:lnTo>
                    <a:pt x="115" y="132"/>
                  </a:lnTo>
                  <a:close/>
                  <a:moveTo>
                    <a:pt x="115" y="132"/>
                  </a:moveTo>
                  <a:cubicBezTo>
                    <a:pt x="115" y="132"/>
                    <a:pt x="115" y="132"/>
                    <a:pt x="115" y="1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2" name="Freeform 41">
              <a:extLst>
                <a:ext uri="{FF2B5EF4-FFF2-40B4-BE49-F238E27FC236}">
                  <a16:creationId xmlns:a16="http://schemas.microsoft.com/office/drawing/2014/main" id="{CC767B2F-7129-481C-B964-195EB03A3B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49237" y="2597150"/>
              <a:ext cx="368300" cy="254000"/>
            </a:xfrm>
            <a:custGeom>
              <a:avLst/>
              <a:gdLst>
                <a:gd name="T0" fmla="*/ 156 w 171"/>
                <a:gd name="T1" fmla="*/ 74 h 118"/>
                <a:gd name="T2" fmla="*/ 165 w 171"/>
                <a:gd name="T3" fmla="*/ 106 h 118"/>
                <a:gd name="T4" fmla="*/ 144 w 171"/>
                <a:gd name="T5" fmla="*/ 118 h 118"/>
                <a:gd name="T6" fmla="*/ 132 w 171"/>
                <a:gd name="T7" fmla="*/ 115 h 118"/>
                <a:gd name="T8" fmla="*/ 15 w 171"/>
                <a:gd name="T9" fmla="*/ 48 h 118"/>
                <a:gd name="T10" fmla="*/ 7 w 171"/>
                <a:gd name="T11" fmla="*/ 15 h 118"/>
                <a:gd name="T12" fmla="*/ 39 w 171"/>
                <a:gd name="T13" fmla="*/ 6 h 118"/>
                <a:gd name="T14" fmla="*/ 156 w 171"/>
                <a:gd name="T15" fmla="*/ 74 h 118"/>
                <a:gd name="T16" fmla="*/ 156 w 171"/>
                <a:gd name="T17" fmla="*/ 74 h 118"/>
                <a:gd name="T18" fmla="*/ 156 w 171"/>
                <a:gd name="T19" fmla="*/ 7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18">
                  <a:moveTo>
                    <a:pt x="156" y="74"/>
                  </a:moveTo>
                  <a:cubicBezTo>
                    <a:pt x="167" y="80"/>
                    <a:pt x="171" y="95"/>
                    <a:pt x="165" y="106"/>
                  </a:cubicBezTo>
                  <a:cubicBezTo>
                    <a:pt x="160" y="114"/>
                    <a:pt x="152" y="118"/>
                    <a:pt x="144" y="118"/>
                  </a:cubicBezTo>
                  <a:cubicBezTo>
                    <a:pt x="140" y="118"/>
                    <a:pt x="136" y="117"/>
                    <a:pt x="132" y="115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4" y="41"/>
                    <a:pt x="0" y="27"/>
                    <a:pt x="7" y="15"/>
                  </a:cubicBezTo>
                  <a:cubicBezTo>
                    <a:pt x="13" y="4"/>
                    <a:pt x="28" y="0"/>
                    <a:pt x="39" y="6"/>
                  </a:cubicBezTo>
                  <a:lnTo>
                    <a:pt x="156" y="74"/>
                  </a:lnTo>
                  <a:close/>
                  <a:moveTo>
                    <a:pt x="156" y="74"/>
                  </a:moveTo>
                  <a:cubicBezTo>
                    <a:pt x="156" y="74"/>
                    <a:pt x="156" y="74"/>
                    <a:pt x="156" y="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3" name="Freeform 42">
              <a:extLst>
                <a:ext uri="{FF2B5EF4-FFF2-40B4-BE49-F238E27FC236}">
                  <a16:creationId xmlns:a16="http://schemas.microsoft.com/office/drawing/2014/main" id="{262AC2D1-E9B6-4B0A-8BA9-6D501FA05F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49237" y="3695700"/>
              <a:ext cx="368300" cy="255587"/>
            </a:xfrm>
            <a:custGeom>
              <a:avLst/>
              <a:gdLst>
                <a:gd name="T0" fmla="*/ 165 w 171"/>
                <a:gd name="T1" fmla="*/ 15 h 119"/>
                <a:gd name="T2" fmla="*/ 156 w 171"/>
                <a:gd name="T3" fmla="*/ 48 h 119"/>
                <a:gd name="T4" fmla="*/ 39 w 171"/>
                <a:gd name="T5" fmla="*/ 115 h 119"/>
                <a:gd name="T6" fmla="*/ 27 w 171"/>
                <a:gd name="T7" fmla="*/ 119 h 119"/>
                <a:gd name="T8" fmla="*/ 7 w 171"/>
                <a:gd name="T9" fmla="*/ 107 h 119"/>
                <a:gd name="T10" fmla="*/ 15 w 171"/>
                <a:gd name="T11" fmla="*/ 74 h 119"/>
                <a:gd name="T12" fmla="*/ 132 w 171"/>
                <a:gd name="T13" fmla="*/ 7 h 119"/>
                <a:gd name="T14" fmla="*/ 165 w 171"/>
                <a:gd name="T15" fmla="*/ 15 h 119"/>
                <a:gd name="T16" fmla="*/ 165 w 171"/>
                <a:gd name="T17" fmla="*/ 15 h 119"/>
                <a:gd name="T18" fmla="*/ 165 w 171"/>
                <a:gd name="T19" fmla="*/ 1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19">
                  <a:moveTo>
                    <a:pt x="165" y="15"/>
                  </a:moveTo>
                  <a:cubicBezTo>
                    <a:pt x="171" y="27"/>
                    <a:pt x="167" y="42"/>
                    <a:pt x="156" y="48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6" y="118"/>
                    <a:pt x="32" y="119"/>
                    <a:pt x="27" y="119"/>
                  </a:cubicBezTo>
                  <a:cubicBezTo>
                    <a:pt x="19" y="119"/>
                    <a:pt x="11" y="114"/>
                    <a:pt x="7" y="107"/>
                  </a:cubicBezTo>
                  <a:cubicBezTo>
                    <a:pt x="0" y="95"/>
                    <a:pt x="4" y="80"/>
                    <a:pt x="15" y="74"/>
                  </a:cubicBezTo>
                  <a:cubicBezTo>
                    <a:pt x="132" y="7"/>
                    <a:pt x="132" y="7"/>
                    <a:pt x="132" y="7"/>
                  </a:cubicBezTo>
                  <a:cubicBezTo>
                    <a:pt x="143" y="0"/>
                    <a:pt x="158" y="4"/>
                    <a:pt x="165" y="15"/>
                  </a:cubicBezTo>
                  <a:close/>
                  <a:moveTo>
                    <a:pt x="165" y="15"/>
                  </a:moveTo>
                  <a:cubicBezTo>
                    <a:pt x="165" y="15"/>
                    <a:pt x="165" y="15"/>
                    <a:pt x="165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4" name="Freeform 43">
              <a:extLst>
                <a:ext uri="{FF2B5EF4-FFF2-40B4-BE49-F238E27FC236}">
                  <a16:creationId xmlns:a16="http://schemas.microsoft.com/office/drawing/2014/main" id="{FCB12504-852B-4E8A-A51E-83A4EBB82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7988" y="3224213"/>
              <a:ext cx="392113" cy="103187"/>
            </a:xfrm>
            <a:custGeom>
              <a:avLst/>
              <a:gdLst>
                <a:gd name="T0" fmla="*/ 158 w 182"/>
                <a:gd name="T1" fmla="*/ 0 h 48"/>
                <a:gd name="T2" fmla="*/ 182 w 182"/>
                <a:gd name="T3" fmla="*/ 24 h 48"/>
                <a:gd name="T4" fmla="*/ 158 w 182"/>
                <a:gd name="T5" fmla="*/ 48 h 48"/>
                <a:gd name="T6" fmla="*/ 24 w 182"/>
                <a:gd name="T7" fmla="*/ 48 h 48"/>
                <a:gd name="T8" fmla="*/ 0 w 182"/>
                <a:gd name="T9" fmla="*/ 24 h 48"/>
                <a:gd name="T10" fmla="*/ 24 w 182"/>
                <a:gd name="T11" fmla="*/ 0 h 48"/>
                <a:gd name="T12" fmla="*/ 158 w 182"/>
                <a:gd name="T13" fmla="*/ 0 h 48"/>
                <a:gd name="T14" fmla="*/ 158 w 182"/>
                <a:gd name="T15" fmla="*/ 0 h 48"/>
                <a:gd name="T16" fmla="*/ 158 w 182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2" h="48">
                  <a:moveTo>
                    <a:pt x="158" y="0"/>
                  </a:moveTo>
                  <a:cubicBezTo>
                    <a:pt x="172" y="0"/>
                    <a:pt x="182" y="11"/>
                    <a:pt x="182" y="24"/>
                  </a:cubicBezTo>
                  <a:cubicBezTo>
                    <a:pt x="182" y="38"/>
                    <a:pt x="172" y="48"/>
                    <a:pt x="158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lnTo>
                    <a:pt x="158" y="0"/>
                  </a:lnTo>
                  <a:close/>
                  <a:moveTo>
                    <a:pt x="158" y="0"/>
                  </a:moveTo>
                  <a:cubicBezTo>
                    <a:pt x="158" y="0"/>
                    <a:pt x="158" y="0"/>
                    <a:pt x="15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C276894-BD45-4AEA-A96B-3F43FDBE68DE}"/>
              </a:ext>
            </a:extLst>
          </p:cNvPr>
          <p:cNvGrpSpPr/>
          <p:nvPr/>
        </p:nvGrpSpPr>
        <p:grpSpPr>
          <a:xfrm>
            <a:off x="7648263" y="4310357"/>
            <a:ext cx="871306" cy="871307"/>
            <a:chOff x="7301411" y="5852965"/>
            <a:chExt cx="871306" cy="871307"/>
          </a:xfrm>
        </p:grpSpPr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C25EFB4A-37C8-4898-A812-5908B96A905E}"/>
                </a:ext>
              </a:extLst>
            </p:cNvPr>
            <p:cNvSpPr/>
            <p:nvPr/>
          </p:nvSpPr>
          <p:spPr>
            <a:xfrm rot="10800000" flipH="1" flipV="1">
              <a:off x="7301411" y="5852965"/>
              <a:ext cx="871306" cy="8713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14300" dist="114300" dir="4800000" algn="tl" rotWithShape="0">
                <a:prstClr val="black">
                  <a:alpha val="2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 dirty="0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D7424AF-5E1D-4533-BCB7-2C104016C3A7}"/>
                </a:ext>
              </a:extLst>
            </p:cNvPr>
            <p:cNvGrpSpPr/>
            <p:nvPr/>
          </p:nvGrpSpPr>
          <p:grpSpPr>
            <a:xfrm>
              <a:off x="7591351" y="6055271"/>
              <a:ext cx="292442" cy="453182"/>
              <a:chOff x="8067067" y="4842026"/>
              <a:chExt cx="292442" cy="453182"/>
            </a:xfrm>
          </p:grpSpPr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8213F609-42A1-42B5-B8D4-552548173B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2003" y="4965423"/>
                <a:ext cx="27432" cy="225977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E6E1EA3E-52D9-4779-87DE-F8ECE501EF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36073" y="5012325"/>
                <a:ext cx="19949" cy="18646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4C9D9A4D-B120-48BE-A83D-460B43BEB4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6829" y="5069279"/>
                <a:ext cx="19949" cy="12495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E62B2FA1-AC64-47AB-A8B7-5FE157F06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17113" y="5126745"/>
                <a:ext cx="19949" cy="6289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5" name="Freeform 47">
                <a:extLst>
                  <a:ext uri="{FF2B5EF4-FFF2-40B4-BE49-F238E27FC236}">
                    <a16:creationId xmlns:a16="http://schemas.microsoft.com/office/drawing/2014/main" id="{9A003183-3324-473A-AF67-474AA452E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8465" y="4853356"/>
                <a:ext cx="275212" cy="70338"/>
              </a:xfrm>
              <a:custGeom>
                <a:avLst/>
                <a:gdLst>
                  <a:gd name="T0" fmla="*/ 0 w 858"/>
                  <a:gd name="T1" fmla="*/ 220 h 220"/>
                  <a:gd name="T2" fmla="*/ 0 w 858"/>
                  <a:gd name="T3" fmla="*/ 66 h 220"/>
                  <a:gd name="T4" fmla="*/ 104 w 858"/>
                  <a:gd name="T5" fmla="*/ 0 h 220"/>
                  <a:gd name="T6" fmla="*/ 760 w 858"/>
                  <a:gd name="T7" fmla="*/ 0 h 220"/>
                  <a:gd name="T8" fmla="*/ 858 w 858"/>
                  <a:gd name="T9" fmla="*/ 91 h 220"/>
                  <a:gd name="T10" fmla="*/ 858 w 858"/>
                  <a:gd name="T11" fmla="*/ 220 h 220"/>
                  <a:gd name="T12" fmla="*/ 0 w 858"/>
                  <a:gd name="T13" fmla="*/ 22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8" h="220">
                    <a:moveTo>
                      <a:pt x="0" y="220"/>
                    </a:moveTo>
                    <a:cubicBezTo>
                      <a:pt x="0" y="66"/>
                      <a:pt x="0" y="66"/>
                      <a:pt x="0" y="66"/>
                    </a:cubicBezTo>
                    <a:cubicBezTo>
                      <a:pt x="0" y="66"/>
                      <a:pt x="16" y="8"/>
                      <a:pt x="104" y="0"/>
                    </a:cubicBezTo>
                    <a:cubicBezTo>
                      <a:pt x="760" y="0"/>
                      <a:pt x="760" y="0"/>
                      <a:pt x="760" y="0"/>
                    </a:cubicBezTo>
                    <a:cubicBezTo>
                      <a:pt x="760" y="0"/>
                      <a:pt x="852" y="12"/>
                      <a:pt x="858" y="91"/>
                    </a:cubicBezTo>
                    <a:cubicBezTo>
                      <a:pt x="858" y="220"/>
                      <a:pt x="858" y="220"/>
                      <a:pt x="858" y="220"/>
                    </a:cubicBezTo>
                    <a:lnTo>
                      <a:pt x="0" y="22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6" name="Freeform 48">
                <a:extLst>
                  <a:ext uri="{FF2B5EF4-FFF2-40B4-BE49-F238E27FC236}">
                    <a16:creationId xmlns:a16="http://schemas.microsoft.com/office/drawing/2014/main" id="{9FD8AC41-F40A-49C9-B2E1-63A800EFE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7521" y="5224162"/>
                <a:ext cx="275212" cy="71046"/>
              </a:xfrm>
              <a:custGeom>
                <a:avLst/>
                <a:gdLst>
                  <a:gd name="T0" fmla="*/ 0 w 858"/>
                  <a:gd name="T1" fmla="*/ 0 h 222"/>
                  <a:gd name="T2" fmla="*/ 858 w 858"/>
                  <a:gd name="T3" fmla="*/ 0 h 222"/>
                  <a:gd name="T4" fmla="*/ 858 w 858"/>
                  <a:gd name="T5" fmla="*/ 152 h 222"/>
                  <a:gd name="T6" fmla="*/ 781 w 858"/>
                  <a:gd name="T7" fmla="*/ 222 h 222"/>
                  <a:gd name="T8" fmla="*/ 102 w 858"/>
                  <a:gd name="T9" fmla="*/ 222 h 222"/>
                  <a:gd name="T10" fmla="*/ 0 w 858"/>
                  <a:gd name="T11" fmla="*/ 130 h 222"/>
                  <a:gd name="T12" fmla="*/ 0 w 858"/>
                  <a:gd name="T13" fmla="*/ 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8" h="222">
                    <a:moveTo>
                      <a:pt x="0" y="0"/>
                    </a:moveTo>
                    <a:cubicBezTo>
                      <a:pt x="858" y="0"/>
                      <a:pt x="858" y="0"/>
                      <a:pt x="858" y="0"/>
                    </a:cubicBezTo>
                    <a:cubicBezTo>
                      <a:pt x="858" y="152"/>
                      <a:pt x="858" y="152"/>
                      <a:pt x="858" y="152"/>
                    </a:cubicBezTo>
                    <a:cubicBezTo>
                      <a:pt x="858" y="152"/>
                      <a:pt x="841" y="217"/>
                      <a:pt x="781" y="222"/>
                    </a:cubicBezTo>
                    <a:cubicBezTo>
                      <a:pt x="102" y="222"/>
                      <a:pt x="102" y="222"/>
                      <a:pt x="102" y="222"/>
                    </a:cubicBezTo>
                    <a:cubicBezTo>
                      <a:pt x="102" y="222"/>
                      <a:pt x="14" y="208"/>
                      <a:pt x="0" y="13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7" name="Freeform 49">
                <a:extLst>
                  <a:ext uri="{FF2B5EF4-FFF2-40B4-BE49-F238E27FC236}">
                    <a16:creationId xmlns:a16="http://schemas.microsoft.com/office/drawing/2014/main" id="{2DE34C65-677E-4292-A65F-80EE723BA1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67067" y="4842026"/>
                <a:ext cx="292442" cy="453182"/>
              </a:xfrm>
              <a:custGeom>
                <a:avLst/>
                <a:gdLst>
                  <a:gd name="T0" fmla="*/ 912 w 912"/>
                  <a:gd name="T1" fmla="*/ 120 h 1418"/>
                  <a:gd name="T2" fmla="*/ 912 w 912"/>
                  <a:gd name="T3" fmla="*/ 1298 h 1418"/>
                  <a:gd name="T4" fmla="*/ 792 w 912"/>
                  <a:gd name="T5" fmla="*/ 1418 h 1418"/>
                  <a:gd name="T6" fmla="*/ 120 w 912"/>
                  <a:gd name="T7" fmla="*/ 1418 h 1418"/>
                  <a:gd name="T8" fmla="*/ 0 w 912"/>
                  <a:gd name="T9" fmla="*/ 1298 h 1418"/>
                  <a:gd name="T10" fmla="*/ 0 w 912"/>
                  <a:gd name="T11" fmla="*/ 120 h 1418"/>
                  <a:gd name="T12" fmla="*/ 120 w 912"/>
                  <a:gd name="T13" fmla="*/ 0 h 1418"/>
                  <a:gd name="T14" fmla="*/ 792 w 912"/>
                  <a:gd name="T15" fmla="*/ 0 h 1418"/>
                  <a:gd name="T16" fmla="*/ 912 w 912"/>
                  <a:gd name="T17" fmla="*/ 120 h 1418"/>
                  <a:gd name="T18" fmla="*/ 864 w 912"/>
                  <a:gd name="T19" fmla="*/ 1298 h 1418"/>
                  <a:gd name="T20" fmla="*/ 864 w 912"/>
                  <a:gd name="T21" fmla="*/ 1200 h 1418"/>
                  <a:gd name="T22" fmla="*/ 48 w 912"/>
                  <a:gd name="T23" fmla="*/ 1200 h 1418"/>
                  <a:gd name="T24" fmla="*/ 48 w 912"/>
                  <a:gd name="T25" fmla="*/ 1298 h 1418"/>
                  <a:gd name="T26" fmla="*/ 120 w 912"/>
                  <a:gd name="T27" fmla="*/ 1370 h 1418"/>
                  <a:gd name="T28" fmla="*/ 792 w 912"/>
                  <a:gd name="T29" fmla="*/ 1370 h 1418"/>
                  <a:gd name="T30" fmla="*/ 864 w 912"/>
                  <a:gd name="T31" fmla="*/ 1298 h 1418"/>
                  <a:gd name="T32" fmla="*/ 864 w 912"/>
                  <a:gd name="T33" fmla="*/ 1152 h 1418"/>
                  <a:gd name="T34" fmla="*/ 864 w 912"/>
                  <a:gd name="T35" fmla="*/ 266 h 1418"/>
                  <a:gd name="T36" fmla="*/ 48 w 912"/>
                  <a:gd name="T37" fmla="*/ 266 h 1418"/>
                  <a:gd name="T38" fmla="*/ 48 w 912"/>
                  <a:gd name="T39" fmla="*/ 1152 h 1418"/>
                  <a:gd name="T40" fmla="*/ 864 w 912"/>
                  <a:gd name="T41" fmla="*/ 1152 h 1418"/>
                  <a:gd name="T42" fmla="*/ 864 w 912"/>
                  <a:gd name="T43" fmla="*/ 218 h 1418"/>
                  <a:gd name="T44" fmla="*/ 864 w 912"/>
                  <a:gd name="T45" fmla="*/ 120 h 1418"/>
                  <a:gd name="T46" fmla="*/ 792 w 912"/>
                  <a:gd name="T47" fmla="*/ 48 h 1418"/>
                  <a:gd name="T48" fmla="*/ 120 w 912"/>
                  <a:gd name="T49" fmla="*/ 48 h 1418"/>
                  <a:gd name="T50" fmla="*/ 48 w 912"/>
                  <a:gd name="T51" fmla="*/ 120 h 1418"/>
                  <a:gd name="T52" fmla="*/ 48 w 912"/>
                  <a:gd name="T53" fmla="*/ 218 h 1418"/>
                  <a:gd name="T54" fmla="*/ 864 w 912"/>
                  <a:gd name="T55" fmla="*/ 218 h 1418"/>
                  <a:gd name="T56" fmla="*/ 864 w 912"/>
                  <a:gd name="T57" fmla="*/ 218 h 1418"/>
                  <a:gd name="T58" fmla="*/ 864 w 912"/>
                  <a:gd name="T59" fmla="*/ 218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12" h="1418">
                    <a:moveTo>
                      <a:pt x="912" y="120"/>
                    </a:moveTo>
                    <a:cubicBezTo>
                      <a:pt x="912" y="1298"/>
                      <a:pt x="912" y="1298"/>
                      <a:pt x="912" y="1298"/>
                    </a:cubicBezTo>
                    <a:cubicBezTo>
                      <a:pt x="912" y="1364"/>
                      <a:pt x="858" y="1418"/>
                      <a:pt x="792" y="1418"/>
                    </a:cubicBezTo>
                    <a:cubicBezTo>
                      <a:pt x="120" y="1418"/>
                      <a:pt x="120" y="1418"/>
                      <a:pt x="120" y="1418"/>
                    </a:cubicBezTo>
                    <a:cubicBezTo>
                      <a:pt x="54" y="1418"/>
                      <a:pt x="0" y="1364"/>
                      <a:pt x="0" y="129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54"/>
                      <a:pt x="54" y="0"/>
                      <a:pt x="120" y="0"/>
                    </a:cubicBezTo>
                    <a:cubicBezTo>
                      <a:pt x="792" y="0"/>
                      <a:pt x="792" y="0"/>
                      <a:pt x="792" y="0"/>
                    </a:cubicBezTo>
                    <a:cubicBezTo>
                      <a:pt x="858" y="0"/>
                      <a:pt x="912" y="54"/>
                      <a:pt x="912" y="120"/>
                    </a:cubicBezTo>
                    <a:close/>
                    <a:moveTo>
                      <a:pt x="864" y="1298"/>
                    </a:moveTo>
                    <a:cubicBezTo>
                      <a:pt x="864" y="1200"/>
                      <a:pt x="864" y="1200"/>
                      <a:pt x="864" y="1200"/>
                    </a:cubicBezTo>
                    <a:cubicBezTo>
                      <a:pt x="48" y="1200"/>
                      <a:pt x="48" y="1200"/>
                      <a:pt x="48" y="1200"/>
                    </a:cubicBezTo>
                    <a:cubicBezTo>
                      <a:pt x="48" y="1298"/>
                      <a:pt x="48" y="1298"/>
                      <a:pt x="48" y="1298"/>
                    </a:cubicBezTo>
                    <a:cubicBezTo>
                      <a:pt x="48" y="1338"/>
                      <a:pt x="80" y="1370"/>
                      <a:pt x="120" y="1370"/>
                    </a:cubicBezTo>
                    <a:cubicBezTo>
                      <a:pt x="792" y="1370"/>
                      <a:pt x="792" y="1370"/>
                      <a:pt x="792" y="1370"/>
                    </a:cubicBezTo>
                    <a:cubicBezTo>
                      <a:pt x="832" y="1370"/>
                      <a:pt x="864" y="1338"/>
                      <a:pt x="864" y="1298"/>
                    </a:cubicBezTo>
                    <a:close/>
                    <a:moveTo>
                      <a:pt x="864" y="1152"/>
                    </a:moveTo>
                    <a:cubicBezTo>
                      <a:pt x="864" y="266"/>
                      <a:pt x="864" y="266"/>
                      <a:pt x="864" y="266"/>
                    </a:cubicBezTo>
                    <a:cubicBezTo>
                      <a:pt x="48" y="266"/>
                      <a:pt x="48" y="266"/>
                      <a:pt x="48" y="266"/>
                    </a:cubicBezTo>
                    <a:cubicBezTo>
                      <a:pt x="48" y="1152"/>
                      <a:pt x="48" y="1152"/>
                      <a:pt x="48" y="1152"/>
                    </a:cubicBezTo>
                    <a:lnTo>
                      <a:pt x="864" y="1152"/>
                    </a:lnTo>
                    <a:close/>
                    <a:moveTo>
                      <a:pt x="864" y="218"/>
                    </a:moveTo>
                    <a:cubicBezTo>
                      <a:pt x="864" y="120"/>
                      <a:pt x="864" y="120"/>
                      <a:pt x="864" y="120"/>
                    </a:cubicBezTo>
                    <a:cubicBezTo>
                      <a:pt x="864" y="80"/>
                      <a:pt x="832" y="48"/>
                      <a:pt x="792" y="48"/>
                    </a:cubicBezTo>
                    <a:cubicBezTo>
                      <a:pt x="120" y="48"/>
                      <a:pt x="120" y="48"/>
                      <a:pt x="120" y="48"/>
                    </a:cubicBezTo>
                    <a:cubicBezTo>
                      <a:pt x="80" y="48"/>
                      <a:pt x="48" y="80"/>
                      <a:pt x="48" y="120"/>
                    </a:cubicBezTo>
                    <a:cubicBezTo>
                      <a:pt x="48" y="218"/>
                      <a:pt x="48" y="218"/>
                      <a:pt x="48" y="218"/>
                    </a:cubicBezTo>
                    <a:lnTo>
                      <a:pt x="864" y="218"/>
                    </a:lnTo>
                    <a:close/>
                    <a:moveTo>
                      <a:pt x="864" y="218"/>
                    </a:moveTo>
                    <a:cubicBezTo>
                      <a:pt x="864" y="218"/>
                      <a:pt x="864" y="218"/>
                      <a:pt x="864" y="218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8" name="Freeform 50">
                <a:extLst>
                  <a:ext uri="{FF2B5EF4-FFF2-40B4-BE49-F238E27FC236}">
                    <a16:creationId xmlns:a16="http://schemas.microsoft.com/office/drawing/2014/main" id="{E17A5CAC-26E8-4D3A-AD69-E5E80A394F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81924" y="4958154"/>
                <a:ext cx="47678" cy="242169"/>
              </a:xfrm>
              <a:custGeom>
                <a:avLst/>
                <a:gdLst>
                  <a:gd name="T0" fmla="*/ 149 w 149"/>
                  <a:gd name="T1" fmla="*/ 24 h 758"/>
                  <a:gd name="T2" fmla="*/ 149 w 149"/>
                  <a:gd name="T3" fmla="*/ 734 h 758"/>
                  <a:gd name="T4" fmla="*/ 125 w 149"/>
                  <a:gd name="T5" fmla="*/ 758 h 758"/>
                  <a:gd name="T6" fmla="*/ 24 w 149"/>
                  <a:gd name="T7" fmla="*/ 758 h 758"/>
                  <a:gd name="T8" fmla="*/ 0 w 149"/>
                  <a:gd name="T9" fmla="*/ 734 h 758"/>
                  <a:gd name="T10" fmla="*/ 0 w 149"/>
                  <a:gd name="T11" fmla="*/ 24 h 758"/>
                  <a:gd name="T12" fmla="*/ 24 w 149"/>
                  <a:gd name="T13" fmla="*/ 0 h 758"/>
                  <a:gd name="T14" fmla="*/ 125 w 149"/>
                  <a:gd name="T15" fmla="*/ 0 h 758"/>
                  <a:gd name="T16" fmla="*/ 149 w 149"/>
                  <a:gd name="T17" fmla="*/ 24 h 758"/>
                  <a:gd name="T18" fmla="*/ 101 w 149"/>
                  <a:gd name="T19" fmla="*/ 710 h 758"/>
                  <a:gd name="T20" fmla="*/ 101 w 149"/>
                  <a:gd name="T21" fmla="*/ 48 h 758"/>
                  <a:gd name="T22" fmla="*/ 48 w 149"/>
                  <a:gd name="T23" fmla="*/ 48 h 758"/>
                  <a:gd name="T24" fmla="*/ 48 w 149"/>
                  <a:gd name="T25" fmla="*/ 710 h 758"/>
                  <a:gd name="T26" fmla="*/ 101 w 149"/>
                  <a:gd name="T27" fmla="*/ 710 h 758"/>
                  <a:gd name="T28" fmla="*/ 101 w 149"/>
                  <a:gd name="T29" fmla="*/ 710 h 758"/>
                  <a:gd name="T30" fmla="*/ 101 w 149"/>
                  <a:gd name="T31" fmla="*/ 710 h 7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758">
                    <a:moveTo>
                      <a:pt x="149" y="24"/>
                    </a:moveTo>
                    <a:cubicBezTo>
                      <a:pt x="149" y="734"/>
                      <a:pt x="149" y="734"/>
                      <a:pt x="149" y="734"/>
                    </a:cubicBezTo>
                    <a:cubicBezTo>
                      <a:pt x="149" y="747"/>
                      <a:pt x="138" y="758"/>
                      <a:pt x="125" y="758"/>
                    </a:cubicBezTo>
                    <a:cubicBezTo>
                      <a:pt x="24" y="758"/>
                      <a:pt x="24" y="758"/>
                      <a:pt x="24" y="758"/>
                    </a:cubicBezTo>
                    <a:cubicBezTo>
                      <a:pt x="11" y="758"/>
                      <a:pt x="0" y="747"/>
                      <a:pt x="0" y="73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710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710"/>
                      <a:pt x="48" y="710"/>
                      <a:pt x="48" y="710"/>
                    </a:cubicBezTo>
                    <a:lnTo>
                      <a:pt x="101" y="710"/>
                    </a:lnTo>
                    <a:close/>
                    <a:moveTo>
                      <a:pt x="101" y="710"/>
                    </a:moveTo>
                    <a:cubicBezTo>
                      <a:pt x="101" y="710"/>
                      <a:pt x="101" y="710"/>
                      <a:pt x="101" y="71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9" name="Freeform 52">
                <a:extLst>
                  <a:ext uri="{FF2B5EF4-FFF2-40B4-BE49-F238E27FC236}">
                    <a16:creationId xmlns:a16="http://schemas.microsoft.com/office/drawing/2014/main" id="{60CB00CB-EF59-4B44-B41C-F0CB054976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22208" y="5010789"/>
                <a:ext cx="47678" cy="189534"/>
              </a:xfrm>
              <a:custGeom>
                <a:avLst/>
                <a:gdLst>
                  <a:gd name="T0" fmla="*/ 149 w 149"/>
                  <a:gd name="T1" fmla="*/ 24 h 593"/>
                  <a:gd name="T2" fmla="*/ 149 w 149"/>
                  <a:gd name="T3" fmla="*/ 569 h 593"/>
                  <a:gd name="T4" fmla="*/ 125 w 149"/>
                  <a:gd name="T5" fmla="*/ 593 h 593"/>
                  <a:gd name="T6" fmla="*/ 24 w 149"/>
                  <a:gd name="T7" fmla="*/ 593 h 593"/>
                  <a:gd name="T8" fmla="*/ 0 w 149"/>
                  <a:gd name="T9" fmla="*/ 569 h 593"/>
                  <a:gd name="T10" fmla="*/ 0 w 149"/>
                  <a:gd name="T11" fmla="*/ 24 h 593"/>
                  <a:gd name="T12" fmla="*/ 24 w 149"/>
                  <a:gd name="T13" fmla="*/ 0 h 593"/>
                  <a:gd name="T14" fmla="*/ 125 w 149"/>
                  <a:gd name="T15" fmla="*/ 0 h 593"/>
                  <a:gd name="T16" fmla="*/ 149 w 149"/>
                  <a:gd name="T17" fmla="*/ 24 h 593"/>
                  <a:gd name="T18" fmla="*/ 101 w 149"/>
                  <a:gd name="T19" fmla="*/ 545 h 593"/>
                  <a:gd name="T20" fmla="*/ 101 w 149"/>
                  <a:gd name="T21" fmla="*/ 48 h 593"/>
                  <a:gd name="T22" fmla="*/ 48 w 149"/>
                  <a:gd name="T23" fmla="*/ 48 h 593"/>
                  <a:gd name="T24" fmla="*/ 48 w 149"/>
                  <a:gd name="T25" fmla="*/ 545 h 593"/>
                  <a:gd name="T26" fmla="*/ 101 w 149"/>
                  <a:gd name="T27" fmla="*/ 545 h 593"/>
                  <a:gd name="T28" fmla="*/ 101 w 149"/>
                  <a:gd name="T29" fmla="*/ 545 h 593"/>
                  <a:gd name="T30" fmla="*/ 101 w 149"/>
                  <a:gd name="T31" fmla="*/ 545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593">
                    <a:moveTo>
                      <a:pt x="149" y="24"/>
                    </a:moveTo>
                    <a:cubicBezTo>
                      <a:pt x="149" y="569"/>
                      <a:pt x="149" y="569"/>
                      <a:pt x="149" y="569"/>
                    </a:cubicBezTo>
                    <a:cubicBezTo>
                      <a:pt x="149" y="582"/>
                      <a:pt x="138" y="593"/>
                      <a:pt x="125" y="593"/>
                    </a:cubicBezTo>
                    <a:cubicBezTo>
                      <a:pt x="24" y="593"/>
                      <a:pt x="24" y="593"/>
                      <a:pt x="24" y="593"/>
                    </a:cubicBezTo>
                    <a:cubicBezTo>
                      <a:pt x="11" y="593"/>
                      <a:pt x="0" y="582"/>
                      <a:pt x="0" y="56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0"/>
                      <a:pt x="149" y="24"/>
                    </a:cubicBezTo>
                    <a:close/>
                    <a:moveTo>
                      <a:pt x="101" y="545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545"/>
                      <a:pt x="48" y="545"/>
                      <a:pt x="48" y="545"/>
                    </a:cubicBezTo>
                    <a:lnTo>
                      <a:pt x="101" y="545"/>
                    </a:lnTo>
                    <a:close/>
                    <a:moveTo>
                      <a:pt x="101" y="545"/>
                    </a:moveTo>
                    <a:cubicBezTo>
                      <a:pt x="101" y="545"/>
                      <a:pt x="101" y="545"/>
                      <a:pt x="101" y="545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90" name="Freeform 53">
                <a:extLst>
                  <a:ext uri="{FF2B5EF4-FFF2-40B4-BE49-F238E27FC236}">
                    <a16:creationId xmlns:a16="http://schemas.microsoft.com/office/drawing/2014/main" id="{12C0D89F-44CA-4062-B111-98841E16E1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75946" y="4882388"/>
                <a:ext cx="80959" cy="15342"/>
              </a:xfrm>
              <a:custGeom>
                <a:avLst/>
                <a:gdLst>
                  <a:gd name="T0" fmla="*/ 228 w 252"/>
                  <a:gd name="T1" fmla="*/ 0 h 48"/>
                  <a:gd name="T2" fmla="*/ 252 w 252"/>
                  <a:gd name="T3" fmla="*/ 24 h 48"/>
                  <a:gd name="T4" fmla="*/ 228 w 252"/>
                  <a:gd name="T5" fmla="*/ 48 h 48"/>
                  <a:gd name="T6" fmla="*/ 24 w 252"/>
                  <a:gd name="T7" fmla="*/ 48 h 48"/>
                  <a:gd name="T8" fmla="*/ 0 w 252"/>
                  <a:gd name="T9" fmla="*/ 24 h 48"/>
                  <a:gd name="T10" fmla="*/ 24 w 252"/>
                  <a:gd name="T11" fmla="*/ 0 h 48"/>
                  <a:gd name="T12" fmla="*/ 228 w 252"/>
                  <a:gd name="T13" fmla="*/ 0 h 48"/>
                  <a:gd name="T14" fmla="*/ 228 w 252"/>
                  <a:gd name="T15" fmla="*/ 0 h 48"/>
                  <a:gd name="T16" fmla="*/ 228 w 252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2" h="48">
                    <a:moveTo>
                      <a:pt x="228" y="0"/>
                    </a:moveTo>
                    <a:cubicBezTo>
                      <a:pt x="242" y="0"/>
                      <a:pt x="252" y="11"/>
                      <a:pt x="252" y="24"/>
                    </a:cubicBezTo>
                    <a:cubicBezTo>
                      <a:pt x="252" y="37"/>
                      <a:pt x="242" y="48"/>
                      <a:pt x="228" y="48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10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lnTo>
                      <a:pt x="228" y="0"/>
                    </a:lnTo>
                    <a:close/>
                    <a:moveTo>
                      <a:pt x="228" y="0"/>
                    </a:moveTo>
                    <a:cubicBezTo>
                      <a:pt x="228" y="0"/>
                      <a:pt x="228" y="0"/>
                      <a:pt x="228" y="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91" name="Freeform 55">
                <a:extLst>
                  <a:ext uri="{FF2B5EF4-FFF2-40B4-BE49-F238E27FC236}">
                    <a16:creationId xmlns:a16="http://schemas.microsoft.com/office/drawing/2014/main" id="{0142116F-4CE4-4571-A41D-A79DD17840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64922" y="5063188"/>
                <a:ext cx="45719" cy="137135"/>
              </a:xfrm>
              <a:custGeom>
                <a:avLst/>
                <a:gdLst>
                  <a:gd name="T0" fmla="*/ 149 w 149"/>
                  <a:gd name="T1" fmla="*/ 24 h 429"/>
                  <a:gd name="T2" fmla="*/ 149 w 149"/>
                  <a:gd name="T3" fmla="*/ 405 h 429"/>
                  <a:gd name="T4" fmla="*/ 125 w 149"/>
                  <a:gd name="T5" fmla="*/ 429 h 429"/>
                  <a:gd name="T6" fmla="*/ 24 w 149"/>
                  <a:gd name="T7" fmla="*/ 429 h 429"/>
                  <a:gd name="T8" fmla="*/ 0 w 149"/>
                  <a:gd name="T9" fmla="*/ 405 h 429"/>
                  <a:gd name="T10" fmla="*/ 0 w 149"/>
                  <a:gd name="T11" fmla="*/ 24 h 429"/>
                  <a:gd name="T12" fmla="*/ 24 w 149"/>
                  <a:gd name="T13" fmla="*/ 0 h 429"/>
                  <a:gd name="T14" fmla="*/ 125 w 149"/>
                  <a:gd name="T15" fmla="*/ 0 h 429"/>
                  <a:gd name="T16" fmla="*/ 149 w 149"/>
                  <a:gd name="T17" fmla="*/ 24 h 429"/>
                  <a:gd name="T18" fmla="*/ 101 w 149"/>
                  <a:gd name="T19" fmla="*/ 381 h 429"/>
                  <a:gd name="T20" fmla="*/ 101 w 149"/>
                  <a:gd name="T21" fmla="*/ 48 h 429"/>
                  <a:gd name="T22" fmla="*/ 48 w 149"/>
                  <a:gd name="T23" fmla="*/ 48 h 429"/>
                  <a:gd name="T24" fmla="*/ 48 w 149"/>
                  <a:gd name="T25" fmla="*/ 381 h 429"/>
                  <a:gd name="T26" fmla="*/ 101 w 149"/>
                  <a:gd name="T27" fmla="*/ 381 h 429"/>
                  <a:gd name="T28" fmla="*/ 101 w 149"/>
                  <a:gd name="T29" fmla="*/ 381 h 429"/>
                  <a:gd name="T30" fmla="*/ 101 w 149"/>
                  <a:gd name="T31" fmla="*/ 381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429">
                    <a:moveTo>
                      <a:pt x="149" y="24"/>
                    </a:moveTo>
                    <a:cubicBezTo>
                      <a:pt x="149" y="405"/>
                      <a:pt x="149" y="405"/>
                      <a:pt x="149" y="405"/>
                    </a:cubicBezTo>
                    <a:cubicBezTo>
                      <a:pt x="149" y="418"/>
                      <a:pt x="138" y="429"/>
                      <a:pt x="125" y="429"/>
                    </a:cubicBezTo>
                    <a:cubicBezTo>
                      <a:pt x="24" y="429"/>
                      <a:pt x="24" y="429"/>
                      <a:pt x="24" y="429"/>
                    </a:cubicBezTo>
                    <a:cubicBezTo>
                      <a:pt x="11" y="429"/>
                      <a:pt x="0" y="418"/>
                      <a:pt x="0" y="405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381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381"/>
                      <a:pt x="48" y="381"/>
                      <a:pt x="48" y="381"/>
                    </a:cubicBezTo>
                    <a:lnTo>
                      <a:pt x="101" y="381"/>
                    </a:lnTo>
                    <a:close/>
                    <a:moveTo>
                      <a:pt x="101" y="381"/>
                    </a:moveTo>
                    <a:cubicBezTo>
                      <a:pt x="101" y="381"/>
                      <a:pt x="101" y="381"/>
                      <a:pt x="101" y="381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 dirty="0"/>
              </a:p>
            </p:txBody>
          </p:sp>
          <p:sp>
            <p:nvSpPr>
              <p:cNvPr id="192" name="Freeform 57">
                <a:extLst>
                  <a:ext uri="{FF2B5EF4-FFF2-40B4-BE49-F238E27FC236}">
                    <a16:creationId xmlns:a16="http://schemas.microsoft.com/office/drawing/2014/main" id="{B6AE89D4-577A-466F-B837-720F6AC766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03248" y="5116060"/>
                <a:ext cx="47678" cy="84263"/>
              </a:xfrm>
              <a:custGeom>
                <a:avLst/>
                <a:gdLst>
                  <a:gd name="T0" fmla="*/ 149 w 149"/>
                  <a:gd name="T1" fmla="*/ 24 h 264"/>
                  <a:gd name="T2" fmla="*/ 149 w 149"/>
                  <a:gd name="T3" fmla="*/ 240 h 264"/>
                  <a:gd name="T4" fmla="*/ 125 w 149"/>
                  <a:gd name="T5" fmla="*/ 264 h 264"/>
                  <a:gd name="T6" fmla="*/ 24 w 149"/>
                  <a:gd name="T7" fmla="*/ 264 h 264"/>
                  <a:gd name="T8" fmla="*/ 0 w 149"/>
                  <a:gd name="T9" fmla="*/ 240 h 264"/>
                  <a:gd name="T10" fmla="*/ 0 w 149"/>
                  <a:gd name="T11" fmla="*/ 24 h 264"/>
                  <a:gd name="T12" fmla="*/ 24 w 149"/>
                  <a:gd name="T13" fmla="*/ 0 h 264"/>
                  <a:gd name="T14" fmla="*/ 125 w 149"/>
                  <a:gd name="T15" fmla="*/ 0 h 264"/>
                  <a:gd name="T16" fmla="*/ 149 w 149"/>
                  <a:gd name="T17" fmla="*/ 24 h 264"/>
                  <a:gd name="T18" fmla="*/ 101 w 149"/>
                  <a:gd name="T19" fmla="*/ 216 h 264"/>
                  <a:gd name="T20" fmla="*/ 101 w 149"/>
                  <a:gd name="T21" fmla="*/ 48 h 264"/>
                  <a:gd name="T22" fmla="*/ 48 w 149"/>
                  <a:gd name="T23" fmla="*/ 48 h 264"/>
                  <a:gd name="T24" fmla="*/ 48 w 149"/>
                  <a:gd name="T25" fmla="*/ 216 h 264"/>
                  <a:gd name="T26" fmla="*/ 101 w 149"/>
                  <a:gd name="T27" fmla="*/ 216 h 264"/>
                  <a:gd name="T28" fmla="*/ 101 w 149"/>
                  <a:gd name="T29" fmla="*/ 216 h 264"/>
                  <a:gd name="T30" fmla="*/ 101 w 149"/>
                  <a:gd name="T31" fmla="*/ 216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264">
                    <a:moveTo>
                      <a:pt x="149" y="24"/>
                    </a:moveTo>
                    <a:cubicBezTo>
                      <a:pt x="149" y="240"/>
                      <a:pt x="149" y="240"/>
                      <a:pt x="149" y="240"/>
                    </a:cubicBezTo>
                    <a:cubicBezTo>
                      <a:pt x="149" y="253"/>
                      <a:pt x="138" y="264"/>
                      <a:pt x="125" y="264"/>
                    </a:cubicBezTo>
                    <a:cubicBezTo>
                      <a:pt x="24" y="264"/>
                      <a:pt x="24" y="264"/>
                      <a:pt x="24" y="264"/>
                    </a:cubicBezTo>
                    <a:cubicBezTo>
                      <a:pt x="11" y="264"/>
                      <a:pt x="0" y="253"/>
                      <a:pt x="0" y="24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216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216"/>
                      <a:pt x="48" y="216"/>
                      <a:pt x="48" y="216"/>
                    </a:cubicBezTo>
                    <a:lnTo>
                      <a:pt x="101" y="216"/>
                    </a:lnTo>
                    <a:close/>
                    <a:moveTo>
                      <a:pt x="101" y="216"/>
                    </a:moveTo>
                    <a:cubicBezTo>
                      <a:pt x="101" y="216"/>
                      <a:pt x="101" y="216"/>
                      <a:pt x="101" y="216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</p:grpSp>
      </p:grpSp>
      <p:sp>
        <p:nvSpPr>
          <p:cNvPr id="175" name="Oval 174">
            <a:extLst>
              <a:ext uri="{FF2B5EF4-FFF2-40B4-BE49-F238E27FC236}">
                <a16:creationId xmlns:a16="http://schemas.microsoft.com/office/drawing/2014/main" id="{0496FDE3-2519-4B37-8B56-FCCA0E497DB3}"/>
              </a:ext>
            </a:extLst>
          </p:cNvPr>
          <p:cNvSpPr/>
          <p:nvPr/>
        </p:nvSpPr>
        <p:spPr>
          <a:xfrm flipH="1">
            <a:off x="7267329" y="1850490"/>
            <a:ext cx="871306" cy="87130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14300" dir="4800000" algn="tl" rotWithShape="0">
              <a:prstClr val="black">
                <a:alpha val="2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3DC4FBE-52E5-4B45-BEEA-85833BE4A7BE}"/>
              </a:ext>
            </a:extLst>
          </p:cNvPr>
          <p:cNvGrpSpPr/>
          <p:nvPr/>
        </p:nvGrpSpPr>
        <p:grpSpPr>
          <a:xfrm>
            <a:off x="4019701" y="1840291"/>
            <a:ext cx="871306" cy="871307"/>
            <a:chOff x="4019701" y="1840291"/>
            <a:chExt cx="871306" cy="871307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62FE7440-D463-4977-AA2E-14AE6C7A3CC3}"/>
                </a:ext>
              </a:extLst>
            </p:cNvPr>
            <p:cNvSpPr/>
            <p:nvPr/>
          </p:nvSpPr>
          <p:spPr>
            <a:xfrm flipH="1">
              <a:off x="4019701" y="1840291"/>
              <a:ext cx="871306" cy="8713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14300" dist="114300" dir="4800000" algn="tl" rotWithShape="0">
                <a:prstClr val="black">
                  <a:alpha val="2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IN" sz="24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04A8A40C-0676-49F0-B9F8-9D146CE79EEE}"/>
                </a:ext>
              </a:extLst>
            </p:cNvPr>
            <p:cNvGrpSpPr/>
            <p:nvPr/>
          </p:nvGrpSpPr>
          <p:grpSpPr>
            <a:xfrm>
              <a:off x="4179001" y="2020277"/>
              <a:ext cx="580305" cy="501470"/>
              <a:chOff x="7086600" y="4859338"/>
              <a:chExt cx="531813" cy="531812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D23F960C-2EF4-4249-A09C-67FD1A088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325" y="4962525"/>
                <a:ext cx="407988" cy="26352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47495A30-F039-4B1C-821D-F1D956CD33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0100" y="4883150"/>
                <a:ext cx="25400" cy="396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0FCEE7E2-5D91-46BD-BB82-189485B501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88200" y="4883150"/>
                <a:ext cx="12700" cy="396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8F401C4B-A1EA-4E1F-8C9A-F7575F0050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29475" y="4883150"/>
                <a:ext cx="15875" cy="396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6" name="Freeform 294">
                <a:extLst>
                  <a:ext uri="{FF2B5EF4-FFF2-40B4-BE49-F238E27FC236}">
                    <a16:creationId xmlns:a16="http://schemas.microsoft.com/office/drawing/2014/main" id="{22BD2978-4B80-4CE8-9178-00CF635E2A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27875" y="4943475"/>
                <a:ext cx="474663" cy="336550"/>
              </a:xfrm>
              <a:custGeom>
                <a:avLst/>
                <a:gdLst>
                  <a:gd name="T0" fmla="*/ 0 w 899"/>
                  <a:gd name="T1" fmla="*/ 579 h 636"/>
                  <a:gd name="T2" fmla="*/ 50 w 899"/>
                  <a:gd name="T3" fmla="*/ 579 h 636"/>
                  <a:gd name="T4" fmla="*/ 50 w 899"/>
                  <a:gd name="T5" fmla="*/ 18 h 636"/>
                  <a:gd name="T6" fmla="*/ 50 w 899"/>
                  <a:gd name="T7" fmla="*/ 0 h 636"/>
                  <a:gd name="T8" fmla="*/ 66 w 899"/>
                  <a:gd name="T9" fmla="*/ 0 h 636"/>
                  <a:gd name="T10" fmla="*/ 879 w 899"/>
                  <a:gd name="T11" fmla="*/ 0 h 636"/>
                  <a:gd name="T12" fmla="*/ 895 w 899"/>
                  <a:gd name="T13" fmla="*/ 0 h 636"/>
                  <a:gd name="T14" fmla="*/ 895 w 899"/>
                  <a:gd name="T15" fmla="*/ 18 h 636"/>
                  <a:gd name="T16" fmla="*/ 895 w 899"/>
                  <a:gd name="T17" fmla="*/ 579 h 636"/>
                  <a:gd name="T18" fmla="*/ 899 w 899"/>
                  <a:gd name="T19" fmla="*/ 579 h 636"/>
                  <a:gd name="T20" fmla="*/ 899 w 899"/>
                  <a:gd name="T21" fmla="*/ 636 h 636"/>
                  <a:gd name="T22" fmla="*/ 0 w 899"/>
                  <a:gd name="T23" fmla="*/ 636 h 636"/>
                  <a:gd name="T24" fmla="*/ 0 w 899"/>
                  <a:gd name="T25" fmla="*/ 579 h 636"/>
                  <a:gd name="T26" fmla="*/ 84 w 899"/>
                  <a:gd name="T27" fmla="*/ 579 h 636"/>
                  <a:gd name="T28" fmla="*/ 861 w 899"/>
                  <a:gd name="T29" fmla="*/ 579 h 636"/>
                  <a:gd name="T30" fmla="*/ 861 w 899"/>
                  <a:gd name="T31" fmla="*/ 35 h 636"/>
                  <a:gd name="T32" fmla="*/ 84 w 899"/>
                  <a:gd name="T33" fmla="*/ 35 h 636"/>
                  <a:gd name="T34" fmla="*/ 84 w 899"/>
                  <a:gd name="T35" fmla="*/ 579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99" h="636">
                    <a:moveTo>
                      <a:pt x="0" y="579"/>
                    </a:moveTo>
                    <a:lnTo>
                      <a:pt x="50" y="579"/>
                    </a:lnTo>
                    <a:lnTo>
                      <a:pt x="50" y="18"/>
                    </a:lnTo>
                    <a:lnTo>
                      <a:pt x="50" y="0"/>
                    </a:lnTo>
                    <a:lnTo>
                      <a:pt x="66" y="0"/>
                    </a:lnTo>
                    <a:lnTo>
                      <a:pt x="879" y="0"/>
                    </a:lnTo>
                    <a:lnTo>
                      <a:pt x="895" y="0"/>
                    </a:lnTo>
                    <a:lnTo>
                      <a:pt x="895" y="18"/>
                    </a:lnTo>
                    <a:lnTo>
                      <a:pt x="895" y="579"/>
                    </a:lnTo>
                    <a:lnTo>
                      <a:pt x="899" y="579"/>
                    </a:lnTo>
                    <a:lnTo>
                      <a:pt x="899" y="636"/>
                    </a:lnTo>
                    <a:lnTo>
                      <a:pt x="0" y="636"/>
                    </a:lnTo>
                    <a:lnTo>
                      <a:pt x="0" y="579"/>
                    </a:lnTo>
                    <a:close/>
                    <a:moveTo>
                      <a:pt x="84" y="579"/>
                    </a:moveTo>
                    <a:lnTo>
                      <a:pt x="861" y="579"/>
                    </a:lnTo>
                    <a:lnTo>
                      <a:pt x="861" y="35"/>
                    </a:lnTo>
                    <a:lnTo>
                      <a:pt x="84" y="35"/>
                    </a:lnTo>
                    <a:lnTo>
                      <a:pt x="84" y="57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7" name="Freeform 295">
                <a:extLst>
                  <a:ext uri="{FF2B5EF4-FFF2-40B4-BE49-F238E27FC236}">
                    <a16:creationId xmlns:a16="http://schemas.microsoft.com/office/drawing/2014/main" id="{5580846C-5172-4BE8-9545-C787C5CA2C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2950" y="4859338"/>
                <a:ext cx="511175" cy="403225"/>
              </a:xfrm>
              <a:custGeom>
                <a:avLst/>
                <a:gdLst>
                  <a:gd name="T0" fmla="*/ 35 w 968"/>
                  <a:gd name="T1" fmla="*/ 762 h 762"/>
                  <a:gd name="T2" fmla="*/ 35 w 968"/>
                  <a:gd name="T3" fmla="*/ 34 h 762"/>
                  <a:gd name="T4" fmla="*/ 345 w 968"/>
                  <a:gd name="T5" fmla="*/ 34 h 762"/>
                  <a:gd name="T6" fmla="*/ 404 w 968"/>
                  <a:gd name="T7" fmla="*/ 103 h 762"/>
                  <a:gd name="T8" fmla="*/ 409 w 968"/>
                  <a:gd name="T9" fmla="*/ 110 h 762"/>
                  <a:gd name="T10" fmla="*/ 417 w 968"/>
                  <a:gd name="T11" fmla="*/ 110 h 762"/>
                  <a:gd name="T12" fmla="*/ 933 w 968"/>
                  <a:gd name="T13" fmla="*/ 110 h 762"/>
                  <a:gd name="T14" fmla="*/ 933 w 968"/>
                  <a:gd name="T15" fmla="*/ 161 h 762"/>
                  <a:gd name="T16" fmla="*/ 945 w 968"/>
                  <a:gd name="T17" fmla="*/ 161 h 762"/>
                  <a:gd name="T18" fmla="*/ 961 w 968"/>
                  <a:gd name="T19" fmla="*/ 161 h 762"/>
                  <a:gd name="T20" fmla="*/ 961 w 968"/>
                  <a:gd name="T21" fmla="*/ 171 h 762"/>
                  <a:gd name="T22" fmla="*/ 968 w 968"/>
                  <a:gd name="T23" fmla="*/ 171 h 762"/>
                  <a:gd name="T24" fmla="*/ 968 w 968"/>
                  <a:gd name="T25" fmla="*/ 92 h 762"/>
                  <a:gd name="T26" fmla="*/ 968 w 968"/>
                  <a:gd name="T27" fmla="*/ 75 h 762"/>
                  <a:gd name="T28" fmla="*/ 950 w 968"/>
                  <a:gd name="T29" fmla="*/ 75 h 762"/>
                  <a:gd name="T30" fmla="*/ 426 w 968"/>
                  <a:gd name="T31" fmla="*/ 75 h 762"/>
                  <a:gd name="T32" fmla="*/ 365 w 968"/>
                  <a:gd name="T33" fmla="*/ 6 h 762"/>
                  <a:gd name="T34" fmla="*/ 360 w 968"/>
                  <a:gd name="T35" fmla="*/ 0 h 762"/>
                  <a:gd name="T36" fmla="*/ 353 w 968"/>
                  <a:gd name="T37" fmla="*/ 0 h 762"/>
                  <a:gd name="T38" fmla="*/ 18 w 968"/>
                  <a:gd name="T39" fmla="*/ 0 h 762"/>
                  <a:gd name="T40" fmla="*/ 0 w 968"/>
                  <a:gd name="T41" fmla="*/ 0 h 762"/>
                  <a:gd name="T42" fmla="*/ 0 w 968"/>
                  <a:gd name="T43" fmla="*/ 16 h 762"/>
                  <a:gd name="T44" fmla="*/ 0 w 968"/>
                  <a:gd name="T45" fmla="*/ 762 h 762"/>
                  <a:gd name="T46" fmla="*/ 35 w 968"/>
                  <a:gd name="T47" fmla="*/ 762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68" h="762">
                    <a:moveTo>
                      <a:pt x="35" y="762"/>
                    </a:moveTo>
                    <a:lnTo>
                      <a:pt x="35" y="34"/>
                    </a:lnTo>
                    <a:lnTo>
                      <a:pt x="345" y="34"/>
                    </a:lnTo>
                    <a:lnTo>
                      <a:pt x="404" y="103"/>
                    </a:lnTo>
                    <a:lnTo>
                      <a:pt x="409" y="110"/>
                    </a:lnTo>
                    <a:lnTo>
                      <a:pt x="417" y="110"/>
                    </a:lnTo>
                    <a:lnTo>
                      <a:pt x="933" y="110"/>
                    </a:lnTo>
                    <a:lnTo>
                      <a:pt x="933" y="161"/>
                    </a:lnTo>
                    <a:lnTo>
                      <a:pt x="945" y="161"/>
                    </a:lnTo>
                    <a:lnTo>
                      <a:pt x="961" y="161"/>
                    </a:lnTo>
                    <a:lnTo>
                      <a:pt x="961" y="171"/>
                    </a:lnTo>
                    <a:lnTo>
                      <a:pt x="968" y="171"/>
                    </a:lnTo>
                    <a:lnTo>
                      <a:pt x="968" y="92"/>
                    </a:lnTo>
                    <a:lnTo>
                      <a:pt x="968" y="75"/>
                    </a:lnTo>
                    <a:lnTo>
                      <a:pt x="950" y="75"/>
                    </a:lnTo>
                    <a:lnTo>
                      <a:pt x="426" y="75"/>
                    </a:lnTo>
                    <a:lnTo>
                      <a:pt x="365" y="6"/>
                    </a:lnTo>
                    <a:lnTo>
                      <a:pt x="360" y="0"/>
                    </a:lnTo>
                    <a:lnTo>
                      <a:pt x="35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0" y="762"/>
                    </a:lnTo>
                    <a:lnTo>
                      <a:pt x="35" y="7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8" name="Freeform 296">
                <a:extLst>
                  <a:ext uri="{FF2B5EF4-FFF2-40B4-BE49-F238E27FC236}">
                    <a16:creationId xmlns:a16="http://schemas.microsoft.com/office/drawing/2014/main" id="{8425A8D2-B0DC-4F18-995D-58825365E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6600" y="5280025"/>
                <a:ext cx="531813" cy="111125"/>
              </a:xfrm>
              <a:custGeom>
                <a:avLst/>
                <a:gdLst>
                  <a:gd name="T0" fmla="*/ 0 w 1004"/>
                  <a:gd name="T1" fmla="*/ 102 h 209"/>
                  <a:gd name="T2" fmla="*/ 438 w 1004"/>
                  <a:gd name="T3" fmla="*/ 102 h 209"/>
                  <a:gd name="T4" fmla="*/ 444 w 1004"/>
                  <a:gd name="T5" fmla="*/ 93 h 209"/>
                  <a:gd name="T6" fmla="*/ 452 w 1004"/>
                  <a:gd name="T7" fmla="*/ 84 h 209"/>
                  <a:gd name="T8" fmla="*/ 461 w 1004"/>
                  <a:gd name="T9" fmla="*/ 78 h 209"/>
                  <a:gd name="T10" fmla="*/ 471 w 1004"/>
                  <a:gd name="T11" fmla="*/ 72 h 209"/>
                  <a:gd name="T12" fmla="*/ 471 w 1004"/>
                  <a:gd name="T13" fmla="*/ 0 h 209"/>
                  <a:gd name="T14" fmla="*/ 533 w 1004"/>
                  <a:gd name="T15" fmla="*/ 0 h 209"/>
                  <a:gd name="T16" fmla="*/ 533 w 1004"/>
                  <a:gd name="T17" fmla="*/ 72 h 209"/>
                  <a:gd name="T18" fmla="*/ 542 w 1004"/>
                  <a:gd name="T19" fmla="*/ 78 h 209"/>
                  <a:gd name="T20" fmla="*/ 551 w 1004"/>
                  <a:gd name="T21" fmla="*/ 84 h 209"/>
                  <a:gd name="T22" fmla="*/ 558 w 1004"/>
                  <a:gd name="T23" fmla="*/ 93 h 209"/>
                  <a:gd name="T24" fmla="*/ 565 w 1004"/>
                  <a:gd name="T25" fmla="*/ 102 h 209"/>
                  <a:gd name="T26" fmla="*/ 1004 w 1004"/>
                  <a:gd name="T27" fmla="*/ 102 h 209"/>
                  <a:gd name="T28" fmla="*/ 1004 w 1004"/>
                  <a:gd name="T29" fmla="*/ 172 h 209"/>
                  <a:gd name="T30" fmla="*/ 565 w 1004"/>
                  <a:gd name="T31" fmla="*/ 172 h 209"/>
                  <a:gd name="T32" fmla="*/ 560 w 1004"/>
                  <a:gd name="T33" fmla="*/ 179 h 209"/>
                  <a:gd name="T34" fmla="*/ 553 w 1004"/>
                  <a:gd name="T35" fmla="*/ 187 h 209"/>
                  <a:gd name="T36" fmla="*/ 547 w 1004"/>
                  <a:gd name="T37" fmla="*/ 193 h 209"/>
                  <a:gd name="T38" fmla="*/ 539 w 1004"/>
                  <a:gd name="T39" fmla="*/ 198 h 209"/>
                  <a:gd name="T40" fmla="*/ 530 w 1004"/>
                  <a:gd name="T41" fmla="*/ 204 h 209"/>
                  <a:gd name="T42" fmla="*/ 521 w 1004"/>
                  <a:gd name="T43" fmla="*/ 206 h 209"/>
                  <a:gd name="T44" fmla="*/ 512 w 1004"/>
                  <a:gd name="T45" fmla="*/ 209 h 209"/>
                  <a:gd name="T46" fmla="*/ 502 w 1004"/>
                  <a:gd name="T47" fmla="*/ 209 h 209"/>
                  <a:gd name="T48" fmla="*/ 492 w 1004"/>
                  <a:gd name="T49" fmla="*/ 209 h 209"/>
                  <a:gd name="T50" fmla="*/ 481 w 1004"/>
                  <a:gd name="T51" fmla="*/ 206 h 209"/>
                  <a:gd name="T52" fmla="*/ 472 w 1004"/>
                  <a:gd name="T53" fmla="*/ 204 h 209"/>
                  <a:gd name="T54" fmla="*/ 464 w 1004"/>
                  <a:gd name="T55" fmla="*/ 198 h 209"/>
                  <a:gd name="T56" fmla="*/ 456 w 1004"/>
                  <a:gd name="T57" fmla="*/ 193 h 209"/>
                  <a:gd name="T58" fmla="*/ 449 w 1004"/>
                  <a:gd name="T59" fmla="*/ 187 h 209"/>
                  <a:gd name="T60" fmla="*/ 443 w 1004"/>
                  <a:gd name="T61" fmla="*/ 179 h 209"/>
                  <a:gd name="T62" fmla="*/ 438 w 1004"/>
                  <a:gd name="T63" fmla="*/ 172 h 209"/>
                  <a:gd name="T64" fmla="*/ 0 w 1004"/>
                  <a:gd name="T65" fmla="*/ 172 h 209"/>
                  <a:gd name="T66" fmla="*/ 0 w 1004"/>
                  <a:gd name="T67" fmla="*/ 102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04" h="209">
                    <a:moveTo>
                      <a:pt x="0" y="102"/>
                    </a:moveTo>
                    <a:lnTo>
                      <a:pt x="438" y="102"/>
                    </a:lnTo>
                    <a:lnTo>
                      <a:pt x="444" y="93"/>
                    </a:lnTo>
                    <a:lnTo>
                      <a:pt x="452" y="84"/>
                    </a:lnTo>
                    <a:lnTo>
                      <a:pt x="461" y="78"/>
                    </a:lnTo>
                    <a:lnTo>
                      <a:pt x="471" y="72"/>
                    </a:lnTo>
                    <a:lnTo>
                      <a:pt x="471" y="0"/>
                    </a:lnTo>
                    <a:lnTo>
                      <a:pt x="533" y="0"/>
                    </a:lnTo>
                    <a:lnTo>
                      <a:pt x="533" y="72"/>
                    </a:lnTo>
                    <a:lnTo>
                      <a:pt x="542" y="78"/>
                    </a:lnTo>
                    <a:lnTo>
                      <a:pt x="551" y="84"/>
                    </a:lnTo>
                    <a:lnTo>
                      <a:pt x="558" y="93"/>
                    </a:lnTo>
                    <a:lnTo>
                      <a:pt x="565" y="102"/>
                    </a:lnTo>
                    <a:lnTo>
                      <a:pt x="1004" y="102"/>
                    </a:lnTo>
                    <a:lnTo>
                      <a:pt x="1004" y="172"/>
                    </a:lnTo>
                    <a:lnTo>
                      <a:pt x="565" y="172"/>
                    </a:lnTo>
                    <a:lnTo>
                      <a:pt x="560" y="179"/>
                    </a:lnTo>
                    <a:lnTo>
                      <a:pt x="553" y="187"/>
                    </a:lnTo>
                    <a:lnTo>
                      <a:pt x="547" y="193"/>
                    </a:lnTo>
                    <a:lnTo>
                      <a:pt x="539" y="198"/>
                    </a:lnTo>
                    <a:lnTo>
                      <a:pt x="530" y="204"/>
                    </a:lnTo>
                    <a:lnTo>
                      <a:pt x="521" y="206"/>
                    </a:lnTo>
                    <a:lnTo>
                      <a:pt x="512" y="209"/>
                    </a:lnTo>
                    <a:lnTo>
                      <a:pt x="502" y="209"/>
                    </a:lnTo>
                    <a:lnTo>
                      <a:pt x="492" y="209"/>
                    </a:lnTo>
                    <a:lnTo>
                      <a:pt x="481" y="206"/>
                    </a:lnTo>
                    <a:lnTo>
                      <a:pt x="472" y="204"/>
                    </a:lnTo>
                    <a:lnTo>
                      <a:pt x="464" y="198"/>
                    </a:lnTo>
                    <a:lnTo>
                      <a:pt x="456" y="193"/>
                    </a:lnTo>
                    <a:lnTo>
                      <a:pt x="449" y="187"/>
                    </a:lnTo>
                    <a:lnTo>
                      <a:pt x="443" y="179"/>
                    </a:lnTo>
                    <a:lnTo>
                      <a:pt x="438" y="172"/>
                    </a:lnTo>
                    <a:lnTo>
                      <a:pt x="0" y="172"/>
                    </a:lnTo>
                    <a:lnTo>
                      <a:pt x="0" y="10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69EAA5BD-4848-408B-ADF3-ED752E93DF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64425" y="4984750"/>
                <a:ext cx="95250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36816040-1691-4E3D-A190-5C7D8D81D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64425" y="5008563"/>
                <a:ext cx="65088" cy="23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</p:grp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B74D0C7D-8906-471C-BFBE-DAAACB981CAD}"/>
              </a:ext>
            </a:extLst>
          </p:cNvPr>
          <p:cNvGrpSpPr/>
          <p:nvPr/>
        </p:nvGrpSpPr>
        <p:grpSpPr>
          <a:xfrm>
            <a:off x="7416999" y="1981576"/>
            <a:ext cx="642319" cy="586448"/>
            <a:chOff x="-3390901" y="1392237"/>
            <a:chExt cx="4237038" cy="3884614"/>
          </a:xfrm>
          <a:solidFill>
            <a:srgbClr val="92D050"/>
          </a:solidFill>
        </p:grpSpPr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71322412-0210-4C58-A4D3-5ACD60F37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67013" y="4745038"/>
              <a:ext cx="660400" cy="531813"/>
            </a:xfrm>
            <a:custGeom>
              <a:avLst/>
              <a:gdLst>
                <a:gd name="T0" fmla="*/ 416 w 416"/>
                <a:gd name="T1" fmla="*/ 94 h 335"/>
                <a:gd name="T2" fmla="*/ 279 w 416"/>
                <a:gd name="T3" fmla="*/ 335 h 335"/>
                <a:gd name="T4" fmla="*/ 0 w 416"/>
                <a:gd name="T5" fmla="*/ 335 h 335"/>
                <a:gd name="T6" fmla="*/ 190 w 416"/>
                <a:gd name="T7" fmla="*/ 0 h 335"/>
                <a:gd name="T8" fmla="*/ 416 w 416"/>
                <a:gd name="T9" fmla="*/ 9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335">
                  <a:moveTo>
                    <a:pt x="416" y="94"/>
                  </a:moveTo>
                  <a:lnTo>
                    <a:pt x="279" y="335"/>
                  </a:lnTo>
                  <a:lnTo>
                    <a:pt x="0" y="335"/>
                  </a:lnTo>
                  <a:lnTo>
                    <a:pt x="190" y="0"/>
                  </a:lnTo>
                  <a:lnTo>
                    <a:pt x="416" y="9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CB2AA821-D9A6-4F12-842A-D09804210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93788" y="4745038"/>
              <a:ext cx="660400" cy="531813"/>
            </a:xfrm>
            <a:custGeom>
              <a:avLst/>
              <a:gdLst>
                <a:gd name="T0" fmla="*/ 0 w 416"/>
                <a:gd name="T1" fmla="*/ 94 h 335"/>
                <a:gd name="T2" fmla="*/ 137 w 416"/>
                <a:gd name="T3" fmla="*/ 335 h 335"/>
                <a:gd name="T4" fmla="*/ 416 w 416"/>
                <a:gd name="T5" fmla="*/ 335 h 335"/>
                <a:gd name="T6" fmla="*/ 226 w 416"/>
                <a:gd name="T7" fmla="*/ 0 h 335"/>
                <a:gd name="T8" fmla="*/ 0 w 416"/>
                <a:gd name="T9" fmla="*/ 9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335">
                  <a:moveTo>
                    <a:pt x="0" y="94"/>
                  </a:moveTo>
                  <a:lnTo>
                    <a:pt x="137" y="335"/>
                  </a:lnTo>
                  <a:lnTo>
                    <a:pt x="416" y="335"/>
                  </a:lnTo>
                  <a:lnTo>
                    <a:pt x="226" y="0"/>
                  </a:lnTo>
                  <a:lnTo>
                    <a:pt x="0" y="9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079D6D0F-FD2A-4190-AD29-9A64A91284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390901" y="1392237"/>
              <a:ext cx="3581402" cy="3575049"/>
            </a:xfrm>
            <a:custGeom>
              <a:avLst/>
              <a:gdLst>
                <a:gd name="connsiteX0" fmla="*/ 1790700 w 3581400"/>
                <a:gd name="connsiteY0" fmla="*/ 0 h 3575050"/>
                <a:gd name="connsiteX1" fmla="*/ 3581400 w 3581400"/>
                <a:gd name="connsiteY1" fmla="*/ 1787525 h 3575050"/>
                <a:gd name="connsiteX2" fmla="*/ 1790700 w 3581400"/>
                <a:gd name="connsiteY2" fmla="*/ 3575050 h 3575050"/>
                <a:gd name="connsiteX3" fmla="*/ 0 w 3581400"/>
                <a:gd name="connsiteY3" fmla="*/ 1787525 h 3575050"/>
                <a:gd name="connsiteX4" fmla="*/ 1790700 w 3581400"/>
                <a:gd name="connsiteY4" fmla="*/ 0 h 3575050"/>
                <a:gd name="connsiteX5" fmla="*/ 1790701 w 3581400"/>
                <a:gd name="connsiteY5" fmla="*/ 550863 h 3575050"/>
                <a:gd name="connsiteX6" fmla="*/ 550863 w 3581400"/>
                <a:gd name="connsiteY6" fmla="*/ 1787526 h 3575050"/>
                <a:gd name="connsiteX7" fmla="*/ 1790701 w 3581400"/>
                <a:gd name="connsiteY7" fmla="*/ 3024189 h 3575050"/>
                <a:gd name="connsiteX8" fmla="*/ 3030539 w 3581400"/>
                <a:gd name="connsiteY8" fmla="*/ 1787526 h 3575050"/>
                <a:gd name="connsiteX9" fmla="*/ 1790701 w 3581400"/>
                <a:gd name="connsiteY9" fmla="*/ 550863 h 357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81400" h="3575050">
                  <a:moveTo>
                    <a:pt x="1790700" y="0"/>
                  </a:moveTo>
                  <a:cubicBezTo>
                    <a:pt x="2779676" y="0"/>
                    <a:pt x="3581400" y="800302"/>
                    <a:pt x="3581400" y="1787525"/>
                  </a:cubicBezTo>
                  <a:cubicBezTo>
                    <a:pt x="3581400" y="2774748"/>
                    <a:pt x="2779676" y="3575050"/>
                    <a:pt x="1790700" y="3575050"/>
                  </a:cubicBezTo>
                  <a:cubicBezTo>
                    <a:pt x="801724" y="3575050"/>
                    <a:pt x="0" y="2774748"/>
                    <a:pt x="0" y="1787525"/>
                  </a:cubicBezTo>
                  <a:cubicBezTo>
                    <a:pt x="0" y="800302"/>
                    <a:pt x="801724" y="0"/>
                    <a:pt x="1790700" y="0"/>
                  </a:cubicBezTo>
                  <a:close/>
                  <a:moveTo>
                    <a:pt x="1790701" y="550863"/>
                  </a:moveTo>
                  <a:cubicBezTo>
                    <a:pt x="1105957" y="550863"/>
                    <a:pt x="550863" y="1104536"/>
                    <a:pt x="550863" y="1787526"/>
                  </a:cubicBezTo>
                  <a:cubicBezTo>
                    <a:pt x="550863" y="2470516"/>
                    <a:pt x="1105957" y="3024189"/>
                    <a:pt x="1790701" y="3024189"/>
                  </a:cubicBezTo>
                  <a:cubicBezTo>
                    <a:pt x="2475445" y="3024189"/>
                    <a:pt x="3030539" y="2470516"/>
                    <a:pt x="3030539" y="1787526"/>
                  </a:cubicBezTo>
                  <a:cubicBezTo>
                    <a:pt x="3030539" y="1104536"/>
                    <a:pt x="2475445" y="550863"/>
                    <a:pt x="1790701" y="550863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B229648B-975E-4440-AF2C-96C8121EB9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366963" y="2414588"/>
              <a:ext cx="1533526" cy="1530350"/>
            </a:xfrm>
            <a:custGeom>
              <a:avLst/>
              <a:gdLst>
                <a:gd name="connsiteX0" fmla="*/ 766763 w 1533526"/>
                <a:gd name="connsiteY0" fmla="*/ 0 h 1530350"/>
                <a:gd name="connsiteX1" fmla="*/ 1533526 w 1533526"/>
                <a:gd name="connsiteY1" fmla="*/ 765175 h 1530350"/>
                <a:gd name="connsiteX2" fmla="*/ 766763 w 1533526"/>
                <a:gd name="connsiteY2" fmla="*/ 1530350 h 1530350"/>
                <a:gd name="connsiteX3" fmla="*/ 0 w 1533526"/>
                <a:gd name="connsiteY3" fmla="*/ 765175 h 1530350"/>
                <a:gd name="connsiteX4" fmla="*/ 766763 w 1533526"/>
                <a:gd name="connsiteY4" fmla="*/ 0 h 153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3526" h="1530350">
                  <a:moveTo>
                    <a:pt x="766763" y="0"/>
                  </a:moveTo>
                  <a:cubicBezTo>
                    <a:pt x="1190235" y="0"/>
                    <a:pt x="1533526" y="342581"/>
                    <a:pt x="1533526" y="765175"/>
                  </a:cubicBezTo>
                  <a:cubicBezTo>
                    <a:pt x="1533526" y="1187769"/>
                    <a:pt x="1190235" y="1530350"/>
                    <a:pt x="766763" y="1530350"/>
                  </a:cubicBezTo>
                  <a:cubicBezTo>
                    <a:pt x="343291" y="1530350"/>
                    <a:pt x="0" y="1187769"/>
                    <a:pt x="0" y="765175"/>
                  </a:cubicBezTo>
                  <a:cubicBezTo>
                    <a:pt x="0" y="342581"/>
                    <a:pt x="343291" y="0"/>
                    <a:pt x="766763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sp>
          <p:nvSpPr>
            <p:cNvPr id="148" name="Freeform 24">
              <a:extLst>
                <a:ext uri="{FF2B5EF4-FFF2-40B4-BE49-F238E27FC236}">
                  <a16:creationId xmlns:a16="http://schemas.microsoft.com/office/drawing/2014/main" id="{13A604AB-0ECE-4E33-8834-35CC62021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0363" y="2819401"/>
              <a:ext cx="1206500" cy="720725"/>
            </a:xfrm>
            <a:custGeom>
              <a:avLst/>
              <a:gdLst>
                <a:gd name="T0" fmla="*/ 228 w 760"/>
                <a:gd name="T1" fmla="*/ 0 h 454"/>
                <a:gd name="T2" fmla="*/ 0 w 760"/>
                <a:gd name="T3" fmla="*/ 227 h 454"/>
                <a:gd name="T4" fmla="*/ 228 w 760"/>
                <a:gd name="T5" fmla="*/ 454 h 454"/>
                <a:gd name="T6" fmla="*/ 760 w 760"/>
                <a:gd name="T7" fmla="*/ 454 h 454"/>
                <a:gd name="T8" fmla="*/ 532 w 760"/>
                <a:gd name="T9" fmla="*/ 227 h 454"/>
                <a:gd name="T10" fmla="*/ 760 w 760"/>
                <a:gd name="T11" fmla="*/ 0 h 454"/>
                <a:gd name="T12" fmla="*/ 228 w 760"/>
                <a:gd name="T13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0" h="454">
                  <a:moveTo>
                    <a:pt x="228" y="0"/>
                  </a:moveTo>
                  <a:lnTo>
                    <a:pt x="0" y="227"/>
                  </a:lnTo>
                  <a:lnTo>
                    <a:pt x="228" y="454"/>
                  </a:lnTo>
                  <a:lnTo>
                    <a:pt x="760" y="454"/>
                  </a:lnTo>
                  <a:lnTo>
                    <a:pt x="532" y="227"/>
                  </a:lnTo>
                  <a:lnTo>
                    <a:pt x="760" y="0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DBD91B8-3A90-4442-A805-2CC19E5C087D}"/>
              </a:ext>
            </a:extLst>
          </p:cNvPr>
          <p:cNvGrpSpPr/>
          <p:nvPr/>
        </p:nvGrpSpPr>
        <p:grpSpPr>
          <a:xfrm>
            <a:off x="1438824" y="4545956"/>
            <a:ext cx="2046222" cy="945040"/>
            <a:chOff x="9088751" y="3319234"/>
            <a:chExt cx="2046222" cy="945040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F236FED-FE07-4981-BEA3-5947E98B5257}"/>
                </a:ext>
              </a:extLst>
            </p:cNvPr>
            <p:cNvSpPr txBox="1"/>
            <p:nvPr/>
          </p:nvSpPr>
          <p:spPr>
            <a:xfrm>
              <a:off x="9088751" y="3741054"/>
              <a:ext cx="2046222" cy="52322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is a digital solution</a:t>
              </a:r>
            </a:p>
            <a:p>
              <a:pPr algn="r"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dustry 4.0 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D1AE75D3-9BCE-414B-9DFD-B69EB2F058D5}"/>
                </a:ext>
              </a:extLst>
            </p:cNvPr>
            <p:cNvSpPr txBox="1"/>
            <p:nvPr/>
          </p:nvSpPr>
          <p:spPr>
            <a:xfrm>
              <a:off x="9088751" y="3319234"/>
              <a:ext cx="2046222" cy="40011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 defTabSz="1218987">
                <a:defRPr/>
              </a:pPr>
              <a:r>
                <a:rPr lang="en-US" sz="2000" b="1" kern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dern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C41FD51F-B7E1-4B5F-8A23-A0B5FF056E1E}"/>
              </a:ext>
            </a:extLst>
          </p:cNvPr>
          <p:cNvGrpSpPr/>
          <p:nvPr/>
        </p:nvGrpSpPr>
        <p:grpSpPr>
          <a:xfrm>
            <a:off x="790500" y="1746356"/>
            <a:ext cx="2954893" cy="729597"/>
            <a:chOff x="8150620" y="1319673"/>
            <a:chExt cx="2949881" cy="729597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65A69D7A-AAA9-4CA9-B891-D632FC2E6EBF}"/>
                </a:ext>
              </a:extLst>
            </p:cNvPr>
            <p:cNvSpPr txBox="1"/>
            <p:nvPr/>
          </p:nvSpPr>
          <p:spPr>
            <a:xfrm>
              <a:off x="8150620" y="1741493"/>
              <a:ext cx="2949881" cy="30777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obotic automation, Online System 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A21513A6-1154-44FC-A744-1AD6B423F26F}"/>
                </a:ext>
              </a:extLst>
            </p:cNvPr>
            <p:cNvSpPr txBox="1"/>
            <p:nvPr/>
          </p:nvSpPr>
          <p:spPr>
            <a:xfrm>
              <a:off x="8150620" y="1319673"/>
              <a:ext cx="2949881" cy="40011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 defTabSz="1218987">
                <a:defRPr/>
              </a:pPr>
              <a:r>
                <a:rPr lang="en-US" sz="20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ulti-Form Technolog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710529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Oval 163">
            <a:extLst>
              <a:ext uri="{FF2B5EF4-FFF2-40B4-BE49-F238E27FC236}">
                <a16:creationId xmlns:a16="http://schemas.microsoft.com/office/drawing/2014/main" id="{FE436C90-3EEF-4729-AE4D-11106A1F4453}"/>
              </a:ext>
            </a:extLst>
          </p:cNvPr>
          <p:cNvSpPr/>
          <p:nvPr/>
        </p:nvSpPr>
        <p:spPr>
          <a:xfrm rot="10800000" flipH="1" flipV="1">
            <a:off x="7522471" y="4180650"/>
            <a:ext cx="1122891" cy="1122892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644EB66-2F1F-4DC1-BB33-75FAFEEA5001}"/>
              </a:ext>
            </a:extLst>
          </p:cNvPr>
          <p:cNvGrpSpPr/>
          <p:nvPr/>
        </p:nvGrpSpPr>
        <p:grpSpPr>
          <a:xfrm rot="120000">
            <a:off x="3660972" y="4031032"/>
            <a:ext cx="1678674" cy="1427245"/>
            <a:chOff x="3660972" y="4031032"/>
            <a:chExt cx="1678674" cy="1427245"/>
          </a:xfrm>
          <a:solidFill>
            <a:srgbClr val="00B0F0"/>
          </a:solidFill>
        </p:grpSpPr>
        <p:sp>
          <p:nvSpPr>
            <p:cNvPr id="151" name="Rectangle 6">
              <a:extLst>
                <a:ext uri="{FF2B5EF4-FFF2-40B4-BE49-F238E27FC236}">
                  <a16:creationId xmlns:a16="http://schemas.microsoft.com/office/drawing/2014/main" id="{D3CE5A45-E119-4AEF-9D4D-FDAA3D95B7DD}"/>
                </a:ext>
              </a:extLst>
            </p:cNvPr>
            <p:cNvSpPr/>
            <p:nvPr/>
          </p:nvSpPr>
          <p:spPr>
            <a:xfrm rot="3438665" flipV="1">
              <a:off x="4370745" y="3985512"/>
              <a:ext cx="923382" cy="1014421"/>
            </a:xfrm>
            <a:custGeom>
              <a:avLst/>
              <a:gdLst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0 w 864096"/>
                <a:gd name="connsiteY4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195 w 864096"/>
                <a:gd name="connsiteY4" fmla="*/ 761886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47951 w 864096"/>
                <a:gd name="connsiteY4" fmla="*/ 765649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4795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972108"/>
                <a:gd name="connsiteY0" fmla="*/ 0 h 1512168"/>
                <a:gd name="connsiteX1" fmla="*/ 864096 w 972108"/>
                <a:gd name="connsiteY1" fmla="*/ 0 h 1512168"/>
                <a:gd name="connsiteX2" fmla="*/ 864096 w 972108"/>
                <a:gd name="connsiteY2" fmla="*/ 1512168 h 1512168"/>
                <a:gd name="connsiteX3" fmla="*/ 0 w 972108"/>
                <a:gd name="connsiteY3" fmla="*/ 1512168 h 1512168"/>
                <a:gd name="connsiteX4" fmla="*/ 185581 w 972108"/>
                <a:gd name="connsiteY4" fmla="*/ 765649 h 1512168"/>
                <a:gd name="connsiteX5" fmla="*/ 0 w 972108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85581 w 864096"/>
                <a:gd name="connsiteY4" fmla="*/ 765649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3899 w 864096"/>
                <a:gd name="connsiteY2" fmla="*/ 75436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4328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4328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02027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44725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02027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44725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4919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6763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4919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6763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577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71726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71726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97102 w 864096"/>
                <a:gd name="connsiteY5" fmla="*/ 7619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97102 w 864096"/>
                <a:gd name="connsiteY5" fmla="*/ 7619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21900 w 864096"/>
                <a:gd name="connsiteY5" fmla="*/ 7588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21900 w 864096"/>
                <a:gd name="connsiteY5" fmla="*/ 7588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4542 w 864096"/>
                <a:gd name="connsiteY5" fmla="*/ 756774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16560 w 864096"/>
                <a:gd name="connsiteY2" fmla="*/ 75454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4542 w 864096"/>
                <a:gd name="connsiteY5" fmla="*/ 756774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16560 w 864096"/>
                <a:gd name="connsiteY2" fmla="*/ 75454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8756 w 864096"/>
                <a:gd name="connsiteY5" fmla="*/ 756774 h 1512168"/>
                <a:gd name="connsiteX6" fmla="*/ 0 w 864096"/>
                <a:gd name="connsiteY6" fmla="*/ 0 h 151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4096" h="1512168">
                  <a:moveTo>
                    <a:pt x="0" y="0"/>
                  </a:moveTo>
                  <a:lnTo>
                    <a:pt x="864096" y="0"/>
                  </a:lnTo>
                  <a:cubicBezTo>
                    <a:pt x="864030" y="251453"/>
                    <a:pt x="516626" y="503088"/>
                    <a:pt x="516560" y="754541"/>
                  </a:cubicBezTo>
                  <a:cubicBezTo>
                    <a:pt x="516626" y="1007144"/>
                    <a:pt x="864030" y="1259565"/>
                    <a:pt x="864096" y="1512168"/>
                  </a:cubicBezTo>
                  <a:lnTo>
                    <a:pt x="0" y="1512168"/>
                  </a:lnTo>
                  <a:cubicBezTo>
                    <a:pt x="398" y="1262074"/>
                    <a:pt x="338358" y="1006868"/>
                    <a:pt x="338756" y="756774"/>
                  </a:cubicBezTo>
                  <a:cubicBezTo>
                    <a:pt x="338358" y="502812"/>
                    <a:pt x="398" y="25396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E282F35C-734C-4AC8-8321-CF2B9937A7B0}"/>
                </a:ext>
              </a:extLst>
            </p:cNvPr>
            <p:cNvSpPr/>
            <p:nvPr/>
          </p:nvSpPr>
          <p:spPr>
            <a:xfrm rot="8838665" flipV="1">
              <a:off x="3660972" y="4335385"/>
              <a:ext cx="1122891" cy="11228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6CE9A536-36D1-4F88-A24F-CCFDE1998884}"/>
                </a:ext>
              </a:extLst>
            </p:cNvPr>
            <p:cNvSpPr/>
            <p:nvPr/>
          </p:nvSpPr>
          <p:spPr>
            <a:xfrm rot="9122328" flipV="1">
              <a:off x="3786770" y="4461174"/>
              <a:ext cx="871306" cy="8713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14300" dist="114300" dir="4800000" algn="tl" rotWithShape="0">
                <a:prstClr val="black">
                  <a:alpha val="2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Introduction</a:t>
            </a:r>
            <a:endParaRPr lang="en-IN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A9486A73-9790-459A-BB7A-D9D757DB731A}"/>
              </a:ext>
            </a:extLst>
          </p:cNvPr>
          <p:cNvGrpSpPr/>
          <p:nvPr/>
        </p:nvGrpSpPr>
        <p:grpSpPr>
          <a:xfrm>
            <a:off x="8463157" y="1746356"/>
            <a:ext cx="2633351" cy="945040"/>
            <a:chOff x="8471617" y="1319673"/>
            <a:chExt cx="2628884" cy="945040"/>
          </a:xfrm>
        </p:grpSpPr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DF8E6535-D006-445C-8FE7-7642FE561825}"/>
                </a:ext>
              </a:extLst>
            </p:cNvPr>
            <p:cNvSpPr txBox="1"/>
            <p:nvPr/>
          </p:nvSpPr>
          <p:spPr>
            <a:xfrm>
              <a:off x="8471617" y="1741493"/>
              <a:ext cx="2628884" cy="52322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o improve the energy monitoring process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24F39066-CAC1-4064-904B-0E5FFB5CFDE8}"/>
                </a:ext>
              </a:extLst>
            </p:cNvPr>
            <p:cNvSpPr txBox="1"/>
            <p:nvPr/>
          </p:nvSpPr>
          <p:spPr>
            <a:xfrm>
              <a:off x="8471617" y="1319673"/>
              <a:ext cx="2628884" cy="40011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defTabSz="1218987">
                <a:defRPr/>
              </a:pPr>
              <a:r>
                <a:rPr lang="en-US" sz="2000" b="1" kern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im</a:t>
              </a: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A38984E-F68C-4A7D-9A90-2768842FE519}"/>
              </a:ext>
            </a:extLst>
          </p:cNvPr>
          <p:cNvGrpSpPr/>
          <p:nvPr/>
        </p:nvGrpSpPr>
        <p:grpSpPr>
          <a:xfrm>
            <a:off x="8735880" y="4377919"/>
            <a:ext cx="2633352" cy="1037373"/>
            <a:chOff x="8471617" y="1011897"/>
            <a:chExt cx="2628885" cy="1037373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D63F5527-366A-4CE0-B27F-4E301C6AE841}"/>
                </a:ext>
              </a:extLst>
            </p:cNvPr>
            <p:cNvSpPr txBox="1"/>
            <p:nvPr/>
          </p:nvSpPr>
          <p:spPr>
            <a:xfrm>
              <a:off x="8471617" y="1741493"/>
              <a:ext cx="2628884" cy="30777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nalyzing results is easier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FD8337BB-FD90-479A-B69D-5C7C0C7EB6EC}"/>
                </a:ext>
              </a:extLst>
            </p:cNvPr>
            <p:cNvSpPr txBox="1"/>
            <p:nvPr/>
          </p:nvSpPr>
          <p:spPr>
            <a:xfrm>
              <a:off x="8471618" y="1011897"/>
              <a:ext cx="2628884" cy="707886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defTabSz="1218987">
                <a:defRPr/>
              </a:pPr>
              <a:r>
                <a:rPr lang="en-US" sz="2000" b="1" kern="0" dirty="0">
                  <a:solidFill>
                    <a:schemeClr val="bg1">
                      <a:lumMod val="6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teractive Analytical Display </a:t>
              </a: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209AABCD-315E-412D-8E77-3611824FF258}"/>
              </a:ext>
            </a:extLst>
          </p:cNvPr>
          <p:cNvGrpSpPr/>
          <p:nvPr/>
        </p:nvGrpSpPr>
        <p:grpSpPr>
          <a:xfrm>
            <a:off x="1438824" y="4545956"/>
            <a:ext cx="2046222" cy="945040"/>
            <a:chOff x="9088751" y="3319234"/>
            <a:chExt cx="2046222" cy="945040"/>
          </a:xfrm>
        </p:grpSpPr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9E083547-0844-488C-A4B4-FB1308468CB0}"/>
                </a:ext>
              </a:extLst>
            </p:cNvPr>
            <p:cNvSpPr txBox="1"/>
            <p:nvPr/>
          </p:nvSpPr>
          <p:spPr>
            <a:xfrm>
              <a:off x="9088751" y="3741054"/>
              <a:ext cx="2046222" cy="52322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is a digital solution</a:t>
              </a:r>
            </a:p>
            <a:p>
              <a:pPr algn="r"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dustry 4.0 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0D405B52-DCCF-4A78-8A25-BCB03417BB18}"/>
                </a:ext>
              </a:extLst>
            </p:cNvPr>
            <p:cNvSpPr txBox="1"/>
            <p:nvPr/>
          </p:nvSpPr>
          <p:spPr>
            <a:xfrm>
              <a:off x="9088751" y="3319234"/>
              <a:ext cx="2046222" cy="40011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 defTabSz="1218987">
                <a:defRPr/>
              </a:pPr>
              <a:r>
                <a:rPr lang="en-US" sz="2000" b="1" kern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dern</a:t>
              </a:r>
            </a:p>
          </p:txBody>
        </p:sp>
      </p:grpSp>
      <p:sp>
        <p:nvSpPr>
          <p:cNvPr id="156" name="Oval 155">
            <a:extLst>
              <a:ext uri="{FF2B5EF4-FFF2-40B4-BE49-F238E27FC236}">
                <a16:creationId xmlns:a16="http://schemas.microsoft.com/office/drawing/2014/main" id="{C3541CF1-9B64-4B5C-B6E3-B60CFD662F21}"/>
              </a:ext>
            </a:extLst>
          </p:cNvPr>
          <p:cNvSpPr/>
          <p:nvPr/>
        </p:nvSpPr>
        <p:spPr>
          <a:xfrm>
            <a:off x="3898320" y="1724699"/>
            <a:ext cx="1122891" cy="112289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34656BF7-3D20-482F-BC12-77C85D2502CF}"/>
              </a:ext>
            </a:extLst>
          </p:cNvPr>
          <p:cNvSpPr/>
          <p:nvPr/>
        </p:nvSpPr>
        <p:spPr>
          <a:xfrm flipH="1">
            <a:off x="7141529" y="1724699"/>
            <a:ext cx="1122891" cy="1122892"/>
          </a:xfrm>
          <a:prstGeom prst="ellipse">
            <a:avLst/>
          </a:prstGeom>
          <a:solidFill>
            <a:srgbClr val="F42C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sp>
        <p:nvSpPr>
          <p:cNvPr id="153" name="Rectangle 6">
            <a:extLst>
              <a:ext uri="{FF2B5EF4-FFF2-40B4-BE49-F238E27FC236}">
                <a16:creationId xmlns:a16="http://schemas.microsoft.com/office/drawing/2014/main" id="{D1FB74FA-9531-415F-B47E-897B5480BE1E}"/>
              </a:ext>
            </a:extLst>
          </p:cNvPr>
          <p:cNvSpPr/>
          <p:nvPr/>
        </p:nvSpPr>
        <p:spPr>
          <a:xfrm rot="18640883">
            <a:off x="4562762" y="2252408"/>
            <a:ext cx="923382" cy="1014421"/>
          </a:xfrm>
          <a:custGeom>
            <a:avLst/>
            <a:gdLst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0 w 864096"/>
              <a:gd name="connsiteY4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195 w 864096"/>
              <a:gd name="connsiteY4" fmla="*/ 761886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4795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4795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972108"/>
              <a:gd name="connsiteY0" fmla="*/ 0 h 1512168"/>
              <a:gd name="connsiteX1" fmla="*/ 864096 w 972108"/>
              <a:gd name="connsiteY1" fmla="*/ 0 h 1512168"/>
              <a:gd name="connsiteX2" fmla="*/ 864096 w 972108"/>
              <a:gd name="connsiteY2" fmla="*/ 1512168 h 1512168"/>
              <a:gd name="connsiteX3" fmla="*/ 0 w 972108"/>
              <a:gd name="connsiteY3" fmla="*/ 1512168 h 1512168"/>
              <a:gd name="connsiteX4" fmla="*/ 185581 w 972108"/>
              <a:gd name="connsiteY4" fmla="*/ 765649 h 1512168"/>
              <a:gd name="connsiteX5" fmla="*/ 0 w 972108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8558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3899 w 864096"/>
              <a:gd name="connsiteY2" fmla="*/ 75436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577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8756 w 864096"/>
              <a:gd name="connsiteY5" fmla="*/ 756774 h 1512168"/>
              <a:gd name="connsiteX6" fmla="*/ 0 w 864096"/>
              <a:gd name="connsiteY6" fmla="*/ 0 h 1512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4096" h="1512168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sp>
        <p:nvSpPr>
          <p:cNvPr id="161" name="Rectangle 6">
            <a:extLst>
              <a:ext uri="{FF2B5EF4-FFF2-40B4-BE49-F238E27FC236}">
                <a16:creationId xmlns:a16="http://schemas.microsoft.com/office/drawing/2014/main" id="{B41CED6F-C859-4D8F-9589-DF43D650B90B}"/>
              </a:ext>
            </a:extLst>
          </p:cNvPr>
          <p:cNvSpPr/>
          <p:nvPr/>
        </p:nvSpPr>
        <p:spPr>
          <a:xfrm rot="17862954" flipH="1" flipV="1">
            <a:off x="6941633" y="3867372"/>
            <a:ext cx="923382" cy="1014421"/>
          </a:xfrm>
          <a:custGeom>
            <a:avLst/>
            <a:gdLst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0 w 864096"/>
              <a:gd name="connsiteY4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195 w 864096"/>
              <a:gd name="connsiteY4" fmla="*/ 761886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4795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4795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972108"/>
              <a:gd name="connsiteY0" fmla="*/ 0 h 1512168"/>
              <a:gd name="connsiteX1" fmla="*/ 864096 w 972108"/>
              <a:gd name="connsiteY1" fmla="*/ 0 h 1512168"/>
              <a:gd name="connsiteX2" fmla="*/ 864096 w 972108"/>
              <a:gd name="connsiteY2" fmla="*/ 1512168 h 1512168"/>
              <a:gd name="connsiteX3" fmla="*/ 0 w 972108"/>
              <a:gd name="connsiteY3" fmla="*/ 1512168 h 1512168"/>
              <a:gd name="connsiteX4" fmla="*/ 185581 w 972108"/>
              <a:gd name="connsiteY4" fmla="*/ 765649 h 1512168"/>
              <a:gd name="connsiteX5" fmla="*/ 0 w 972108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8558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3899 w 864096"/>
              <a:gd name="connsiteY2" fmla="*/ 75436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577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8756 w 864096"/>
              <a:gd name="connsiteY5" fmla="*/ 756774 h 1512168"/>
              <a:gd name="connsiteX6" fmla="*/ 0 w 864096"/>
              <a:gd name="connsiteY6" fmla="*/ 0 h 1512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4096" h="1512168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sp>
        <p:nvSpPr>
          <p:cNvPr id="162" name="Rectangle 6">
            <a:extLst>
              <a:ext uri="{FF2B5EF4-FFF2-40B4-BE49-F238E27FC236}">
                <a16:creationId xmlns:a16="http://schemas.microsoft.com/office/drawing/2014/main" id="{E9069C9A-E292-4E9B-A070-42D662F2E971}"/>
              </a:ext>
            </a:extLst>
          </p:cNvPr>
          <p:cNvSpPr/>
          <p:nvPr/>
        </p:nvSpPr>
        <p:spPr>
          <a:xfrm rot="2959117" flipH="1">
            <a:off x="6676596" y="2252408"/>
            <a:ext cx="923382" cy="1014421"/>
          </a:xfrm>
          <a:custGeom>
            <a:avLst/>
            <a:gdLst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0 w 864096"/>
              <a:gd name="connsiteY4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195 w 864096"/>
              <a:gd name="connsiteY4" fmla="*/ 761886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4795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4795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972108"/>
              <a:gd name="connsiteY0" fmla="*/ 0 h 1512168"/>
              <a:gd name="connsiteX1" fmla="*/ 864096 w 972108"/>
              <a:gd name="connsiteY1" fmla="*/ 0 h 1512168"/>
              <a:gd name="connsiteX2" fmla="*/ 864096 w 972108"/>
              <a:gd name="connsiteY2" fmla="*/ 1512168 h 1512168"/>
              <a:gd name="connsiteX3" fmla="*/ 0 w 972108"/>
              <a:gd name="connsiteY3" fmla="*/ 1512168 h 1512168"/>
              <a:gd name="connsiteX4" fmla="*/ 185581 w 972108"/>
              <a:gd name="connsiteY4" fmla="*/ 765649 h 1512168"/>
              <a:gd name="connsiteX5" fmla="*/ 0 w 972108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8558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3899 w 864096"/>
              <a:gd name="connsiteY2" fmla="*/ 75436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577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8756 w 864096"/>
              <a:gd name="connsiteY5" fmla="*/ 756774 h 1512168"/>
              <a:gd name="connsiteX6" fmla="*/ 0 w 864096"/>
              <a:gd name="connsiteY6" fmla="*/ 0 h 1512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4096" h="1512168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rgbClr val="F42C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AC12983F-5223-40A1-9F26-D50D7B2A1377}"/>
              </a:ext>
            </a:extLst>
          </p:cNvPr>
          <p:cNvSpPr/>
          <p:nvPr/>
        </p:nvSpPr>
        <p:spPr>
          <a:xfrm>
            <a:off x="4902569" y="2547777"/>
            <a:ext cx="2410272" cy="2410272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464F9DA4-3D20-4F9A-BB42-544FF2C30A86}"/>
              </a:ext>
            </a:extLst>
          </p:cNvPr>
          <p:cNvSpPr/>
          <p:nvPr/>
        </p:nvSpPr>
        <p:spPr>
          <a:xfrm>
            <a:off x="5034874" y="2680082"/>
            <a:ext cx="2145663" cy="214566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14300" dir="4800000" algn="tl" rotWithShape="0">
              <a:prstClr val="black">
                <a:alpha val="2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3587F614-E465-4CC2-8519-FDFBAE6B8160}"/>
              </a:ext>
            </a:extLst>
          </p:cNvPr>
          <p:cNvGrpSpPr/>
          <p:nvPr/>
        </p:nvGrpSpPr>
        <p:grpSpPr>
          <a:xfrm>
            <a:off x="5783665" y="3250216"/>
            <a:ext cx="648080" cy="1005394"/>
            <a:chOff x="655638" y="2620963"/>
            <a:chExt cx="2009775" cy="311785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214" name="Freeform 5">
              <a:extLst>
                <a:ext uri="{FF2B5EF4-FFF2-40B4-BE49-F238E27FC236}">
                  <a16:creationId xmlns:a16="http://schemas.microsoft.com/office/drawing/2014/main" id="{4F549AD1-54E5-41CB-971B-AA341D2C79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075" y="3498850"/>
              <a:ext cx="1358900" cy="1362075"/>
            </a:xfrm>
            <a:custGeom>
              <a:avLst/>
              <a:gdLst>
                <a:gd name="T0" fmla="*/ 1030 w 1036"/>
                <a:gd name="T1" fmla="*/ 439 h 1040"/>
                <a:gd name="T2" fmla="*/ 979 w 1036"/>
                <a:gd name="T3" fmla="*/ 439 h 1040"/>
                <a:gd name="T4" fmla="*/ 936 w 1036"/>
                <a:gd name="T5" fmla="*/ 407 h 1040"/>
                <a:gd name="T6" fmla="*/ 894 w 1036"/>
                <a:gd name="T7" fmla="*/ 304 h 1040"/>
                <a:gd name="T8" fmla="*/ 901 w 1036"/>
                <a:gd name="T9" fmla="*/ 252 h 1040"/>
                <a:gd name="T10" fmla="*/ 937 w 1036"/>
                <a:gd name="T11" fmla="*/ 215 h 1040"/>
                <a:gd name="T12" fmla="*/ 823 w 1036"/>
                <a:gd name="T13" fmla="*/ 101 h 1040"/>
                <a:gd name="T14" fmla="*/ 786 w 1036"/>
                <a:gd name="T15" fmla="*/ 137 h 1040"/>
                <a:gd name="T16" fmla="*/ 734 w 1036"/>
                <a:gd name="T17" fmla="*/ 144 h 1040"/>
                <a:gd name="T18" fmla="*/ 631 w 1036"/>
                <a:gd name="T19" fmla="*/ 102 h 1040"/>
                <a:gd name="T20" fmla="*/ 599 w 1036"/>
                <a:gd name="T21" fmla="*/ 59 h 1040"/>
                <a:gd name="T22" fmla="*/ 599 w 1036"/>
                <a:gd name="T23" fmla="*/ 8 h 1040"/>
                <a:gd name="T24" fmla="*/ 437 w 1036"/>
                <a:gd name="T25" fmla="*/ 8 h 1040"/>
                <a:gd name="T26" fmla="*/ 437 w 1036"/>
                <a:gd name="T27" fmla="*/ 59 h 1040"/>
                <a:gd name="T28" fmla="*/ 405 w 1036"/>
                <a:gd name="T29" fmla="*/ 102 h 1040"/>
                <a:gd name="T30" fmla="*/ 302 w 1036"/>
                <a:gd name="T31" fmla="*/ 144 h 1040"/>
                <a:gd name="T32" fmla="*/ 249 w 1036"/>
                <a:gd name="T33" fmla="*/ 137 h 1040"/>
                <a:gd name="T34" fmla="*/ 213 w 1036"/>
                <a:gd name="T35" fmla="*/ 101 h 1040"/>
                <a:gd name="T36" fmla="*/ 99 w 1036"/>
                <a:gd name="T37" fmla="*/ 215 h 1040"/>
                <a:gd name="T38" fmla="*/ 135 w 1036"/>
                <a:gd name="T39" fmla="*/ 251 h 1040"/>
                <a:gd name="T40" fmla="*/ 142 w 1036"/>
                <a:gd name="T41" fmla="*/ 304 h 1040"/>
                <a:gd name="T42" fmla="*/ 100 w 1036"/>
                <a:gd name="T43" fmla="*/ 407 h 1040"/>
                <a:gd name="T44" fmla="*/ 57 w 1036"/>
                <a:gd name="T45" fmla="*/ 439 h 1040"/>
                <a:gd name="T46" fmla="*/ 6 w 1036"/>
                <a:gd name="T47" fmla="*/ 439 h 1040"/>
                <a:gd name="T48" fmla="*/ 0 w 1036"/>
                <a:gd name="T49" fmla="*/ 520 h 1040"/>
                <a:gd name="T50" fmla="*/ 6 w 1036"/>
                <a:gd name="T51" fmla="*/ 601 h 1040"/>
                <a:gd name="T52" fmla="*/ 57 w 1036"/>
                <a:gd name="T53" fmla="*/ 601 h 1040"/>
                <a:gd name="T54" fmla="*/ 100 w 1036"/>
                <a:gd name="T55" fmla="*/ 633 h 1040"/>
                <a:gd name="T56" fmla="*/ 142 w 1036"/>
                <a:gd name="T57" fmla="*/ 736 h 1040"/>
                <a:gd name="T58" fmla="*/ 135 w 1036"/>
                <a:gd name="T59" fmla="*/ 789 h 1040"/>
                <a:gd name="T60" fmla="*/ 99 w 1036"/>
                <a:gd name="T61" fmla="*/ 825 h 1040"/>
                <a:gd name="T62" fmla="*/ 213 w 1036"/>
                <a:gd name="T63" fmla="*/ 939 h 1040"/>
                <a:gd name="T64" fmla="*/ 249 w 1036"/>
                <a:gd name="T65" fmla="*/ 903 h 1040"/>
                <a:gd name="T66" fmla="*/ 302 w 1036"/>
                <a:gd name="T67" fmla="*/ 896 h 1040"/>
                <a:gd name="T68" fmla="*/ 405 w 1036"/>
                <a:gd name="T69" fmla="*/ 938 h 1040"/>
                <a:gd name="T70" fmla="*/ 437 w 1036"/>
                <a:gd name="T71" fmla="*/ 981 h 1040"/>
                <a:gd name="T72" fmla="*/ 437 w 1036"/>
                <a:gd name="T73" fmla="*/ 1032 h 1040"/>
                <a:gd name="T74" fmla="*/ 599 w 1036"/>
                <a:gd name="T75" fmla="*/ 1032 h 1040"/>
                <a:gd name="T76" fmla="*/ 599 w 1036"/>
                <a:gd name="T77" fmla="*/ 981 h 1040"/>
                <a:gd name="T78" fmla="*/ 631 w 1036"/>
                <a:gd name="T79" fmla="*/ 938 h 1040"/>
                <a:gd name="T80" fmla="*/ 734 w 1036"/>
                <a:gd name="T81" fmla="*/ 896 h 1040"/>
                <a:gd name="T82" fmla="*/ 786 w 1036"/>
                <a:gd name="T83" fmla="*/ 903 h 1040"/>
                <a:gd name="T84" fmla="*/ 823 w 1036"/>
                <a:gd name="T85" fmla="*/ 939 h 1040"/>
                <a:gd name="T86" fmla="*/ 937 w 1036"/>
                <a:gd name="T87" fmla="*/ 825 h 1040"/>
                <a:gd name="T88" fmla="*/ 901 w 1036"/>
                <a:gd name="T89" fmla="*/ 788 h 1040"/>
                <a:gd name="T90" fmla="*/ 894 w 1036"/>
                <a:gd name="T91" fmla="*/ 736 h 1040"/>
                <a:gd name="T92" fmla="*/ 936 w 1036"/>
                <a:gd name="T93" fmla="*/ 633 h 1040"/>
                <a:gd name="T94" fmla="*/ 979 w 1036"/>
                <a:gd name="T95" fmla="*/ 601 h 1040"/>
                <a:gd name="T96" fmla="*/ 1030 w 1036"/>
                <a:gd name="T97" fmla="*/ 601 h 1040"/>
                <a:gd name="T98" fmla="*/ 1036 w 1036"/>
                <a:gd name="T99" fmla="*/ 520 h 1040"/>
                <a:gd name="T100" fmla="*/ 1030 w 1036"/>
                <a:gd name="T101" fmla="*/ 439 h 1040"/>
                <a:gd name="T102" fmla="*/ 518 w 1036"/>
                <a:gd name="T103" fmla="*/ 746 h 1040"/>
                <a:gd name="T104" fmla="*/ 292 w 1036"/>
                <a:gd name="T105" fmla="*/ 520 h 1040"/>
                <a:gd name="T106" fmla="*/ 518 w 1036"/>
                <a:gd name="T107" fmla="*/ 294 h 1040"/>
                <a:gd name="T108" fmla="*/ 744 w 1036"/>
                <a:gd name="T109" fmla="*/ 520 h 1040"/>
                <a:gd name="T110" fmla="*/ 518 w 1036"/>
                <a:gd name="T111" fmla="*/ 746 h 1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6" h="1040">
                  <a:moveTo>
                    <a:pt x="1030" y="439"/>
                  </a:moveTo>
                  <a:cubicBezTo>
                    <a:pt x="979" y="439"/>
                    <a:pt x="979" y="439"/>
                    <a:pt x="979" y="439"/>
                  </a:cubicBezTo>
                  <a:cubicBezTo>
                    <a:pt x="959" y="439"/>
                    <a:pt x="942" y="426"/>
                    <a:pt x="936" y="407"/>
                  </a:cubicBezTo>
                  <a:cubicBezTo>
                    <a:pt x="927" y="371"/>
                    <a:pt x="912" y="337"/>
                    <a:pt x="894" y="304"/>
                  </a:cubicBezTo>
                  <a:cubicBezTo>
                    <a:pt x="884" y="287"/>
                    <a:pt x="887" y="266"/>
                    <a:pt x="901" y="252"/>
                  </a:cubicBezTo>
                  <a:cubicBezTo>
                    <a:pt x="937" y="215"/>
                    <a:pt x="937" y="215"/>
                    <a:pt x="937" y="215"/>
                  </a:cubicBezTo>
                  <a:cubicBezTo>
                    <a:pt x="905" y="171"/>
                    <a:pt x="867" y="133"/>
                    <a:pt x="823" y="101"/>
                  </a:cubicBezTo>
                  <a:cubicBezTo>
                    <a:pt x="786" y="137"/>
                    <a:pt x="786" y="137"/>
                    <a:pt x="786" y="137"/>
                  </a:cubicBezTo>
                  <a:cubicBezTo>
                    <a:pt x="772" y="151"/>
                    <a:pt x="751" y="154"/>
                    <a:pt x="734" y="144"/>
                  </a:cubicBezTo>
                  <a:cubicBezTo>
                    <a:pt x="701" y="126"/>
                    <a:pt x="667" y="111"/>
                    <a:pt x="631" y="102"/>
                  </a:cubicBezTo>
                  <a:cubicBezTo>
                    <a:pt x="612" y="96"/>
                    <a:pt x="599" y="79"/>
                    <a:pt x="599" y="59"/>
                  </a:cubicBezTo>
                  <a:cubicBezTo>
                    <a:pt x="599" y="8"/>
                    <a:pt x="599" y="8"/>
                    <a:pt x="599" y="8"/>
                  </a:cubicBezTo>
                  <a:cubicBezTo>
                    <a:pt x="546" y="0"/>
                    <a:pt x="490" y="0"/>
                    <a:pt x="437" y="8"/>
                  </a:cubicBezTo>
                  <a:cubicBezTo>
                    <a:pt x="437" y="59"/>
                    <a:pt x="437" y="59"/>
                    <a:pt x="437" y="59"/>
                  </a:cubicBezTo>
                  <a:cubicBezTo>
                    <a:pt x="437" y="79"/>
                    <a:pt x="424" y="96"/>
                    <a:pt x="405" y="102"/>
                  </a:cubicBezTo>
                  <a:cubicBezTo>
                    <a:pt x="369" y="111"/>
                    <a:pt x="335" y="126"/>
                    <a:pt x="302" y="144"/>
                  </a:cubicBezTo>
                  <a:cubicBezTo>
                    <a:pt x="285" y="154"/>
                    <a:pt x="264" y="151"/>
                    <a:pt x="249" y="137"/>
                  </a:cubicBezTo>
                  <a:cubicBezTo>
                    <a:pt x="213" y="101"/>
                    <a:pt x="213" y="101"/>
                    <a:pt x="213" y="101"/>
                  </a:cubicBezTo>
                  <a:cubicBezTo>
                    <a:pt x="169" y="133"/>
                    <a:pt x="131" y="171"/>
                    <a:pt x="99" y="215"/>
                  </a:cubicBezTo>
                  <a:cubicBezTo>
                    <a:pt x="135" y="251"/>
                    <a:pt x="135" y="251"/>
                    <a:pt x="135" y="251"/>
                  </a:cubicBezTo>
                  <a:cubicBezTo>
                    <a:pt x="149" y="266"/>
                    <a:pt x="152" y="287"/>
                    <a:pt x="142" y="304"/>
                  </a:cubicBezTo>
                  <a:cubicBezTo>
                    <a:pt x="124" y="337"/>
                    <a:pt x="109" y="371"/>
                    <a:pt x="100" y="407"/>
                  </a:cubicBezTo>
                  <a:cubicBezTo>
                    <a:pt x="94" y="426"/>
                    <a:pt x="77" y="439"/>
                    <a:pt x="57" y="439"/>
                  </a:cubicBezTo>
                  <a:cubicBezTo>
                    <a:pt x="6" y="439"/>
                    <a:pt x="6" y="439"/>
                    <a:pt x="6" y="439"/>
                  </a:cubicBezTo>
                  <a:cubicBezTo>
                    <a:pt x="2" y="466"/>
                    <a:pt x="0" y="493"/>
                    <a:pt x="0" y="520"/>
                  </a:cubicBezTo>
                  <a:cubicBezTo>
                    <a:pt x="0" y="547"/>
                    <a:pt x="2" y="574"/>
                    <a:pt x="6" y="601"/>
                  </a:cubicBezTo>
                  <a:cubicBezTo>
                    <a:pt x="57" y="601"/>
                    <a:pt x="57" y="601"/>
                    <a:pt x="57" y="601"/>
                  </a:cubicBezTo>
                  <a:cubicBezTo>
                    <a:pt x="77" y="601"/>
                    <a:pt x="94" y="614"/>
                    <a:pt x="100" y="633"/>
                  </a:cubicBezTo>
                  <a:cubicBezTo>
                    <a:pt x="109" y="669"/>
                    <a:pt x="124" y="703"/>
                    <a:pt x="142" y="736"/>
                  </a:cubicBezTo>
                  <a:cubicBezTo>
                    <a:pt x="152" y="753"/>
                    <a:pt x="149" y="774"/>
                    <a:pt x="135" y="789"/>
                  </a:cubicBezTo>
                  <a:cubicBezTo>
                    <a:pt x="99" y="825"/>
                    <a:pt x="99" y="825"/>
                    <a:pt x="99" y="825"/>
                  </a:cubicBezTo>
                  <a:cubicBezTo>
                    <a:pt x="131" y="868"/>
                    <a:pt x="169" y="907"/>
                    <a:pt x="213" y="939"/>
                  </a:cubicBezTo>
                  <a:cubicBezTo>
                    <a:pt x="249" y="903"/>
                    <a:pt x="249" y="903"/>
                    <a:pt x="249" y="903"/>
                  </a:cubicBezTo>
                  <a:cubicBezTo>
                    <a:pt x="264" y="889"/>
                    <a:pt x="285" y="886"/>
                    <a:pt x="302" y="896"/>
                  </a:cubicBezTo>
                  <a:cubicBezTo>
                    <a:pt x="335" y="914"/>
                    <a:pt x="369" y="929"/>
                    <a:pt x="405" y="938"/>
                  </a:cubicBezTo>
                  <a:cubicBezTo>
                    <a:pt x="424" y="944"/>
                    <a:pt x="437" y="961"/>
                    <a:pt x="437" y="981"/>
                  </a:cubicBezTo>
                  <a:cubicBezTo>
                    <a:pt x="437" y="1032"/>
                    <a:pt x="437" y="1032"/>
                    <a:pt x="437" y="1032"/>
                  </a:cubicBezTo>
                  <a:cubicBezTo>
                    <a:pt x="490" y="1040"/>
                    <a:pt x="546" y="1040"/>
                    <a:pt x="599" y="1032"/>
                  </a:cubicBezTo>
                  <a:cubicBezTo>
                    <a:pt x="599" y="981"/>
                    <a:pt x="599" y="981"/>
                    <a:pt x="599" y="981"/>
                  </a:cubicBezTo>
                  <a:cubicBezTo>
                    <a:pt x="599" y="961"/>
                    <a:pt x="612" y="944"/>
                    <a:pt x="631" y="938"/>
                  </a:cubicBezTo>
                  <a:cubicBezTo>
                    <a:pt x="667" y="929"/>
                    <a:pt x="701" y="914"/>
                    <a:pt x="734" y="896"/>
                  </a:cubicBezTo>
                  <a:cubicBezTo>
                    <a:pt x="751" y="886"/>
                    <a:pt x="772" y="889"/>
                    <a:pt x="786" y="903"/>
                  </a:cubicBezTo>
                  <a:cubicBezTo>
                    <a:pt x="823" y="939"/>
                    <a:pt x="823" y="939"/>
                    <a:pt x="823" y="939"/>
                  </a:cubicBezTo>
                  <a:cubicBezTo>
                    <a:pt x="867" y="907"/>
                    <a:pt x="905" y="868"/>
                    <a:pt x="937" y="825"/>
                  </a:cubicBezTo>
                  <a:cubicBezTo>
                    <a:pt x="901" y="788"/>
                    <a:pt x="901" y="788"/>
                    <a:pt x="901" y="788"/>
                  </a:cubicBezTo>
                  <a:cubicBezTo>
                    <a:pt x="887" y="774"/>
                    <a:pt x="884" y="753"/>
                    <a:pt x="894" y="736"/>
                  </a:cubicBezTo>
                  <a:cubicBezTo>
                    <a:pt x="912" y="703"/>
                    <a:pt x="927" y="669"/>
                    <a:pt x="936" y="633"/>
                  </a:cubicBezTo>
                  <a:cubicBezTo>
                    <a:pt x="942" y="614"/>
                    <a:pt x="959" y="601"/>
                    <a:pt x="979" y="601"/>
                  </a:cubicBezTo>
                  <a:cubicBezTo>
                    <a:pt x="1030" y="601"/>
                    <a:pt x="1030" y="601"/>
                    <a:pt x="1030" y="601"/>
                  </a:cubicBezTo>
                  <a:cubicBezTo>
                    <a:pt x="1034" y="574"/>
                    <a:pt x="1036" y="547"/>
                    <a:pt x="1036" y="520"/>
                  </a:cubicBezTo>
                  <a:cubicBezTo>
                    <a:pt x="1036" y="493"/>
                    <a:pt x="1034" y="466"/>
                    <a:pt x="1030" y="439"/>
                  </a:cubicBezTo>
                  <a:close/>
                  <a:moveTo>
                    <a:pt x="518" y="746"/>
                  </a:moveTo>
                  <a:cubicBezTo>
                    <a:pt x="393" y="746"/>
                    <a:pt x="292" y="644"/>
                    <a:pt x="292" y="520"/>
                  </a:cubicBezTo>
                  <a:cubicBezTo>
                    <a:pt x="292" y="396"/>
                    <a:pt x="393" y="294"/>
                    <a:pt x="518" y="294"/>
                  </a:cubicBezTo>
                  <a:cubicBezTo>
                    <a:pt x="642" y="294"/>
                    <a:pt x="744" y="396"/>
                    <a:pt x="744" y="520"/>
                  </a:cubicBezTo>
                  <a:cubicBezTo>
                    <a:pt x="744" y="644"/>
                    <a:pt x="642" y="746"/>
                    <a:pt x="518" y="746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5" name="Freeform 6">
              <a:extLst>
                <a:ext uri="{FF2B5EF4-FFF2-40B4-BE49-F238E27FC236}">
                  <a16:creationId xmlns:a16="http://schemas.microsoft.com/office/drawing/2014/main" id="{FFCE3800-2B7A-4FD1-9549-636086FEA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75" y="2692400"/>
              <a:ext cx="1858964" cy="463550"/>
            </a:xfrm>
            <a:custGeom>
              <a:avLst/>
              <a:gdLst>
                <a:gd name="T0" fmla="*/ 0 w 1418"/>
                <a:gd name="T1" fmla="*/ 346 h 354"/>
                <a:gd name="T2" fmla="*/ 0 w 1418"/>
                <a:gd name="T3" fmla="*/ 80 h 354"/>
                <a:gd name="T4" fmla="*/ 80 w 1418"/>
                <a:gd name="T5" fmla="*/ 0 h 354"/>
                <a:gd name="T6" fmla="*/ 1338 w 1418"/>
                <a:gd name="T7" fmla="*/ 0 h 354"/>
                <a:gd name="T8" fmla="*/ 1418 w 1418"/>
                <a:gd name="T9" fmla="*/ 80 h 354"/>
                <a:gd name="T10" fmla="*/ 1418 w 1418"/>
                <a:gd name="T11" fmla="*/ 354 h 354"/>
                <a:gd name="T12" fmla="*/ 0 w 1418"/>
                <a:gd name="T13" fmla="*/ 346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8" h="354">
                  <a:moveTo>
                    <a:pt x="0" y="346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338" y="0"/>
                    <a:pt x="1338" y="0"/>
                    <a:pt x="1338" y="0"/>
                  </a:cubicBezTo>
                  <a:cubicBezTo>
                    <a:pt x="1382" y="0"/>
                    <a:pt x="1418" y="36"/>
                    <a:pt x="1418" y="80"/>
                  </a:cubicBezTo>
                  <a:cubicBezTo>
                    <a:pt x="1418" y="354"/>
                    <a:pt x="1418" y="354"/>
                    <a:pt x="1418" y="354"/>
                  </a:cubicBezTo>
                  <a:lnTo>
                    <a:pt x="0" y="3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6" name="Freeform 7">
              <a:extLst>
                <a:ext uri="{FF2B5EF4-FFF2-40B4-BE49-F238E27FC236}">
                  <a16:creationId xmlns:a16="http://schemas.microsoft.com/office/drawing/2014/main" id="{5A87BC95-E4F6-415C-A73F-3069A1621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75" y="5195888"/>
              <a:ext cx="1858963" cy="463550"/>
            </a:xfrm>
            <a:custGeom>
              <a:avLst/>
              <a:gdLst>
                <a:gd name="T0" fmla="*/ 0 w 1418"/>
                <a:gd name="T1" fmla="*/ 8 h 354"/>
                <a:gd name="T2" fmla="*/ 0 w 1418"/>
                <a:gd name="T3" fmla="*/ 274 h 354"/>
                <a:gd name="T4" fmla="*/ 80 w 1418"/>
                <a:gd name="T5" fmla="*/ 354 h 354"/>
                <a:gd name="T6" fmla="*/ 1338 w 1418"/>
                <a:gd name="T7" fmla="*/ 354 h 354"/>
                <a:gd name="T8" fmla="*/ 1418 w 1418"/>
                <a:gd name="T9" fmla="*/ 274 h 354"/>
                <a:gd name="T10" fmla="*/ 1418 w 1418"/>
                <a:gd name="T11" fmla="*/ 0 h 354"/>
                <a:gd name="T12" fmla="*/ 0 w 1418"/>
                <a:gd name="T13" fmla="*/ 8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8" h="354">
                  <a:moveTo>
                    <a:pt x="0" y="8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318"/>
                    <a:pt x="36" y="354"/>
                    <a:pt x="80" y="354"/>
                  </a:cubicBezTo>
                  <a:cubicBezTo>
                    <a:pt x="1338" y="354"/>
                    <a:pt x="1338" y="354"/>
                    <a:pt x="1338" y="354"/>
                  </a:cubicBezTo>
                  <a:cubicBezTo>
                    <a:pt x="1382" y="354"/>
                    <a:pt x="1418" y="318"/>
                    <a:pt x="1418" y="274"/>
                  </a:cubicBezTo>
                  <a:cubicBezTo>
                    <a:pt x="1418" y="0"/>
                    <a:pt x="1418" y="0"/>
                    <a:pt x="1418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7" name="Freeform 8">
              <a:extLst>
                <a:ext uri="{FF2B5EF4-FFF2-40B4-BE49-F238E27FC236}">
                  <a16:creationId xmlns:a16="http://schemas.microsoft.com/office/drawing/2014/main" id="{3FDFBA81-214D-4BDE-B132-6C2BE2CE4D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638" y="2620963"/>
              <a:ext cx="2009775" cy="3117850"/>
            </a:xfrm>
            <a:custGeom>
              <a:avLst/>
              <a:gdLst>
                <a:gd name="T0" fmla="*/ 1532 w 1532"/>
                <a:gd name="T1" fmla="*/ 201 h 2382"/>
                <a:gd name="T2" fmla="*/ 1532 w 1532"/>
                <a:gd name="T3" fmla="*/ 2181 h 2382"/>
                <a:gd name="T4" fmla="*/ 1331 w 1532"/>
                <a:gd name="T5" fmla="*/ 2382 h 2382"/>
                <a:gd name="T6" fmla="*/ 201 w 1532"/>
                <a:gd name="T7" fmla="*/ 2382 h 2382"/>
                <a:gd name="T8" fmla="*/ 0 w 1532"/>
                <a:gd name="T9" fmla="*/ 2181 h 2382"/>
                <a:gd name="T10" fmla="*/ 0 w 1532"/>
                <a:gd name="T11" fmla="*/ 201 h 2382"/>
                <a:gd name="T12" fmla="*/ 201 w 1532"/>
                <a:gd name="T13" fmla="*/ 0 h 2382"/>
                <a:gd name="T14" fmla="*/ 1331 w 1532"/>
                <a:gd name="T15" fmla="*/ 0 h 2382"/>
                <a:gd name="T16" fmla="*/ 1532 w 1532"/>
                <a:gd name="T17" fmla="*/ 201 h 2382"/>
                <a:gd name="T18" fmla="*/ 1451 w 1532"/>
                <a:gd name="T19" fmla="*/ 2181 h 2382"/>
                <a:gd name="T20" fmla="*/ 1451 w 1532"/>
                <a:gd name="T21" fmla="*/ 2016 h 2382"/>
                <a:gd name="T22" fmla="*/ 81 w 1532"/>
                <a:gd name="T23" fmla="*/ 2016 h 2382"/>
                <a:gd name="T24" fmla="*/ 81 w 1532"/>
                <a:gd name="T25" fmla="*/ 2181 h 2382"/>
                <a:gd name="T26" fmla="*/ 201 w 1532"/>
                <a:gd name="T27" fmla="*/ 2301 h 2382"/>
                <a:gd name="T28" fmla="*/ 1331 w 1532"/>
                <a:gd name="T29" fmla="*/ 2301 h 2382"/>
                <a:gd name="T30" fmla="*/ 1451 w 1532"/>
                <a:gd name="T31" fmla="*/ 2181 h 2382"/>
                <a:gd name="T32" fmla="*/ 1451 w 1532"/>
                <a:gd name="T33" fmla="*/ 1935 h 2382"/>
                <a:gd name="T34" fmla="*/ 1451 w 1532"/>
                <a:gd name="T35" fmla="*/ 447 h 2382"/>
                <a:gd name="T36" fmla="*/ 81 w 1532"/>
                <a:gd name="T37" fmla="*/ 447 h 2382"/>
                <a:gd name="T38" fmla="*/ 81 w 1532"/>
                <a:gd name="T39" fmla="*/ 1935 h 2382"/>
                <a:gd name="T40" fmla="*/ 1451 w 1532"/>
                <a:gd name="T41" fmla="*/ 1935 h 2382"/>
                <a:gd name="T42" fmla="*/ 1451 w 1532"/>
                <a:gd name="T43" fmla="*/ 366 h 2382"/>
                <a:gd name="T44" fmla="*/ 1451 w 1532"/>
                <a:gd name="T45" fmla="*/ 201 h 2382"/>
                <a:gd name="T46" fmla="*/ 1331 w 1532"/>
                <a:gd name="T47" fmla="*/ 81 h 2382"/>
                <a:gd name="T48" fmla="*/ 201 w 1532"/>
                <a:gd name="T49" fmla="*/ 81 h 2382"/>
                <a:gd name="T50" fmla="*/ 81 w 1532"/>
                <a:gd name="T51" fmla="*/ 201 h 2382"/>
                <a:gd name="T52" fmla="*/ 81 w 1532"/>
                <a:gd name="T53" fmla="*/ 366 h 2382"/>
                <a:gd name="T54" fmla="*/ 1451 w 1532"/>
                <a:gd name="T55" fmla="*/ 366 h 2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32" h="2382">
                  <a:moveTo>
                    <a:pt x="1532" y="201"/>
                  </a:moveTo>
                  <a:cubicBezTo>
                    <a:pt x="1532" y="2181"/>
                    <a:pt x="1532" y="2181"/>
                    <a:pt x="1532" y="2181"/>
                  </a:cubicBezTo>
                  <a:cubicBezTo>
                    <a:pt x="1532" y="2291"/>
                    <a:pt x="1442" y="2382"/>
                    <a:pt x="1331" y="2382"/>
                  </a:cubicBezTo>
                  <a:cubicBezTo>
                    <a:pt x="201" y="2382"/>
                    <a:pt x="201" y="2382"/>
                    <a:pt x="201" y="2382"/>
                  </a:cubicBezTo>
                  <a:cubicBezTo>
                    <a:pt x="90" y="2382"/>
                    <a:pt x="0" y="2291"/>
                    <a:pt x="0" y="218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91"/>
                    <a:pt x="90" y="0"/>
                    <a:pt x="201" y="0"/>
                  </a:cubicBezTo>
                  <a:cubicBezTo>
                    <a:pt x="1331" y="0"/>
                    <a:pt x="1331" y="0"/>
                    <a:pt x="1331" y="0"/>
                  </a:cubicBezTo>
                  <a:cubicBezTo>
                    <a:pt x="1442" y="0"/>
                    <a:pt x="1532" y="91"/>
                    <a:pt x="1532" y="201"/>
                  </a:cubicBezTo>
                  <a:close/>
                  <a:moveTo>
                    <a:pt x="1451" y="2181"/>
                  </a:moveTo>
                  <a:cubicBezTo>
                    <a:pt x="1451" y="2016"/>
                    <a:pt x="1451" y="2016"/>
                    <a:pt x="1451" y="2016"/>
                  </a:cubicBezTo>
                  <a:cubicBezTo>
                    <a:pt x="81" y="2016"/>
                    <a:pt x="81" y="2016"/>
                    <a:pt x="81" y="2016"/>
                  </a:cubicBezTo>
                  <a:cubicBezTo>
                    <a:pt x="81" y="2181"/>
                    <a:pt x="81" y="2181"/>
                    <a:pt x="81" y="2181"/>
                  </a:cubicBezTo>
                  <a:cubicBezTo>
                    <a:pt x="81" y="2247"/>
                    <a:pt x="135" y="2301"/>
                    <a:pt x="201" y="2301"/>
                  </a:cubicBezTo>
                  <a:cubicBezTo>
                    <a:pt x="1331" y="2301"/>
                    <a:pt x="1331" y="2301"/>
                    <a:pt x="1331" y="2301"/>
                  </a:cubicBezTo>
                  <a:cubicBezTo>
                    <a:pt x="1397" y="2301"/>
                    <a:pt x="1451" y="2247"/>
                    <a:pt x="1451" y="2181"/>
                  </a:cubicBezTo>
                  <a:close/>
                  <a:moveTo>
                    <a:pt x="1451" y="1935"/>
                  </a:moveTo>
                  <a:cubicBezTo>
                    <a:pt x="1451" y="447"/>
                    <a:pt x="1451" y="447"/>
                    <a:pt x="1451" y="447"/>
                  </a:cubicBezTo>
                  <a:cubicBezTo>
                    <a:pt x="81" y="447"/>
                    <a:pt x="81" y="447"/>
                    <a:pt x="81" y="447"/>
                  </a:cubicBezTo>
                  <a:cubicBezTo>
                    <a:pt x="81" y="1935"/>
                    <a:pt x="81" y="1935"/>
                    <a:pt x="81" y="1935"/>
                  </a:cubicBezTo>
                  <a:lnTo>
                    <a:pt x="1451" y="1935"/>
                  </a:lnTo>
                  <a:close/>
                  <a:moveTo>
                    <a:pt x="1451" y="366"/>
                  </a:moveTo>
                  <a:cubicBezTo>
                    <a:pt x="1451" y="201"/>
                    <a:pt x="1451" y="201"/>
                    <a:pt x="1451" y="201"/>
                  </a:cubicBezTo>
                  <a:cubicBezTo>
                    <a:pt x="1451" y="135"/>
                    <a:pt x="1397" y="81"/>
                    <a:pt x="1331" y="81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135" y="81"/>
                    <a:pt x="81" y="135"/>
                    <a:pt x="81" y="201"/>
                  </a:cubicBezTo>
                  <a:cubicBezTo>
                    <a:pt x="81" y="366"/>
                    <a:pt x="81" y="366"/>
                    <a:pt x="81" y="366"/>
                  </a:cubicBezTo>
                  <a:lnTo>
                    <a:pt x="1451" y="3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8" name="Freeform 9">
              <a:extLst>
                <a:ext uri="{FF2B5EF4-FFF2-40B4-BE49-F238E27FC236}">
                  <a16:creationId xmlns:a16="http://schemas.microsoft.com/office/drawing/2014/main" id="{48945286-D005-4457-8C3A-753181F55D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0275" y="3444875"/>
              <a:ext cx="1458913" cy="1462088"/>
            </a:xfrm>
            <a:custGeom>
              <a:avLst/>
              <a:gdLst>
                <a:gd name="T0" fmla="*/ 1112 w 1112"/>
                <a:gd name="T1" fmla="*/ 561 h 1117"/>
                <a:gd name="T2" fmla="*/ 1059 w 1112"/>
                <a:gd name="T3" fmla="*/ 716 h 1117"/>
                <a:gd name="T4" fmla="*/ 986 w 1112"/>
                <a:gd name="T5" fmla="*/ 771 h 1117"/>
                <a:gd name="T6" fmla="*/ 1027 w 1112"/>
                <a:gd name="T7" fmla="*/ 857 h 1117"/>
                <a:gd name="T8" fmla="*/ 802 w 1112"/>
                <a:gd name="T9" fmla="*/ 1026 h 1117"/>
                <a:gd name="T10" fmla="*/ 711 w 1112"/>
                <a:gd name="T11" fmla="*/ 1014 h 1117"/>
                <a:gd name="T12" fmla="*/ 680 w 1112"/>
                <a:gd name="T13" fmla="*/ 1103 h 1117"/>
                <a:gd name="T14" fmla="*/ 432 w 1112"/>
                <a:gd name="T15" fmla="*/ 1103 h 1117"/>
                <a:gd name="T16" fmla="*/ 401 w 1112"/>
                <a:gd name="T17" fmla="*/ 1014 h 1117"/>
                <a:gd name="T18" fmla="*/ 310 w 1112"/>
                <a:gd name="T19" fmla="*/ 1026 h 1117"/>
                <a:gd name="T20" fmla="*/ 85 w 1112"/>
                <a:gd name="T21" fmla="*/ 857 h 1117"/>
                <a:gd name="T22" fmla="*/ 126 w 1112"/>
                <a:gd name="T23" fmla="*/ 772 h 1117"/>
                <a:gd name="T24" fmla="*/ 53 w 1112"/>
                <a:gd name="T25" fmla="*/ 716 h 1117"/>
                <a:gd name="T26" fmla="*/ 0 w 1112"/>
                <a:gd name="T27" fmla="*/ 561 h 1117"/>
                <a:gd name="T28" fmla="*/ 53 w 1112"/>
                <a:gd name="T29" fmla="*/ 406 h 1117"/>
                <a:gd name="T30" fmla="*/ 126 w 1112"/>
                <a:gd name="T31" fmla="*/ 351 h 1117"/>
                <a:gd name="T32" fmla="*/ 85 w 1112"/>
                <a:gd name="T33" fmla="*/ 265 h 1117"/>
                <a:gd name="T34" fmla="*/ 310 w 1112"/>
                <a:gd name="T35" fmla="*/ 96 h 1117"/>
                <a:gd name="T36" fmla="*/ 401 w 1112"/>
                <a:gd name="T37" fmla="*/ 108 h 1117"/>
                <a:gd name="T38" fmla="*/ 432 w 1112"/>
                <a:gd name="T39" fmla="*/ 19 h 1117"/>
                <a:gd name="T40" fmla="*/ 711 w 1112"/>
                <a:gd name="T41" fmla="*/ 58 h 1117"/>
                <a:gd name="T42" fmla="*/ 766 w 1112"/>
                <a:gd name="T43" fmla="*/ 131 h 1117"/>
                <a:gd name="T44" fmla="*/ 852 w 1112"/>
                <a:gd name="T45" fmla="*/ 90 h 1117"/>
                <a:gd name="T46" fmla="*/ 1021 w 1112"/>
                <a:gd name="T47" fmla="*/ 315 h 1117"/>
                <a:gd name="T48" fmla="*/ 1009 w 1112"/>
                <a:gd name="T49" fmla="*/ 406 h 1117"/>
                <a:gd name="T50" fmla="*/ 1099 w 1112"/>
                <a:gd name="T51" fmla="*/ 437 h 1117"/>
                <a:gd name="T52" fmla="*/ 1026 w 1112"/>
                <a:gd name="T53" fmla="*/ 487 h 1117"/>
                <a:gd name="T54" fmla="*/ 940 w 1112"/>
                <a:gd name="T55" fmla="*/ 457 h 1117"/>
                <a:gd name="T56" fmla="*/ 907 w 1112"/>
                <a:gd name="T57" fmla="*/ 315 h 1117"/>
                <a:gd name="T58" fmla="*/ 836 w 1112"/>
                <a:gd name="T59" fmla="*/ 176 h 1117"/>
                <a:gd name="T60" fmla="*/ 754 w 1112"/>
                <a:gd name="T61" fmla="*/ 216 h 1117"/>
                <a:gd name="T62" fmla="*/ 630 w 1112"/>
                <a:gd name="T63" fmla="*/ 138 h 1117"/>
                <a:gd name="T64" fmla="*/ 482 w 1112"/>
                <a:gd name="T65" fmla="*/ 91 h 1117"/>
                <a:gd name="T66" fmla="*/ 452 w 1112"/>
                <a:gd name="T67" fmla="*/ 177 h 1117"/>
                <a:gd name="T68" fmla="*/ 310 w 1112"/>
                <a:gd name="T69" fmla="*/ 210 h 1117"/>
                <a:gd name="T70" fmla="*/ 171 w 1112"/>
                <a:gd name="T71" fmla="*/ 281 h 1117"/>
                <a:gd name="T72" fmla="*/ 211 w 1112"/>
                <a:gd name="T73" fmla="*/ 363 h 1117"/>
                <a:gd name="T74" fmla="*/ 133 w 1112"/>
                <a:gd name="T75" fmla="*/ 487 h 1117"/>
                <a:gd name="T76" fmla="*/ 80 w 1112"/>
                <a:gd name="T77" fmla="*/ 561 h 1117"/>
                <a:gd name="T78" fmla="*/ 133 w 1112"/>
                <a:gd name="T79" fmla="*/ 635 h 1117"/>
                <a:gd name="T80" fmla="*/ 211 w 1112"/>
                <a:gd name="T81" fmla="*/ 759 h 1117"/>
                <a:gd name="T82" fmla="*/ 171 w 1112"/>
                <a:gd name="T83" fmla="*/ 841 h 1117"/>
                <a:gd name="T84" fmla="*/ 310 w 1112"/>
                <a:gd name="T85" fmla="*/ 913 h 1117"/>
                <a:gd name="T86" fmla="*/ 452 w 1112"/>
                <a:gd name="T87" fmla="*/ 945 h 1117"/>
                <a:gd name="T88" fmla="*/ 482 w 1112"/>
                <a:gd name="T89" fmla="*/ 1031 h 1117"/>
                <a:gd name="T90" fmla="*/ 630 w 1112"/>
                <a:gd name="T91" fmla="*/ 984 h 1117"/>
                <a:gd name="T92" fmla="*/ 754 w 1112"/>
                <a:gd name="T93" fmla="*/ 906 h 1117"/>
                <a:gd name="T94" fmla="*/ 836 w 1112"/>
                <a:gd name="T95" fmla="*/ 946 h 1117"/>
                <a:gd name="T96" fmla="*/ 907 w 1112"/>
                <a:gd name="T97" fmla="*/ 807 h 1117"/>
                <a:gd name="T98" fmla="*/ 940 w 1112"/>
                <a:gd name="T99" fmla="*/ 665 h 1117"/>
                <a:gd name="T100" fmla="*/ 1026 w 1112"/>
                <a:gd name="T101" fmla="*/ 635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12" h="1117">
                  <a:moveTo>
                    <a:pt x="1099" y="437"/>
                  </a:moveTo>
                  <a:cubicBezTo>
                    <a:pt x="1108" y="478"/>
                    <a:pt x="1112" y="519"/>
                    <a:pt x="1112" y="561"/>
                  </a:cubicBezTo>
                  <a:cubicBezTo>
                    <a:pt x="1112" y="603"/>
                    <a:pt x="1108" y="644"/>
                    <a:pt x="1099" y="685"/>
                  </a:cubicBezTo>
                  <a:cubicBezTo>
                    <a:pt x="1094" y="703"/>
                    <a:pt x="1078" y="716"/>
                    <a:pt x="1059" y="716"/>
                  </a:cubicBezTo>
                  <a:cubicBezTo>
                    <a:pt x="1009" y="716"/>
                    <a:pt x="1009" y="716"/>
                    <a:pt x="1009" y="716"/>
                  </a:cubicBezTo>
                  <a:cubicBezTo>
                    <a:pt x="1002" y="735"/>
                    <a:pt x="994" y="753"/>
                    <a:pt x="986" y="771"/>
                  </a:cubicBezTo>
                  <a:cubicBezTo>
                    <a:pt x="1021" y="807"/>
                    <a:pt x="1021" y="807"/>
                    <a:pt x="1021" y="807"/>
                  </a:cubicBezTo>
                  <a:cubicBezTo>
                    <a:pt x="1035" y="821"/>
                    <a:pt x="1037" y="841"/>
                    <a:pt x="1027" y="857"/>
                  </a:cubicBezTo>
                  <a:cubicBezTo>
                    <a:pt x="983" y="927"/>
                    <a:pt x="922" y="988"/>
                    <a:pt x="852" y="1032"/>
                  </a:cubicBezTo>
                  <a:cubicBezTo>
                    <a:pt x="836" y="1042"/>
                    <a:pt x="816" y="1040"/>
                    <a:pt x="802" y="1026"/>
                  </a:cubicBezTo>
                  <a:cubicBezTo>
                    <a:pt x="766" y="991"/>
                    <a:pt x="766" y="991"/>
                    <a:pt x="766" y="991"/>
                  </a:cubicBezTo>
                  <a:cubicBezTo>
                    <a:pt x="748" y="999"/>
                    <a:pt x="730" y="1007"/>
                    <a:pt x="711" y="1014"/>
                  </a:cubicBezTo>
                  <a:cubicBezTo>
                    <a:pt x="711" y="1064"/>
                    <a:pt x="711" y="1064"/>
                    <a:pt x="711" y="1064"/>
                  </a:cubicBezTo>
                  <a:cubicBezTo>
                    <a:pt x="711" y="1083"/>
                    <a:pt x="698" y="1099"/>
                    <a:pt x="680" y="1103"/>
                  </a:cubicBezTo>
                  <a:cubicBezTo>
                    <a:pt x="639" y="1113"/>
                    <a:pt x="598" y="1117"/>
                    <a:pt x="556" y="1117"/>
                  </a:cubicBezTo>
                  <a:cubicBezTo>
                    <a:pt x="514" y="1117"/>
                    <a:pt x="473" y="1113"/>
                    <a:pt x="432" y="1103"/>
                  </a:cubicBezTo>
                  <a:cubicBezTo>
                    <a:pt x="414" y="1099"/>
                    <a:pt x="401" y="1083"/>
                    <a:pt x="401" y="1064"/>
                  </a:cubicBezTo>
                  <a:cubicBezTo>
                    <a:pt x="401" y="1014"/>
                    <a:pt x="401" y="1014"/>
                    <a:pt x="401" y="1014"/>
                  </a:cubicBezTo>
                  <a:cubicBezTo>
                    <a:pt x="382" y="1007"/>
                    <a:pt x="364" y="999"/>
                    <a:pt x="346" y="991"/>
                  </a:cubicBezTo>
                  <a:cubicBezTo>
                    <a:pt x="310" y="1026"/>
                    <a:pt x="310" y="1026"/>
                    <a:pt x="310" y="1026"/>
                  </a:cubicBezTo>
                  <a:cubicBezTo>
                    <a:pt x="296" y="1040"/>
                    <a:pt x="276" y="1042"/>
                    <a:pt x="260" y="1032"/>
                  </a:cubicBezTo>
                  <a:cubicBezTo>
                    <a:pt x="190" y="988"/>
                    <a:pt x="129" y="927"/>
                    <a:pt x="85" y="857"/>
                  </a:cubicBezTo>
                  <a:cubicBezTo>
                    <a:pt x="75" y="841"/>
                    <a:pt x="77" y="821"/>
                    <a:pt x="91" y="807"/>
                  </a:cubicBezTo>
                  <a:cubicBezTo>
                    <a:pt x="126" y="772"/>
                    <a:pt x="126" y="772"/>
                    <a:pt x="126" y="772"/>
                  </a:cubicBezTo>
                  <a:cubicBezTo>
                    <a:pt x="118" y="753"/>
                    <a:pt x="110" y="735"/>
                    <a:pt x="103" y="716"/>
                  </a:cubicBezTo>
                  <a:cubicBezTo>
                    <a:pt x="53" y="716"/>
                    <a:pt x="53" y="716"/>
                    <a:pt x="53" y="716"/>
                  </a:cubicBezTo>
                  <a:cubicBezTo>
                    <a:pt x="34" y="716"/>
                    <a:pt x="18" y="703"/>
                    <a:pt x="14" y="685"/>
                  </a:cubicBezTo>
                  <a:cubicBezTo>
                    <a:pt x="4" y="644"/>
                    <a:pt x="0" y="603"/>
                    <a:pt x="0" y="561"/>
                  </a:cubicBezTo>
                  <a:cubicBezTo>
                    <a:pt x="0" y="519"/>
                    <a:pt x="4" y="478"/>
                    <a:pt x="14" y="437"/>
                  </a:cubicBezTo>
                  <a:cubicBezTo>
                    <a:pt x="18" y="419"/>
                    <a:pt x="34" y="406"/>
                    <a:pt x="53" y="406"/>
                  </a:cubicBezTo>
                  <a:cubicBezTo>
                    <a:pt x="103" y="406"/>
                    <a:pt x="103" y="406"/>
                    <a:pt x="103" y="406"/>
                  </a:cubicBezTo>
                  <a:cubicBezTo>
                    <a:pt x="110" y="387"/>
                    <a:pt x="118" y="369"/>
                    <a:pt x="126" y="351"/>
                  </a:cubicBezTo>
                  <a:cubicBezTo>
                    <a:pt x="91" y="315"/>
                    <a:pt x="91" y="315"/>
                    <a:pt x="91" y="315"/>
                  </a:cubicBezTo>
                  <a:cubicBezTo>
                    <a:pt x="77" y="301"/>
                    <a:pt x="75" y="281"/>
                    <a:pt x="85" y="265"/>
                  </a:cubicBezTo>
                  <a:cubicBezTo>
                    <a:pt x="129" y="195"/>
                    <a:pt x="190" y="134"/>
                    <a:pt x="260" y="90"/>
                  </a:cubicBezTo>
                  <a:cubicBezTo>
                    <a:pt x="276" y="80"/>
                    <a:pt x="296" y="82"/>
                    <a:pt x="310" y="96"/>
                  </a:cubicBezTo>
                  <a:cubicBezTo>
                    <a:pt x="346" y="131"/>
                    <a:pt x="346" y="131"/>
                    <a:pt x="346" y="131"/>
                  </a:cubicBezTo>
                  <a:cubicBezTo>
                    <a:pt x="364" y="123"/>
                    <a:pt x="382" y="115"/>
                    <a:pt x="401" y="108"/>
                  </a:cubicBezTo>
                  <a:cubicBezTo>
                    <a:pt x="401" y="58"/>
                    <a:pt x="401" y="58"/>
                    <a:pt x="401" y="58"/>
                  </a:cubicBezTo>
                  <a:cubicBezTo>
                    <a:pt x="401" y="39"/>
                    <a:pt x="414" y="23"/>
                    <a:pt x="432" y="19"/>
                  </a:cubicBezTo>
                  <a:cubicBezTo>
                    <a:pt x="513" y="0"/>
                    <a:pt x="599" y="0"/>
                    <a:pt x="680" y="19"/>
                  </a:cubicBezTo>
                  <a:cubicBezTo>
                    <a:pt x="698" y="23"/>
                    <a:pt x="711" y="39"/>
                    <a:pt x="711" y="58"/>
                  </a:cubicBezTo>
                  <a:cubicBezTo>
                    <a:pt x="711" y="108"/>
                    <a:pt x="711" y="108"/>
                    <a:pt x="711" y="108"/>
                  </a:cubicBezTo>
                  <a:cubicBezTo>
                    <a:pt x="730" y="115"/>
                    <a:pt x="748" y="123"/>
                    <a:pt x="766" y="131"/>
                  </a:cubicBezTo>
                  <a:cubicBezTo>
                    <a:pt x="802" y="96"/>
                    <a:pt x="802" y="96"/>
                    <a:pt x="802" y="96"/>
                  </a:cubicBezTo>
                  <a:cubicBezTo>
                    <a:pt x="816" y="82"/>
                    <a:pt x="836" y="80"/>
                    <a:pt x="852" y="90"/>
                  </a:cubicBezTo>
                  <a:cubicBezTo>
                    <a:pt x="922" y="134"/>
                    <a:pt x="983" y="195"/>
                    <a:pt x="1027" y="265"/>
                  </a:cubicBezTo>
                  <a:cubicBezTo>
                    <a:pt x="1037" y="281"/>
                    <a:pt x="1035" y="301"/>
                    <a:pt x="1021" y="315"/>
                  </a:cubicBezTo>
                  <a:cubicBezTo>
                    <a:pt x="986" y="351"/>
                    <a:pt x="986" y="351"/>
                    <a:pt x="986" y="351"/>
                  </a:cubicBezTo>
                  <a:cubicBezTo>
                    <a:pt x="994" y="369"/>
                    <a:pt x="1002" y="387"/>
                    <a:pt x="1009" y="406"/>
                  </a:cubicBezTo>
                  <a:cubicBezTo>
                    <a:pt x="1059" y="406"/>
                    <a:pt x="1059" y="406"/>
                    <a:pt x="1059" y="406"/>
                  </a:cubicBezTo>
                  <a:cubicBezTo>
                    <a:pt x="1078" y="406"/>
                    <a:pt x="1094" y="419"/>
                    <a:pt x="1099" y="437"/>
                  </a:cubicBezTo>
                  <a:close/>
                  <a:moveTo>
                    <a:pt x="1032" y="561"/>
                  </a:moveTo>
                  <a:cubicBezTo>
                    <a:pt x="1032" y="536"/>
                    <a:pt x="1030" y="511"/>
                    <a:pt x="1026" y="487"/>
                  </a:cubicBezTo>
                  <a:cubicBezTo>
                    <a:pt x="979" y="487"/>
                    <a:pt x="979" y="487"/>
                    <a:pt x="979" y="487"/>
                  </a:cubicBezTo>
                  <a:cubicBezTo>
                    <a:pt x="961" y="487"/>
                    <a:pt x="945" y="475"/>
                    <a:pt x="940" y="457"/>
                  </a:cubicBezTo>
                  <a:cubicBezTo>
                    <a:pt x="931" y="424"/>
                    <a:pt x="918" y="393"/>
                    <a:pt x="901" y="363"/>
                  </a:cubicBezTo>
                  <a:cubicBezTo>
                    <a:pt x="892" y="347"/>
                    <a:pt x="895" y="328"/>
                    <a:pt x="907" y="315"/>
                  </a:cubicBezTo>
                  <a:cubicBezTo>
                    <a:pt x="941" y="281"/>
                    <a:pt x="941" y="281"/>
                    <a:pt x="941" y="281"/>
                  </a:cubicBezTo>
                  <a:cubicBezTo>
                    <a:pt x="912" y="241"/>
                    <a:pt x="876" y="206"/>
                    <a:pt x="836" y="176"/>
                  </a:cubicBezTo>
                  <a:cubicBezTo>
                    <a:pt x="802" y="210"/>
                    <a:pt x="802" y="210"/>
                    <a:pt x="802" y="210"/>
                  </a:cubicBezTo>
                  <a:cubicBezTo>
                    <a:pt x="790" y="222"/>
                    <a:pt x="770" y="225"/>
                    <a:pt x="754" y="216"/>
                  </a:cubicBezTo>
                  <a:cubicBezTo>
                    <a:pt x="724" y="199"/>
                    <a:pt x="693" y="186"/>
                    <a:pt x="660" y="177"/>
                  </a:cubicBezTo>
                  <a:cubicBezTo>
                    <a:pt x="642" y="172"/>
                    <a:pt x="630" y="156"/>
                    <a:pt x="630" y="138"/>
                  </a:cubicBezTo>
                  <a:cubicBezTo>
                    <a:pt x="630" y="91"/>
                    <a:pt x="630" y="91"/>
                    <a:pt x="630" y="91"/>
                  </a:cubicBezTo>
                  <a:cubicBezTo>
                    <a:pt x="581" y="83"/>
                    <a:pt x="531" y="83"/>
                    <a:pt x="482" y="91"/>
                  </a:cubicBezTo>
                  <a:cubicBezTo>
                    <a:pt x="482" y="138"/>
                    <a:pt x="482" y="138"/>
                    <a:pt x="482" y="138"/>
                  </a:cubicBezTo>
                  <a:cubicBezTo>
                    <a:pt x="482" y="156"/>
                    <a:pt x="469" y="172"/>
                    <a:pt x="452" y="177"/>
                  </a:cubicBezTo>
                  <a:cubicBezTo>
                    <a:pt x="419" y="186"/>
                    <a:pt x="388" y="199"/>
                    <a:pt x="358" y="216"/>
                  </a:cubicBezTo>
                  <a:cubicBezTo>
                    <a:pt x="342" y="225"/>
                    <a:pt x="322" y="222"/>
                    <a:pt x="310" y="210"/>
                  </a:cubicBezTo>
                  <a:cubicBezTo>
                    <a:pt x="276" y="176"/>
                    <a:pt x="276" y="176"/>
                    <a:pt x="276" y="176"/>
                  </a:cubicBezTo>
                  <a:cubicBezTo>
                    <a:pt x="236" y="205"/>
                    <a:pt x="200" y="241"/>
                    <a:pt x="171" y="281"/>
                  </a:cubicBezTo>
                  <a:cubicBezTo>
                    <a:pt x="205" y="315"/>
                    <a:pt x="205" y="315"/>
                    <a:pt x="205" y="315"/>
                  </a:cubicBezTo>
                  <a:cubicBezTo>
                    <a:pt x="217" y="327"/>
                    <a:pt x="220" y="347"/>
                    <a:pt x="211" y="363"/>
                  </a:cubicBezTo>
                  <a:cubicBezTo>
                    <a:pt x="194" y="393"/>
                    <a:pt x="181" y="424"/>
                    <a:pt x="172" y="457"/>
                  </a:cubicBezTo>
                  <a:cubicBezTo>
                    <a:pt x="167" y="475"/>
                    <a:pt x="151" y="487"/>
                    <a:pt x="133" y="487"/>
                  </a:cubicBezTo>
                  <a:cubicBezTo>
                    <a:pt x="86" y="487"/>
                    <a:pt x="86" y="487"/>
                    <a:pt x="86" y="487"/>
                  </a:cubicBezTo>
                  <a:cubicBezTo>
                    <a:pt x="82" y="511"/>
                    <a:pt x="80" y="536"/>
                    <a:pt x="80" y="561"/>
                  </a:cubicBezTo>
                  <a:cubicBezTo>
                    <a:pt x="80" y="586"/>
                    <a:pt x="82" y="611"/>
                    <a:pt x="86" y="635"/>
                  </a:cubicBezTo>
                  <a:cubicBezTo>
                    <a:pt x="133" y="635"/>
                    <a:pt x="133" y="635"/>
                    <a:pt x="133" y="635"/>
                  </a:cubicBezTo>
                  <a:cubicBezTo>
                    <a:pt x="151" y="635"/>
                    <a:pt x="167" y="648"/>
                    <a:pt x="172" y="665"/>
                  </a:cubicBezTo>
                  <a:cubicBezTo>
                    <a:pt x="181" y="698"/>
                    <a:pt x="194" y="729"/>
                    <a:pt x="211" y="759"/>
                  </a:cubicBezTo>
                  <a:cubicBezTo>
                    <a:pt x="220" y="775"/>
                    <a:pt x="217" y="795"/>
                    <a:pt x="205" y="807"/>
                  </a:cubicBezTo>
                  <a:cubicBezTo>
                    <a:pt x="171" y="841"/>
                    <a:pt x="171" y="841"/>
                    <a:pt x="171" y="841"/>
                  </a:cubicBezTo>
                  <a:cubicBezTo>
                    <a:pt x="200" y="881"/>
                    <a:pt x="236" y="916"/>
                    <a:pt x="276" y="946"/>
                  </a:cubicBezTo>
                  <a:cubicBezTo>
                    <a:pt x="310" y="913"/>
                    <a:pt x="310" y="913"/>
                    <a:pt x="310" y="913"/>
                  </a:cubicBezTo>
                  <a:cubicBezTo>
                    <a:pt x="322" y="900"/>
                    <a:pt x="342" y="897"/>
                    <a:pt x="358" y="906"/>
                  </a:cubicBezTo>
                  <a:cubicBezTo>
                    <a:pt x="388" y="923"/>
                    <a:pt x="419" y="936"/>
                    <a:pt x="452" y="945"/>
                  </a:cubicBezTo>
                  <a:cubicBezTo>
                    <a:pt x="469" y="950"/>
                    <a:pt x="482" y="966"/>
                    <a:pt x="482" y="984"/>
                  </a:cubicBezTo>
                  <a:cubicBezTo>
                    <a:pt x="482" y="1031"/>
                    <a:pt x="482" y="1031"/>
                    <a:pt x="482" y="1031"/>
                  </a:cubicBezTo>
                  <a:cubicBezTo>
                    <a:pt x="531" y="1039"/>
                    <a:pt x="581" y="1039"/>
                    <a:pt x="630" y="1031"/>
                  </a:cubicBezTo>
                  <a:cubicBezTo>
                    <a:pt x="630" y="984"/>
                    <a:pt x="630" y="984"/>
                    <a:pt x="630" y="984"/>
                  </a:cubicBezTo>
                  <a:cubicBezTo>
                    <a:pt x="630" y="966"/>
                    <a:pt x="642" y="950"/>
                    <a:pt x="660" y="945"/>
                  </a:cubicBezTo>
                  <a:cubicBezTo>
                    <a:pt x="693" y="936"/>
                    <a:pt x="724" y="923"/>
                    <a:pt x="754" y="906"/>
                  </a:cubicBezTo>
                  <a:cubicBezTo>
                    <a:pt x="770" y="897"/>
                    <a:pt x="790" y="900"/>
                    <a:pt x="802" y="912"/>
                  </a:cubicBezTo>
                  <a:cubicBezTo>
                    <a:pt x="836" y="946"/>
                    <a:pt x="836" y="946"/>
                    <a:pt x="836" y="946"/>
                  </a:cubicBezTo>
                  <a:cubicBezTo>
                    <a:pt x="876" y="916"/>
                    <a:pt x="912" y="881"/>
                    <a:pt x="941" y="841"/>
                  </a:cubicBezTo>
                  <a:cubicBezTo>
                    <a:pt x="907" y="807"/>
                    <a:pt x="907" y="807"/>
                    <a:pt x="907" y="807"/>
                  </a:cubicBezTo>
                  <a:cubicBezTo>
                    <a:pt x="895" y="795"/>
                    <a:pt x="892" y="775"/>
                    <a:pt x="901" y="759"/>
                  </a:cubicBezTo>
                  <a:cubicBezTo>
                    <a:pt x="918" y="729"/>
                    <a:pt x="931" y="698"/>
                    <a:pt x="940" y="665"/>
                  </a:cubicBezTo>
                  <a:cubicBezTo>
                    <a:pt x="945" y="648"/>
                    <a:pt x="961" y="635"/>
                    <a:pt x="979" y="635"/>
                  </a:cubicBezTo>
                  <a:cubicBezTo>
                    <a:pt x="1026" y="635"/>
                    <a:pt x="1026" y="635"/>
                    <a:pt x="1026" y="635"/>
                  </a:cubicBezTo>
                  <a:cubicBezTo>
                    <a:pt x="1030" y="611"/>
                    <a:pt x="1032" y="586"/>
                    <a:pt x="1032" y="5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9" name="Freeform 10">
              <a:extLst>
                <a:ext uri="{FF2B5EF4-FFF2-40B4-BE49-F238E27FC236}">
                  <a16:creationId xmlns:a16="http://schemas.microsoft.com/office/drawing/2014/main" id="{E8DF3EE6-E2C9-4A15-B087-50279C0621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8888" y="3779838"/>
              <a:ext cx="803275" cy="800100"/>
            </a:xfrm>
            <a:custGeom>
              <a:avLst/>
              <a:gdLst>
                <a:gd name="T0" fmla="*/ 306 w 612"/>
                <a:gd name="T1" fmla="*/ 0 h 612"/>
                <a:gd name="T2" fmla="*/ 612 w 612"/>
                <a:gd name="T3" fmla="*/ 306 h 612"/>
                <a:gd name="T4" fmla="*/ 306 w 612"/>
                <a:gd name="T5" fmla="*/ 612 h 612"/>
                <a:gd name="T6" fmla="*/ 0 w 612"/>
                <a:gd name="T7" fmla="*/ 306 h 612"/>
                <a:gd name="T8" fmla="*/ 306 w 612"/>
                <a:gd name="T9" fmla="*/ 0 h 612"/>
                <a:gd name="T10" fmla="*/ 532 w 612"/>
                <a:gd name="T11" fmla="*/ 306 h 612"/>
                <a:gd name="T12" fmla="*/ 306 w 612"/>
                <a:gd name="T13" fmla="*/ 80 h 612"/>
                <a:gd name="T14" fmla="*/ 80 w 612"/>
                <a:gd name="T15" fmla="*/ 306 h 612"/>
                <a:gd name="T16" fmla="*/ 306 w 612"/>
                <a:gd name="T17" fmla="*/ 532 h 612"/>
                <a:gd name="T18" fmla="*/ 532 w 612"/>
                <a:gd name="T19" fmla="*/ 306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2" h="612">
                  <a:moveTo>
                    <a:pt x="306" y="0"/>
                  </a:moveTo>
                  <a:cubicBezTo>
                    <a:pt x="475" y="0"/>
                    <a:pt x="612" y="137"/>
                    <a:pt x="612" y="306"/>
                  </a:cubicBezTo>
                  <a:cubicBezTo>
                    <a:pt x="612" y="475"/>
                    <a:pt x="475" y="612"/>
                    <a:pt x="306" y="612"/>
                  </a:cubicBezTo>
                  <a:cubicBezTo>
                    <a:pt x="137" y="612"/>
                    <a:pt x="0" y="475"/>
                    <a:pt x="0" y="306"/>
                  </a:cubicBezTo>
                  <a:cubicBezTo>
                    <a:pt x="0" y="137"/>
                    <a:pt x="137" y="0"/>
                    <a:pt x="306" y="0"/>
                  </a:cubicBezTo>
                  <a:close/>
                  <a:moveTo>
                    <a:pt x="532" y="306"/>
                  </a:moveTo>
                  <a:cubicBezTo>
                    <a:pt x="532" y="182"/>
                    <a:pt x="430" y="80"/>
                    <a:pt x="306" y="80"/>
                  </a:cubicBezTo>
                  <a:cubicBezTo>
                    <a:pt x="181" y="80"/>
                    <a:pt x="80" y="182"/>
                    <a:pt x="80" y="306"/>
                  </a:cubicBezTo>
                  <a:cubicBezTo>
                    <a:pt x="80" y="430"/>
                    <a:pt x="181" y="532"/>
                    <a:pt x="306" y="532"/>
                  </a:cubicBezTo>
                  <a:cubicBezTo>
                    <a:pt x="430" y="532"/>
                    <a:pt x="532" y="430"/>
                    <a:pt x="532" y="30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20" name="Freeform 11">
              <a:extLst>
                <a:ext uri="{FF2B5EF4-FFF2-40B4-BE49-F238E27FC236}">
                  <a16:creationId xmlns:a16="http://schemas.microsoft.com/office/drawing/2014/main" id="{7B4F3F95-59C2-4F02-8F21-27D7F59ACE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2712" y="2860674"/>
              <a:ext cx="555625" cy="106362"/>
            </a:xfrm>
            <a:custGeom>
              <a:avLst/>
              <a:gdLst>
                <a:gd name="T0" fmla="*/ 384 w 424"/>
                <a:gd name="T1" fmla="*/ 0 h 81"/>
                <a:gd name="T2" fmla="*/ 424 w 424"/>
                <a:gd name="T3" fmla="*/ 41 h 81"/>
                <a:gd name="T4" fmla="*/ 384 w 424"/>
                <a:gd name="T5" fmla="*/ 81 h 81"/>
                <a:gd name="T6" fmla="*/ 40 w 424"/>
                <a:gd name="T7" fmla="*/ 81 h 81"/>
                <a:gd name="T8" fmla="*/ 0 w 424"/>
                <a:gd name="T9" fmla="*/ 41 h 81"/>
                <a:gd name="T10" fmla="*/ 40 w 424"/>
                <a:gd name="T11" fmla="*/ 0 h 81"/>
                <a:gd name="T12" fmla="*/ 384 w 424"/>
                <a:gd name="T1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4" h="81">
                  <a:moveTo>
                    <a:pt x="384" y="0"/>
                  </a:moveTo>
                  <a:cubicBezTo>
                    <a:pt x="406" y="0"/>
                    <a:pt x="424" y="18"/>
                    <a:pt x="424" y="41"/>
                  </a:cubicBezTo>
                  <a:cubicBezTo>
                    <a:pt x="424" y="63"/>
                    <a:pt x="406" y="81"/>
                    <a:pt x="384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18" y="81"/>
                    <a:pt x="0" y="63"/>
                    <a:pt x="0" y="41"/>
                  </a:cubicBezTo>
                  <a:cubicBezTo>
                    <a:pt x="0" y="18"/>
                    <a:pt x="18" y="0"/>
                    <a:pt x="40" y="0"/>
                  </a:cubicBezTo>
                  <a:lnTo>
                    <a:pt x="38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49913026-A93A-467A-BA3A-B78C5CD52E5A}"/>
              </a:ext>
            </a:extLst>
          </p:cNvPr>
          <p:cNvGrpSpPr/>
          <p:nvPr/>
        </p:nvGrpSpPr>
        <p:grpSpPr>
          <a:xfrm rot="19942417">
            <a:off x="4025619" y="4614685"/>
            <a:ext cx="420901" cy="506212"/>
            <a:chOff x="-407988" y="1982788"/>
            <a:chExt cx="2595563" cy="3121659"/>
          </a:xfrm>
          <a:solidFill>
            <a:schemeClr val="bg1">
              <a:lumMod val="65000"/>
            </a:schemeClr>
          </a:solidFill>
        </p:grpSpPr>
        <p:sp>
          <p:nvSpPr>
            <p:cNvPr id="193" name="Freeform 32">
              <a:extLst>
                <a:ext uri="{FF2B5EF4-FFF2-40B4-BE49-F238E27FC236}">
                  <a16:creationId xmlns:a16="http://schemas.microsoft.com/office/drawing/2014/main" id="{889DF114-0F89-4F3A-BD31-14EBADD2CD7B}"/>
                </a:ext>
              </a:extLst>
            </p:cNvPr>
            <p:cNvSpPr>
              <a:spLocks/>
            </p:cNvSpPr>
            <p:nvPr/>
          </p:nvSpPr>
          <p:spPr bwMode="auto">
            <a:xfrm rot="1734044">
              <a:off x="129031" y="2429437"/>
              <a:ext cx="1525594" cy="1939928"/>
            </a:xfrm>
            <a:custGeom>
              <a:avLst/>
              <a:gdLst>
                <a:gd name="T0" fmla="*/ 554 w 708"/>
                <a:gd name="T1" fmla="*/ 701 h 903"/>
                <a:gd name="T2" fmla="*/ 702 w 708"/>
                <a:gd name="T3" fmla="*/ 349 h 903"/>
                <a:gd name="T4" fmla="*/ 362 w 708"/>
                <a:gd name="T5" fmla="*/ 7 h 903"/>
                <a:gd name="T6" fmla="*/ 4 w 708"/>
                <a:gd name="T7" fmla="*/ 357 h 903"/>
                <a:gd name="T8" fmla="*/ 68 w 708"/>
                <a:gd name="T9" fmla="*/ 555 h 903"/>
                <a:gd name="T10" fmla="*/ 205 w 708"/>
                <a:gd name="T11" fmla="*/ 903 h 903"/>
                <a:gd name="T12" fmla="*/ 503 w 708"/>
                <a:gd name="T13" fmla="*/ 903 h 903"/>
                <a:gd name="T14" fmla="*/ 554 w 708"/>
                <a:gd name="T15" fmla="*/ 701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8" h="903">
                  <a:moveTo>
                    <a:pt x="554" y="701"/>
                  </a:moveTo>
                  <a:cubicBezTo>
                    <a:pt x="614" y="577"/>
                    <a:pt x="708" y="503"/>
                    <a:pt x="702" y="349"/>
                  </a:cubicBezTo>
                  <a:cubicBezTo>
                    <a:pt x="696" y="195"/>
                    <a:pt x="589" y="17"/>
                    <a:pt x="362" y="7"/>
                  </a:cubicBezTo>
                  <a:cubicBezTo>
                    <a:pt x="362" y="7"/>
                    <a:pt x="40" y="0"/>
                    <a:pt x="4" y="357"/>
                  </a:cubicBezTo>
                  <a:cubicBezTo>
                    <a:pt x="4" y="357"/>
                    <a:pt x="0" y="474"/>
                    <a:pt x="68" y="555"/>
                  </a:cubicBezTo>
                  <a:cubicBezTo>
                    <a:pt x="127" y="627"/>
                    <a:pt x="195" y="753"/>
                    <a:pt x="205" y="903"/>
                  </a:cubicBezTo>
                  <a:cubicBezTo>
                    <a:pt x="503" y="903"/>
                    <a:pt x="503" y="903"/>
                    <a:pt x="503" y="903"/>
                  </a:cubicBezTo>
                  <a:cubicBezTo>
                    <a:pt x="507" y="850"/>
                    <a:pt x="520" y="772"/>
                    <a:pt x="554" y="70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/>
            </a:p>
          </p:txBody>
        </p:sp>
        <p:sp>
          <p:nvSpPr>
            <p:cNvPr id="195" name="Freeform 34">
              <a:extLst>
                <a:ext uri="{FF2B5EF4-FFF2-40B4-BE49-F238E27FC236}">
                  <a16:creationId xmlns:a16="http://schemas.microsoft.com/office/drawing/2014/main" id="{A9386663-B5D4-4C8C-994B-9975CA4F5D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875" y="3224213"/>
              <a:ext cx="393700" cy="103187"/>
            </a:xfrm>
            <a:custGeom>
              <a:avLst/>
              <a:gdLst>
                <a:gd name="T0" fmla="*/ 159 w 183"/>
                <a:gd name="T1" fmla="*/ 0 h 48"/>
                <a:gd name="T2" fmla="*/ 183 w 183"/>
                <a:gd name="T3" fmla="*/ 24 h 48"/>
                <a:gd name="T4" fmla="*/ 159 w 183"/>
                <a:gd name="T5" fmla="*/ 48 h 48"/>
                <a:gd name="T6" fmla="*/ 24 w 183"/>
                <a:gd name="T7" fmla="*/ 48 h 48"/>
                <a:gd name="T8" fmla="*/ 0 w 183"/>
                <a:gd name="T9" fmla="*/ 24 h 48"/>
                <a:gd name="T10" fmla="*/ 24 w 183"/>
                <a:gd name="T11" fmla="*/ 0 h 48"/>
                <a:gd name="T12" fmla="*/ 159 w 183"/>
                <a:gd name="T13" fmla="*/ 0 h 48"/>
                <a:gd name="T14" fmla="*/ 159 w 183"/>
                <a:gd name="T15" fmla="*/ 0 h 48"/>
                <a:gd name="T16" fmla="*/ 159 w 183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48">
                  <a:moveTo>
                    <a:pt x="159" y="0"/>
                  </a:moveTo>
                  <a:cubicBezTo>
                    <a:pt x="172" y="0"/>
                    <a:pt x="183" y="11"/>
                    <a:pt x="183" y="24"/>
                  </a:cubicBezTo>
                  <a:cubicBezTo>
                    <a:pt x="183" y="38"/>
                    <a:pt x="172" y="48"/>
                    <a:pt x="159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lnTo>
                    <a:pt x="159" y="0"/>
                  </a:lnTo>
                  <a:close/>
                  <a:moveTo>
                    <a:pt x="159" y="0"/>
                  </a:moveTo>
                  <a:cubicBezTo>
                    <a:pt x="159" y="0"/>
                    <a:pt x="159" y="0"/>
                    <a:pt x="15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6" name="Freeform 35">
              <a:extLst>
                <a:ext uri="{FF2B5EF4-FFF2-40B4-BE49-F238E27FC236}">
                  <a16:creationId xmlns:a16="http://schemas.microsoft.com/office/drawing/2014/main" id="{1D9BA9A5-70A2-4958-995C-A977185FE5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2597150"/>
              <a:ext cx="371475" cy="254000"/>
            </a:xfrm>
            <a:custGeom>
              <a:avLst/>
              <a:gdLst>
                <a:gd name="T0" fmla="*/ 165 w 172"/>
                <a:gd name="T1" fmla="*/ 15 h 118"/>
                <a:gd name="T2" fmla="*/ 156 w 172"/>
                <a:gd name="T3" fmla="*/ 48 h 118"/>
                <a:gd name="T4" fmla="*/ 40 w 172"/>
                <a:gd name="T5" fmla="*/ 115 h 118"/>
                <a:gd name="T6" fmla="*/ 28 w 172"/>
                <a:gd name="T7" fmla="*/ 118 h 118"/>
                <a:gd name="T8" fmla="*/ 7 w 172"/>
                <a:gd name="T9" fmla="*/ 106 h 118"/>
                <a:gd name="T10" fmla="*/ 16 w 172"/>
                <a:gd name="T11" fmla="*/ 74 h 118"/>
                <a:gd name="T12" fmla="*/ 132 w 172"/>
                <a:gd name="T13" fmla="*/ 6 h 118"/>
                <a:gd name="T14" fmla="*/ 165 w 172"/>
                <a:gd name="T15" fmla="*/ 15 h 118"/>
                <a:gd name="T16" fmla="*/ 165 w 172"/>
                <a:gd name="T17" fmla="*/ 15 h 118"/>
                <a:gd name="T18" fmla="*/ 165 w 172"/>
                <a:gd name="T19" fmla="*/ 1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118">
                  <a:moveTo>
                    <a:pt x="165" y="15"/>
                  </a:moveTo>
                  <a:cubicBezTo>
                    <a:pt x="172" y="27"/>
                    <a:pt x="168" y="41"/>
                    <a:pt x="156" y="48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6" y="117"/>
                    <a:pt x="32" y="118"/>
                    <a:pt x="28" y="118"/>
                  </a:cubicBezTo>
                  <a:cubicBezTo>
                    <a:pt x="20" y="118"/>
                    <a:pt x="12" y="114"/>
                    <a:pt x="7" y="106"/>
                  </a:cubicBezTo>
                  <a:cubicBezTo>
                    <a:pt x="0" y="95"/>
                    <a:pt x="4" y="80"/>
                    <a:pt x="16" y="74"/>
                  </a:cubicBezTo>
                  <a:cubicBezTo>
                    <a:pt x="132" y="6"/>
                    <a:pt x="132" y="6"/>
                    <a:pt x="132" y="6"/>
                  </a:cubicBezTo>
                  <a:cubicBezTo>
                    <a:pt x="144" y="0"/>
                    <a:pt x="158" y="4"/>
                    <a:pt x="165" y="15"/>
                  </a:cubicBezTo>
                  <a:close/>
                  <a:moveTo>
                    <a:pt x="165" y="15"/>
                  </a:moveTo>
                  <a:cubicBezTo>
                    <a:pt x="165" y="15"/>
                    <a:pt x="165" y="15"/>
                    <a:pt x="165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7" name="Freeform 36">
              <a:extLst>
                <a:ext uri="{FF2B5EF4-FFF2-40B4-BE49-F238E27FC236}">
                  <a16:creationId xmlns:a16="http://schemas.microsoft.com/office/drawing/2014/main" id="{C4ED65D2-37BF-4D02-8A69-D3CDCCEDF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3695700"/>
              <a:ext cx="371475" cy="255587"/>
            </a:xfrm>
            <a:custGeom>
              <a:avLst/>
              <a:gdLst>
                <a:gd name="T0" fmla="*/ 156 w 172"/>
                <a:gd name="T1" fmla="*/ 74 h 119"/>
                <a:gd name="T2" fmla="*/ 165 w 172"/>
                <a:gd name="T3" fmla="*/ 107 h 119"/>
                <a:gd name="T4" fmla="*/ 144 w 172"/>
                <a:gd name="T5" fmla="*/ 119 h 119"/>
                <a:gd name="T6" fmla="*/ 132 w 172"/>
                <a:gd name="T7" fmla="*/ 115 h 119"/>
                <a:gd name="T8" fmla="*/ 16 w 172"/>
                <a:gd name="T9" fmla="*/ 48 h 119"/>
                <a:gd name="T10" fmla="*/ 7 w 172"/>
                <a:gd name="T11" fmla="*/ 15 h 119"/>
                <a:gd name="T12" fmla="*/ 40 w 172"/>
                <a:gd name="T13" fmla="*/ 7 h 119"/>
                <a:gd name="T14" fmla="*/ 156 w 172"/>
                <a:gd name="T15" fmla="*/ 74 h 119"/>
                <a:gd name="T16" fmla="*/ 156 w 172"/>
                <a:gd name="T17" fmla="*/ 74 h 119"/>
                <a:gd name="T18" fmla="*/ 156 w 172"/>
                <a:gd name="T19" fmla="*/ 7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119">
                  <a:moveTo>
                    <a:pt x="156" y="74"/>
                  </a:moveTo>
                  <a:cubicBezTo>
                    <a:pt x="168" y="80"/>
                    <a:pt x="172" y="95"/>
                    <a:pt x="165" y="107"/>
                  </a:cubicBezTo>
                  <a:cubicBezTo>
                    <a:pt x="161" y="114"/>
                    <a:pt x="153" y="119"/>
                    <a:pt x="144" y="119"/>
                  </a:cubicBezTo>
                  <a:cubicBezTo>
                    <a:pt x="140" y="119"/>
                    <a:pt x="136" y="118"/>
                    <a:pt x="132" y="115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4" y="42"/>
                    <a:pt x="0" y="27"/>
                    <a:pt x="7" y="15"/>
                  </a:cubicBezTo>
                  <a:cubicBezTo>
                    <a:pt x="14" y="4"/>
                    <a:pt x="28" y="0"/>
                    <a:pt x="40" y="7"/>
                  </a:cubicBezTo>
                  <a:lnTo>
                    <a:pt x="156" y="74"/>
                  </a:lnTo>
                  <a:close/>
                  <a:moveTo>
                    <a:pt x="156" y="74"/>
                  </a:moveTo>
                  <a:cubicBezTo>
                    <a:pt x="156" y="74"/>
                    <a:pt x="156" y="74"/>
                    <a:pt x="156" y="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8" name="Freeform 37">
              <a:extLst>
                <a:ext uri="{FF2B5EF4-FFF2-40B4-BE49-F238E27FC236}">
                  <a16:creationId xmlns:a16="http://schemas.microsoft.com/office/drawing/2014/main" id="{2FE3B227-92BF-401E-9D11-2DA5453D155A}"/>
                </a:ext>
              </a:extLst>
            </p:cNvPr>
            <p:cNvSpPr>
              <a:spLocks noEditPoints="1"/>
            </p:cNvSpPr>
            <p:nvPr/>
          </p:nvSpPr>
          <p:spPr bwMode="auto">
            <a:xfrm rot="1736145">
              <a:off x="-84083" y="2446968"/>
              <a:ext cx="1616072" cy="2657479"/>
            </a:xfrm>
            <a:custGeom>
              <a:avLst/>
              <a:gdLst>
                <a:gd name="T0" fmla="*/ 750 w 750"/>
                <a:gd name="T1" fmla="*/ 376 h 1237"/>
                <a:gd name="T2" fmla="*/ 674 w 750"/>
                <a:gd name="T3" fmla="*/ 602 h 1237"/>
                <a:gd name="T4" fmla="*/ 546 w 750"/>
                <a:gd name="T5" fmla="*/ 976 h 1237"/>
                <a:gd name="T6" fmla="*/ 546 w 750"/>
                <a:gd name="T7" fmla="*/ 1120 h 1237"/>
                <a:gd name="T8" fmla="*/ 430 w 750"/>
                <a:gd name="T9" fmla="*/ 1237 h 1237"/>
                <a:gd name="T10" fmla="*/ 321 w 750"/>
                <a:gd name="T11" fmla="*/ 1237 h 1237"/>
                <a:gd name="T12" fmla="*/ 205 w 750"/>
                <a:gd name="T13" fmla="*/ 1120 h 1237"/>
                <a:gd name="T14" fmla="*/ 205 w 750"/>
                <a:gd name="T15" fmla="*/ 976 h 1237"/>
                <a:gd name="T16" fmla="*/ 77 w 750"/>
                <a:gd name="T17" fmla="*/ 603 h 1237"/>
                <a:gd name="T18" fmla="*/ 1 w 750"/>
                <a:gd name="T19" fmla="*/ 373 h 1237"/>
                <a:gd name="T20" fmla="*/ 110 w 750"/>
                <a:gd name="T21" fmla="*/ 112 h 1237"/>
                <a:gd name="T22" fmla="*/ 370 w 750"/>
                <a:gd name="T23" fmla="*/ 2 h 1237"/>
                <a:gd name="T24" fmla="*/ 638 w 750"/>
                <a:gd name="T25" fmla="*/ 110 h 1237"/>
                <a:gd name="T26" fmla="*/ 750 w 750"/>
                <a:gd name="T27" fmla="*/ 376 h 1237"/>
                <a:gd name="T28" fmla="*/ 636 w 750"/>
                <a:gd name="T29" fmla="*/ 573 h 1237"/>
                <a:gd name="T30" fmla="*/ 702 w 750"/>
                <a:gd name="T31" fmla="*/ 376 h 1237"/>
                <a:gd name="T32" fmla="*/ 604 w 750"/>
                <a:gd name="T33" fmla="*/ 144 h 1237"/>
                <a:gd name="T34" fmla="*/ 371 w 750"/>
                <a:gd name="T35" fmla="*/ 50 h 1237"/>
                <a:gd name="T36" fmla="*/ 49 w 750"/>
                <a:gd name="T37" fmla="*/ 373 h 1237"/>
                <a:gd name="T38" fmla="*/ 116 w 750"/>
                <a:gd name="T39" fmla="*/ 574 h 1237"/>
                <a:gd name="T40" fmla="*/ 253 w 750"/>
                <a:gd name="T41" fmla="*/ 967 h 1237"/>
                <a:gd name="T42" fmla="*/ 498 w 750"/>
                <a:gd name="T43" fmla="*/ 967 h 1237"/>
                <a:gd name="T44" fmla="*/ 636 w 750"/>
                <a:gd name="T45" fmla="*/ 573 h 1237"/>
                <a:gd name="T46" fmla="*/ 498 w 750"/>
                <a:gd name="T47" fmla="*/ 1120 h 1237"/>
                <a:gd name="T48" fmla="*/ 498 w 750"/>
                <a:gd name="T49" fmla="*/ 1113 h 1237"/>
                <a:gd name="T50" fmla="*/ 253 w 750"/>
                <a:gd name="T51" fmla="*/ 1085 h 1237"/>
                <a:gd name="T52" fmla="*/ 253 w 750"/>
                <a:gd name="T53" fmla="*/ 1104 h 1237"/>
                <a:gd name="T54" fmla="*/ 497 w 750"/>
                <a:gd name="T55" fmla="*/ 1132 h 1237"/>
                <a:gd name="T56" fmla="*/ 498 w 750"/>
                <a:gd name="T57" fmla="*/ 1120 h 1237"/>
                <a:gd name="T58" fmla="*/ 498 w 750"/>
                <a:gd name="T59" fmla="*/ 1064 h 1237"/>
                <a:gd name="T60" fmla="*/ 498 w 750"/>
                <a:gd name="T61" fmla="*/ 1015 h 1237"/>
                <a:gd name="T62" fmla="*/ 253 w 750"/>
                <a:gd name="T63" fmla="*/ 1015 h 1237"/>
                <a:gd name="T64" fmla="*/ 253 w 750"/>
                <a:gd name="T65" fmla="*/ 1036 h 1237"/>
                <a:gd name="T66" fmla="*/ 498 w 750"/>
                <a:gd name="T67" fmla="*/ 1064 h 1237"/>
                <a:gd name="T68" fmla="*/ 468 w 750"/>
                <a:gd name="T69" fmla="*/ 1177 h 1237"/>
                <a:gd name="T70" fmla="*/ 261 w 750"/>
                <a:gd name="T71" fmla="*/ 1153 h 1237"/>
                <a:gd name="T72" fmla="*/ 321 w 750"/>
                <a:gd name="T73" fmla="*/ 1189 h 1237"/>
                <a:gd name="T74" fmla="*/ 430 w 750"/>
                <a:gd name="T75" fmla="*/ 1189 h 1237"/>
                <a:gd name="T76" fmla="*/ 468 w 750"/>
                <a:gd name="T77" fmla="*/ 1177 h 1237"/>
                <a:gd name="T78" fmla="*/ 468 w 750"/>
                <a:gd name="T79" fmla="*/ 1177 h 1237"/>
                <a:gd name="T80" fmla="*/ 468 w 750"/>
                <a:gd name="T81" fmla="*/ 1177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50" h="1237">
                  <a:moveTo>
                    <a:pt x="750" y="376"/>
                  </a:moveTo>
                  <a:cubicBezTo>
                    <a:pt x="750" y="459"/>
                    <a:pt x="724" y="537"/>
                    <a:pt x="674" y="602"/>
                  </a:cubicBezTo>
                  <a:cubicBezTo>
                    <a:pt x="590" y="713"/>
                    <a:pt x="546" y="842"/>
                    <a:pt x="546" y="976"/>
                  </a:cubicBezTo>
                  <a:cubicBezTo>
                    <a:pt x="546" y="1120"/>
                    <a:pt x="546" y="1120"/>
                    <a:pt x="546" y="1120"/>
                  </a:cubicBezTo>
                  <a:cubicBezTo>
                    <a:pt x="546" y="1185"/>
                    <a:pt x="494" y="1237"/>
                    <a:pt x="430" y="1237"/>
                  </a:cubicBezTo>
                  <a:cubicBezTo>
                    <a:pt x="321" y="1237"/>
                    <a:pt x="321" y="1237"/>
                    <a:pt x="321" y="1237"/>
                  </a:cubicBezTo>
                  <a:cubicBezTo>
                    <a:pt x="257" y="1237"/>
                    <a:pt x="205" y="1185"/>
                    <a:pt x="205" y="1120"/>
                  </a:cubicBezTo>
                  <a:cubicBezTo>
                    <a:pt x="205" y="976"/>
                    <a:pt x="205" y="976"/>
                    <a:pt x="205" y="976"/>
                  </a:cubicBezTo>
                  <a:cubicBezTo>
                    <a:pt x="205" y="843"/>
                    <a:pt x="160" y="711"/>
                    <a:pt x="77" y="603"/>
                  </a:cubicBezTo>
                  <a:cubicBezTo>
                    <a:pt x="27" y="536"/>
                    <a:pt x="0" y="457"/>
                    <a:pt x="1" y="373"/>
                  </a:cubicBezTo>
                  <a:cubicBezTo>
                    <a:pt x="2" y="275"/>
                    <a:pt x="41" y="182"/>
                    <a:pt x="110" y="112"/>
                  </a:cubicBezTo>
                  <a:cubicBezTo>
                    <a:pt x="180" y="43"/>
                    <a:pt x="272" y="3"/>
                    <a:pt x="370" y="2"/>
                  </a:cubicBezTo>
                  <a:cubicBezTo>
                    <a:pt x="471" y="0"/>
                    <a:pt x="566" y="39"/>
                    <a:pt x="638" y="110"/>
                  </a:cubicBezTo>
                  <a:cubicBezTo>
                    <a:pt x="710" y="180"/>
                    <a:pt x="750" y="275"/>
                    <a:pt x="750" y="376"/>
                  </a:cubicBezTo>
                  <a:close/>
                  <a:moveTo>
                    <a:pt x="636" y="573"/>
                  </a:moveTo>
                  <a:cubicBezTo>
                    <a:pt x="679" y="516"/>
                    <a:pt x="702" y="448"/>
                    <a:pt x="702" y="376"/>
                  </a:cubicBezTo>
                  <a:cubicBezTo>
                    <a:pt x="702" y="288"/>
                    <a:pt x="667" y="206"/>
                    <a:pt x="604" y="144"/>
                  </a:cubicBezTo>
                  <a:cubicBezTo>
                    <a:pt x="542" y="82"/>
                    <a:pt x="459" y="49"/>
                    <a:pt x="371" y="50"/>
                  </a:cubicBezTo>
                  <a:cubicBezTo>
                    <a:pt x="195" y="52"/>
                    <a:pt x="51" y="197"/>
                    <a:pt x="49" y="373"/>
                  </a:cubicBezTo>
                  <a:cubicBezTo>
                    <a:pt x="48" y="446"/>
                    <a:pt x="71" y="516"/>
                    <a:pt x="116" y="574"/>
                  </a:cubicBezTo>
                  <a:cubicBezTo>
                    <a:pt x="202" y="688"/>
                    <a:pt x="251" y="827"/>
                    <a:pt x="253" y="967"/>
                  </a:cubicBezTo>
                  <a:cubicBezTo>
                    <a:pt x="498" y="967"/>
                    <a:pt x="498" y="967"/>
                    <a:pt x="498" y="967"/>
                  </a:cubicBezTo>
                  <a:cubicBezTo>
                    <a:pt x="500" y="825"/>
                    <a:pt x="547" y="690"/>
                    <a:pt x="636" y="573"/>
                  </a:cubicBezTo>
                  <a:close/>
                  <a:moveTo>
                    <a:pt x="498" y="1120"/>
                  </a:moveTo>
                  <a:cubicBezTo>
                    <a:pt x="498" y="1113"/>
                    <a:pt x="498" y="1113"/>
                    <a:pt x="498" y="1113"/>
                  </a:cubicBezTo>
                  <a:cubicBezTo>
                    <a:pt x="253" y="1085"/>
                    <a:pt x="253" y="1085"/>
                    <a:pt x="253" y="1085"/>
                  </a:cubicBezTo>
                  <a:cubicBezTo>
                    <a:pt x="253" y="1104"/>
                    <a:pt x="253" y="1104"/>
                    <a:pt x="253" y="1104"/>
                  </a:cubicBezTo>
                  <a:cubicBezTo>
                    <a:pt x="497" y="1132"/>
                    <a:pt x="497" y="1132"/>
                    <a:pt x="497" y="1132"/>
                  </a:cubicBezTo>
                  <a:cubicBezTo>
                    <a:pt x="498" y="1128"/>
                    <a:pt x="498" y="1124"/>
                    <a:pt x="498" y="1120"/>
                  </a:cubicBezTo>
                  <a:close/>
                  <a:moveTo>
                    <a:pt x="498" y="1064"/>
                  </a:moveTo>
                  <a:cubicBezTo>
                    <a:pt x="498" y="1015"/>
                    <a:pt x="498" y="1015"/>
                    <a:pt x="498" y="1015"/>
                  </a:cubicBezTo>
                  <a:cubicBezTo>
                    <a:pt x="253" y="1015"/>
                    <a:pt x="253" y="1015"/>
                    <a:pt x="253" y="1015"/>
                  </a:cubicBezTo>
                  <a:cubicBezTo>
                    <a:pt x="253" y="1036"/>
                    <a:pt x="253" y="1036"/>
                    <a:pt x="253" y="1036"/>
                  </a:cubicBezTo>
                  <a:lnTo>
                    <a:pt x="498" y="1064"/>
                  </a:lnTo>
                  <a:close/>
                  <a:moveTo>
                    <a:pt x="468" y="1177"/>
                  </a:moveTo>
                  <a:cubicBezTo>
                    <a:pt x="261" y="1153"/>
                    <a:pt x="261" y="1153"/>
                    <a:pt x="261" y="1153"/>
                  </a:cubicBezTo>
                  <a:cubicBezTo>
                    <a:pt x="273" y="1174"/>
                    <a:pt x="296" y="1189"/>
                    <a:pt x="321" y="1189"/>
                  </a:cubicBezTo>
                  <a:cubicBezTo>
                    <a:pt x="430" y="1189"/>
                    <a:pt x="430" y="1189"/>
                    <a:pt x="430" y="1189"/>
                  </a:cubicBezTo>
                  <a:cubicBezTo>
                    <a:pt x="444" y="1189"/>
                    <a:pt x="457" y="1184"/>
                    <a:pt x="468" y="1177"/>
                  </a:cubicBezTo>
                  <a:close/>
                  <a:moveTo>
                    <a:pt x="468" y="1177"/>
                  </a:moveTo>
                  <a:cubicBezTo>
                    <a:pt x="468" y="1177"/>
                    <a:pt x="468" y="1177"/>
                    <a:pt x="468" y="11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9" name="Freeform 38">
              <a:extLst>
                <a:ext uri="{FF2B5EF4-FFF2-40B4-BE49-F238E27FC236}">
                  <a16:creationId xmlns:a16="http://schemas.microsoft.com/office/drawing/2014/main" id="{9194B382-0E1E-405E-87B3-86A0FB8E5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9688" y="2141538"/>
              <a:ext cx="261938" cy="360362"/>
            </a:xfrm>
            <a:custGeom>
              <a:avLst/>
              <a:gdLst>
                <a:gd name="T0" fmla="*/ 107 w 122"/>
                <a:gd name="T1" fmla="*/ 7 h 168"/>
                <a:gd name="T2" fmla="*/ 115 w 122"/>
                <a:gd name="T3" fmla="*/ 39 h 168"/>
                <a:gd name="T4" fmla="*/ 48 w 122"/>
                <a:gd name="T5" fmla="*/ 156 h 168"/>
                <a:gd name="T6" fmla="*/ 27 w 122"/>
                <a:gd name="T7" fmla="*/ 168 h 168"/>
                <a:gd name="T8" fmla="*/ 15 w 122"/>
                <a:gd name="T9" fmla="*/ 165 h 168"/>
                <a:gd name="T10" fmla="*/ 7 w 122"/>
                <a:gd name="T11" fmla="*/ 132 h 168"/>
                <a:gd name="T12" fmla="*/ 74 w 122"/>
                <a:gd name="T13" fmla="*/ 15 h 168"/>
                <a:gd name="T14" fmla="*/ 107 w 122"/>
                <a:gd name="T15" fmla="*/ 7 h 168"/>
                <a:gd name="T16" fmla="*/ 107 w 122"/>
                <a:gd name="T17" fmla="*/ 7 h 168"/>
                <a:gd name="T18" fmla="*/ 107 w 122"/>
                <a:gd name="T19" fmla="*/ 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68">
                  <a:moveTo>
                    <a:pt x="107" y="7"/>
                  </a:moveTo>
                  <a:cubicBezTo>
                    <a:pt x="118" y="13"/>
                    <a:pt x="122" y="28"/>
                    <a:pt x="115" y="39"/>
                  </a:cubicBezTo>
                  <a:cubicBezTo>
                    <a:pt x="48" y="156"/>
                    <a:pt x="48" y="156"/>
                    <a:pt x="48" y="156"/>
                  </a:cubicBezTo>
                  <a:cubicBezTo>
                    <a:pt x="44" y="164"/>
                    <a:pt x="36" y="168"/>
                    <a:pt x="27" y="168"/>
                  </a:cubicBezTo>
                  <a:cubicBezTo>
                    <a:pt x="23" y="168"/>
                    <a:pt x="19" y="167"/>
                    <a:pt x="15" y="165"/>
                  </a:cubicBezTo>
                  <a:cubicBezTo>
                    <a:pt x="4" y="158"/>
                    <a:pt x="0" y="143"/>
                    <a:pt x="7" y="132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80" y="4"/>
                    <a:pt x="95" y="0"/>
                    <a:pt x="107" y="7"/>
                  </a:cubicBezTo>
                  <a:close/>
                  <a:moveTo>
                    <a:pt x="107" y="7"/>
                  </a:moveTo>
                  <a:cubicBezTo>
                    <a:pt x="107" y="7"/>
                    <a:pt x="107" y="7"/>
                    <a:pt x="107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0" name="Freeform 39">
              <a:extLst>
                <a:ext uri="{FF2B5EF4-FFF2-40B4-BE49-F238E27FC236}">
                  <a16:creationId xmlns:a16="http://schemas.microsoft.com/office/drawing/2014/main" id="{DC6437C4-DD72-4A31-AC57-50A61B19F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6613" y="1982788"/>
              <a:ext cx="103188" cy="390525"/>
            </a:xfrm>
            <a:custGeom>
              <a:avLst/>
              <a:gdLst>
                <a:gd name="T0" fmla="*/ 48 w 48"/>
                <a:gd name="T1" fmla="*/ 24 h 182"/>
                <a:gd name="T2" fmla="*/ 48 w 48"/>
                <a:gd name="T3" fmla="*/ 158 h 182"/>
                <a:gd name="T4" fmla="*/ 24 w 48"/>
                <a:gd name="T5" fmla="*/ 182 h 182"/>
                <a:gd name="T6" fmla="*/ 0 w 48"/>
                <a:gd name="T7" fmla="*/ 158 h 182"/>
                <a:gd name="T8" fmla="*/ 0 w 48"/>
                <a:gd name="T9" fmla="*/ 24 h 182"/>
                <a:gd name="T10" fmla="*/ 24 w 48"/>
                <a:gd name="T11" fmla="*/ 0 h 182"/>
                <a:gd name="T12" fmla="*/ 48 w 48"/>
                <a:gd name="T13" fmla="*/ 24 h 182"/>
                <a:gd name="T14" fmla="*/ 48 w 48"/>
                <a:gd name="T15" fmla="*/ 24 h 182"/>
                <a:gd name="T16" fmla="*/ 48 w 48"/>
                <a:gd name="T17" fmla="*/ 2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82">
                  <a:moveTo>
                    <a:pt x="48" y="24"/>
                  </a:moveTo>
                  <a:cubicBezTo>
                    <a:pt x="48" y="158"/>
                    <a:pt x="48" y="158"/>
                    <a:pt x="48" y="158"/>
                  </a:cubicBezTo>
                  <a:cubicBezTo>
                    <a:pt x="48" y="172"/>
                    <a:pt x="38" y="182"/>
                    <a:pt x="24" y="182"/>
                  </a:cubicBezTo>
                  <a:cubicBezTo>
                    <a:pt x="11" y="182"/>
                    <a:pt x="0" y="172"/>
                    <a:pt x="0" y="15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1" name="Freeform 40">
              <a:extLst>
                <a:ext uri="{FF2B5EF4-FFF2-40B4-BE49-F238E27FC236}">
                  <a16:creationId xmlns:a16="http://schemas.microsoft.com/office/drawing/2014/main" id="{212ADB15-961E-4936-8988-0CBD0A8D9E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963" y="2141538"/>
              <a:ext cx="263525" cy="360362"/>
            </a:xfrm>
            <a:custGeom>
              <a:avLst/>
              <a:gdLst>
                <a:gd name="T0" fmla="*/ 115 w 122"/>
                <a:gd name="T1" fmla="*/ 132 h 168"/>
                <a:gd name="T2" fmla="*/ 106 w 122"/>
                <a:gd name="T3" fmla="*/ 165 h 168"/>
                <a:gd name="T4" fmla="*/ 94 w 122"/>
                <a:gd name="T5" fmla="*/ 168 h 168"/>
                <a:gd name="T6" fmla="*/ 74 w 122"/>
                <a:gd name="T7" fmla="*/ 156 h 168"/>
                <a:gd name="T8" fmla="*/ 6 w 122"/>
                <a:gd name="T9" fmla="*/ 39 h 168"/>
                <a:gd name="T10" fmla="*/ 15 w 122"/>
                <a:gd name="T11" fmla="*/ 7 h 168"/>
                <a:gd name="T12" fmla="*/ 48 w 122"/>
                <a:gd name="T13" fmla="*/ 15 h 168"/>
                <a:gd name="T14" fmla="*/ 115 w 122"/>
                <a:gd name="T15" fmla="*/ 132 h 168"/>
                <a:gd name="T16" fmla="*/ 115 w 122"/>
                <a:gd name="T17" fmla="*/ 132 h 168"/>
                <a:gd name="T18" fmla="*/ 115 w 122"/>
                <a:gd name="T19" fmla="*/ 13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68">
                  <a:moveTo>
                    <a:pt x="115" y="132"/>
                  </a:moveTo>
                  <a:cubicBezTo>
                    <a:pt x="122" y="143"/>
                    <a:pt x="118" y="158"/>
                    <a:pt x="106" y="165"/>
                  </a:cubicBezTo>
                  <a:cubicBezTo>
                    <a:pt x="103" y="167"/>
                    <a:pt x="98" y="168"/>
                    <a:pt x="94" y="168"/>
                  </a:cubicBezTo>
                  <a:cubicBezTo>
                    <a:pt x="86" y="168"/>
                    <a:pt x="78" y="164"/>
                    <a:pt x="74" y="156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0" y="28"/>
                    <a:pt x="4" y="13"/>
                    <a:pt x="15" y="7"/>
                  </a:cubicBezTo>
                  <a:cubicBezTo>
                    <a:pt x="27" y="0"/>
                    <a:pt x="41" y="4"/>
                    <a:pt x="48" y="15"/>
                  </a:cubicBezTo>
                  <a:lnTo>
                    <a:pt x="115" y="132"/>
                  </a:lnTo>
                  <a:close/>
                  <a:moveTo>
                    <a:pt x="115" y="132"/>
                  </a:moveTo>
                  <a:cubicBezTo>
                    <a:pt x="115" y="132"/>
                    <a:pt x="115" y="132"/>
                    <a:pt x="115" y="1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2" name="Freeform 41">
              <a:extLst>
                <a:ext uri="{FF2B5EF4-FFF2-40B4-BE49-F238E27FC236}">
                  <a16:creationId xmlns:a16="http://schemas.microsoft.com/office/drawing/2014/main" id="{CC767B2F-7129-481C-B964-195EB03A3B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49237" y="2597150"/>
              <a:ext cx="368300" cy="254000"/>
            </a:xfrm>
            <a:custGeom>
              <a:avLst/>
              <a:gdLst>
                <a:gd name="T0" fmla="*/ 156 w 171"/>
                <a:gd name="T1" fmla="*/ 74 h 118"/>
                <a:gd name="T2" fmla="*/ 165 w 171"/>
                <a:gd name="T3" fmla="*/ 106 h 118"/>
                <a:gd name="T4" fmla="*/ 144 w 171"/>
                <a:gd name="T5" fmla="*/ 118 h 118"/>
                <a:gd name="T6" fmla="*/ 132 w 171"/>
                <a:gd name="T7" fmla="*/ 115 h 118"/>
                <a:gd name="T8" fmla="*/ 15 w 171"/>
                <a:gd name="T9" fmla="*/ 48 h 118"/>
                <a:gd name="T10" fmla="*/ 7 w 171"/>
                <a:gd name="T11" fmla="*/ 15 h 118"/>
                <a:gd name="T12" fmla="*/ 39 w 171"/>
                <a:gd name="T13" fmla="*/ 6 h 118"/>
                <a:gd name="T14" fmla="*/ 156 w 171"/>
                <a:gd name="T15" fmla="*/ 74 h 118"/>
                <a:gd name="T16" fmla="*/ 156 w 171"/>
                <a:gd name="T17" fmla="*/ 74 h 118"/>
                <a:gd name="T18" fmla="*/ 156 w 171"/>
                <a:gd name="T19" fmla="*/ 7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18">
                  <a:moveTo>
                    <a:pt x="156" y="74"/>
                  </a:moveTo>
                  <a:cubicBezTo>
                    <a:pt x="167" y="80"/>
                    <a:pt x="171" y="95"/>
                    <a:pt x="165" y="106"/>
                  </a:cubicBezTo>
                  <a:cubicBezTo>
                    <a:pt x="160" y="114"/>
                    <a:pt x="152" y="118"/>
                    <a:pt x="144" y="118"/>
                  </a:cubicBezTo>
                  <a:cubicBezTo>
                    <a:pt x="140" y="118"/>
                    <a:pt x="136" y="117"/>
                    <a:pt x="132" y="115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4" y="41"/>
                    <a:pt x="0" y="27"/>
                    <a:pt x="7" y="15"/>
                  </a:cubicBezTo>
                  <a:cubicBezTo>
                    <a:pt x="13" y="4"/>
                    <a:pt x="28" y="0"/>
                    <a:pt x="39" y="6"/>
                  </a:cubicBezTo>
                  <a:lnTo>
                    <a:pt x="156" y="74"/>
                  </a:lnTo>
                  <a:close/>
                  <a:moveTo>
                    <a:pt x="156" y="74"/>
                  </a:moveTo>
                  <a:cubicBezTo>
                    <a:pt x="156" y="74"/>
                    <a:pt x="156" y="74"/>
                    <a:pt x="156" y="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3" name="Freeform 42">
              <a:extLst>
                <a:ext uri="{FF2B5EF4-FFF2-40B4-BE49-F238E27FC236}">
                  <a16:creationId xmlns:a16="http://schemas.microsoft.com/office/drawing/2014/main" id="{262AC2D1-E9B6-4B0A-8BA9-6D501FA05F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49237" y="3695700"/>
              <a:ext cx="368300" cy="255587"/>
            </a:xfrm>
            <a:custGeom>
              <a:avLst/>
              <a:gdLst>
                <a:gd name="T0" fmla="*/ 165 w 171"/>
                <a:gd name="T1" fmla="*/ 15 h 119"/>
                <a:gd name="T2" fmla="*/ 156 w 171"/>
                <a:gd name="T3" fmla="*/ 48 h 119"/>
                <a:gd name="T4" fmla="*/ 39 w 171"/>
                <a:gd name="T5" fmla="*/ 115 h 119"/>
                <a:gd name="T6" fmla="*/ 27 w 171"/>
                <a:gd name="T7" fmla="*/ 119 h 119"/>
                <a:gd name="T8" fmla="*/ 7 w 171"/>
                <a:gd name="T9" fmla="*/ 107 h 119"/>
                <a:gd name="T10" fmla="*/ 15 w 171"/>
                <a:gd name="T11" fmla="*/ 74 h 119"/>
                <a:gd name="T12" fmla="*/ 132 w 171"/>
                <a:gd name="T13" fmla="*/ 7 h 119"/>
                <a:gd name="T14" fmla="*/ 165 w 171"/>
                <a:gd name="T15" fmla="*/ 15 h 119"/>
                <a:gd name="T16" fmla="*/ 165 w 171"/>
                <a:gd name="T17" fmla="*/ 15 h 119"/>
                <a:gd name="T18" fmla="*/ 165 w 171"/>
                <a:gd name="T19" fmla="*/ 1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19">
                  <a:moveTo>
                    <a:pt x="165" y="15"/>
                  </a:moveTo>
                  <a:cubicBezTo>
                    <a:pt x="171" y="27"/>
                    <a:pt x="167" y="42"/>
                    <a:pt x="156" y="48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6" y="118"/>
                    <a:pt x="32" y="119"/>
                    <a:pt x="27" y="119"/>
                  </a:cubicBezTo>
                  <a:cubicBezTo>
                    <a:pt x="19" y="119"/>
                    <a:pt x="11" y="114"/>
                    <a:pt x="7" y="107"/>
                  </a:cubicBezTo>
                  <a:cubicBezTo>
                    <a:pt x="0" y="95"/>
                    <a:pt x="4" y="80"/>
                    <a:pt x="15" y="74"/>
                  </a:cubicBezTo>
                  <a:cubicBezTo>
                    <a:pt x="132" y="7"/>
                    <a:pt x="132" y="7"/>
                    <a:pt x="132" y="7"/>
                  </a:cubicBezTo>
                  <a:cubicBezTo>
                    <a:pt x="143" y="0"/>
                    <a:pt x="158" y="4"/>
                    <a:pt x="165" y="15"/>
                  </a:cubicBezTo>
                  <a:close/>
                  <a:moveTo>
                    <a:pt x="165" y="15"/>
                  </a:moveTo>
                  <a:cubicBezTo>
                    <a:pt x="165" y="15"/>
                    <a:pt x="165" y="15"/>
                    <a:pt x="165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4" name="Freeform 43">
              <a:extLst>
                <a:ext uri="{FF2B5EF4-FFF2-40B4-BE49-F238E27FC236}">
                  <a16:creationId xmlns:a16="http://schemas.microsoft.com/office/drawing/2014/main" id="{FCB12504-852B-4E8A-A51E-83A4EBB82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7988" y="3224213"/>
              <a:ext cx="392113" cy="103187"/>
            </a:xfrm>
            <a:custGeom>
              <a:avLst/>
              <a:gdLst>
                <a:gd name="T0" fmla="*/ 158 w 182"/>
                <a:gd name="T1" fmla="*/ 0 h 48"/>
                <a:gd name="T2" fmla="*/ 182 w 182"/>
                <a:gd name="T3" fmla="*/ 24 h 48"/>
                <a:gd name="T4" fmla="*/ 158 w 182"/>
                <a:gd name="T5" fmla="*/ 48 h 48"/>
                <a:gd name="T6" fmla="*/ 24 w 182"/>
                <a:gd name="T7" fmla="*/ 48 h 48"/>
                <a:gd name="T8" fmla="*/ 0 w 182"/>
                <a:gd name="T9" fmla="*/ 24 h 48"/>
                <a:gd name="T10" fmla="*/ 24 w 182"/>
                <a:gd name="T11" fmla="*/ 0 h 48"/>
                <a:gd name="T12" fmla="*/ 158 w 182"/>
                <a:gd name="T13" fmla="*/ 0 h 48"/>
                <a:gd name="T14" fmla="*/ 158 w 182"/>
                <a:gd name="T15" fmla="*/ 0 h 48"/>
                <a:gd name="T16" fmla="*/ 158 w 182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2" h="48">
                  <a:moveTo>
                    <a:pt x="158" y="0"/>
                  </a:moveTo>
                  <a:cubicBezTo>
                    <a:pt x="172" y="0"/>
                    <a:pt x="182" y="11"/>
                    <a:pt x="182" y="24"/>
                  </a:cubicBezTo>
                  <a:cubicBezTo>
                    <a:pt x="182" y="38"/>
                    <a:pt x="172" y="48"/>
                    <a:pt x="158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lnTo>
                    <a:pt x="158" y="0"/>
                  </a:lnTo>
                  <a:close/>
                  <a:moveTo>
                    <a:pt x="158" y="0"/>
                  </a:moveTo>
                  <a:cubicBezTo>
                    <a:pt x="158" y="0"/>
                    <a:pt x="158" y="0"/>
                    <a:pt x="15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C276894-BD45-4AEA-A96B-3F43FDBE68DE}"/>
              </a:ext>
            </a:extLst>
          </p:cNvPr>
          <p:cNvGrpSpPr/>
          <p:nvPr/>
        </p:nvGrpSpPr>
        <p:grpSpPr>
          <a:xfrm>
            <a:off x="7648263" y="4310357"/>
            <a:ext cx="871306" cy="871307"/>
            <a:chOff x="7301411" y="5852965"/>
            <a:chExt cx="871306" cy="871307"/>
          </a:xfrm>
        </p:grpSpPr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C25EFB4A-37C8-4898-A812-5908B96A905E}"/>
                </a:ext>
              </a:extLst>
            </p:cNvPr>
            <p:cNvSpPr/>
            <p:nvPr/>
          </p:nvSpPr>
          <p:spPr>
            <a:xfrm rot="10800000" flipH="1" flipV="1">
              <a:off x="7301411" y="5852965"/>
              <a:ext cx="871306" cy="8713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14300" dist="114300" dir="4800000" algn="tl" rotWithShape="0">
                <a:prstClr val="black">
                  <a:alpha val="2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 dirty="0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D7424AF-5E1D-4533-BCB7-2C104016C3A7}"/>
                </a:ext>
              </a:extLst>
            </p:cNvPr>
            <p:cNvGrpSpPr/>
            <p:nvPr/>
          </p:nvGrpSpPr>
          <p:grpSpPr>
            <a:xfrm>
              <a:off x="7591351" y="6055271"/>
              <a:ext cx="292442" cy="453182"/>
              <a:chOff x="8067067" y="4842026"/>
              <a:chExt cx="292442" cy="453182"/>
            </a:xfrm>
          </p:grpSpPr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8213F609-42A1-42B5-B8D4-552548173B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2003" y="4965423"/>
                <a:ext cx="27432" cy="225977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E6E1EA3E-52D9-4779-87DE-F8ECE501EF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36073" y="5012325"/>
                <a:ext cx="19949" cy="18646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4C9D9A4D-B120-48BE-A83D-460B43BEB4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6829" y="5069279"/>
                <a:ext cx="19949" cy="12495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E62B2FA1-AC64-47AB-A8B7-5FE157F06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17113" y="5126745"/>
                <a:ext cx="19949" cy="6289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5" name="Freeform 47">
                <a:extLst>
                  <a:ext uri="{FF2B5EF4-FFF2-40B4-BE49-F238E27FC236}">
                    <a16:creationId xmlns:a16="http://schemas.microsoft.com/office/drawing/2014/main" id="{9A003183-3324-473A-AF67-474AA452E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8465" y="4853356"/>
                <a:ext cx="275212" cy="70338"/>
              </a:xfrm>
              <a:custGeom>
                <a:avLst/>
                <a:gdLst>
                  <a:gd name="T0" fmla="*/ 0 w 858"/>
                  <a:gd name="T1" fmla="*/ 220 h 220"/>
                  <a:gd name="T2" fmla="*/ 0 w 858"/>
                  <a:gd name="T3" fmla="*/ 66 h 220"/>
                  <a:gd name="T4" fmla="*/ 104 w 858"/>
                  <a:gd name="T5" fmla="*/ 0 h 220"/>
                  <a:gd name="T6" fmla="*/ 760 w 858"/>
                  <a:gd name="T7" fmla="*/ 0 h 220"/>
                  <a:gd name="T8" fmla="*/ 858 w 858"/>
                  <a:gd name="T9" fmla="*/ 91 h 220"/>
                  <a:gd name="T10" fmla="*/ 858 w 858"/>
                  <a:gd name="T11" fmla="*/ 220 h 220"/>
                  <a:gd name="T12" fmla="*/ 0 w 858"/>
                  <a:gd name="T13" fmla="*/ 22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8" h="220">
                    <a:moveTo>
                      <a:pt x="0" y="220"/>
                    </a:moveTo>
                    <a:cubicBezTo>
                      <a:pt x="0" y="66"/>
                      <a:pt x="0" y="66"/>
                      <a:pt x="0" y="66"/>
                    </a:cubicBezTo>
                    <a:cubicBezTo>
                      <a:pt x="0" y="66"/>
                      <a:pt x="16" y="8"/>
                      <a:pt x="104" y="0"/>
                    </a:cubicBezTo>
                    <a:cubicBezTo>
                      <a:pt x="760" y="0"/>
                      <a:pt x="760" y="0"/>
                      <a:pt x="760" y="0"/>
                    </a:cubicBezTo>
                    <a:cubicBezTo>
                      <a:pt x="760" y="0"/>
                      <a:pt x="852" y="12"/>
                      <a:pt x="858" y="91"/>
                    </a:cubicBezTo>
                    <a:cubicBezTo>
                      <a:pt x="858" y="220"/>
                      <a:pt x="858" y="220"/>
                      <a:pt x="858" y="220"/>
                    </a:cubicBezTo>
                    <a:lnTo>
                      <a:pt x="0" y="22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6" name="Freeform 48">
                <a:extLst>
                  <a:ext uri="{FF2B5EF4-FFF2-40B4-BE49-F238E27FC236}">
                    <a16:creationId xmlns:a16="http://schemas.microsoft.com/office/drawing/2014/main" id="{9FD8AC41-F40A-49C9-B2E1-63A800EFE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7521" y="5224162"/>
                <a:ext cx="275212" cy="71046"/>
              </a:xfrm>
              <a:custGeom>
                <a:avLst/>
                <a:gdLst>
                  <a:gd name="T0" fmla="*/ 0 w 858"/>
                  <a:gd name="T1" fmla="*/ 0 h 222"/>
                  <a:gd name="T2" fmla="*/ 858 w 858"/>
                  <a:gd name="T3" fmla="*/ 0 h 222"/>
                  <a:gd name="T4" fmla="*/ 858 w 858"/>
                  <a:gd name="T5" fmla="*/ 152 h 222"/>
                  <a:gd name="T6" fmla="*/ 781 w 858"/>
                  <a:gd name="T7" fmla="*/ 222 h 222"/>
                  <a:gd name="T8" fmla="*/ 102 w 858"/>
                  <a:gd name="T9" fmla="*/ 222 h 222"/>
                  <a:gd name="T10" fmla="*/ 0 w 858"/>
                  <a:gd name="T11" fmla="*/ 130 h 222"/>
                  <a:gd name="T12" fmla="*/ 0 w 858"/>
                  <a:gd name="T13" fmla="*/ 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8" h="222">
                    <a:moveTo>
                      <a:pt x="0" y="0"/>
                    </a:moveTo>
                    <a:cubicBezTo>
                      <a:pt x="858" y="0"/>
                      <a:pt x="858" y="0"/>
                      <a:pt x="858" y="0"/>
                    </a:cubicBezTo>
                    <a:cubicBezTo>
                      <a:pt x="858" y="152"/>
                      <a:pt x="858" y="152"/>
                      <a:pt x="858" y="152"/>
                    </a:cubicBezTo>
                    <a:cubicBezTo>
                      <a:pt x="858" y="152"/>
                      <a:pt x="841" y="217"/>
                      <a:pt x="781" y="222"/>
                    </a:cubicBezTo>
                    <a:cubicBezTo>
                      <a:pt x="102" y="222"/>
                      <a:pt x="102" y="222"/>
                      <a:pt x="102" y="222"/>
                    </a:cubicBezTo>
                    <a:cubicBezTo>
                      <a:pt x="102" y="222"/>
                      <a:pt x="14" y="208"/>
                      <a:pt x="0" y="13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7" name="Freeform 49">
                <a:extLst>
                  <a:ext uri="{FF2B5EF4-FFF2-40B4-BE49-F238E27FC236}">
                    <a16:creationId xmlns:a16="http://schemas.microsoft.com/office/drawing/2014/main" id="{2DE34C65-677E-4292-A65F-80EE723BA1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67067" y="4842026"/>
                <a:ext cx="292442" cy="453182"/>
              </a:xfrm>
              <a:custGeom>
                <a:avLst/>
                <a:gdLst>
                  <a:gd name="T0" fmla="*/ 912 w 912"/>
                  <a:gd name="T1" fmla="*/ 120 h 1418"/>
                  <a:gd name="T2" fmla="*/ 912 w 912"/>
                  <a:gd name="T3" fmla="*/ 1298 h 1418"/>
                  <a:gd name="T4" fmla="*/ 792 w 912"/>
                  <a:gd name="T5" fmla="*/ 1418 h 1418"/>
                  <a:gd name="T6" fmla="*/ 120 w 912"/>
                  <a:gd name="T7" fmla="*/ 1418 h 1418"/>
                  <a:gd name="T8" fmla="*/ 0 w 912"/>
                  <a:gd name="T9" fmla="*/ 1298 h 1418"/>
                  <a:gd name="T10" fmla="*/ 0 w 912"/>
                  <a:gd name="T11" fmla="*/ 120 h 1418"/>
                  <a:gd name="T12" fmla="*/ 120 w 912"/>
                  <a:gd name="T13" fmla="*/ 0 h 1418"/>
                  <a:gd name="T14" fmla="*/ 792 w 912"/>
                  <a:gd name="T15" fmla="*/ 0 h 1418"/>
                  <a:gd name="T16" fmla="*/ 912 w 912"/>
                  <a:gd name="T17" fmla="*/ 120 h 1418"/>
                  <a:gd name="T18" fmla="*/ 864 w 912"/>
                  <a:gd name="T19" fmla="*/ 1298 h 1418"/>
                  <a:gd name="T20" fmla="*/ 864 w 912"/>
                  <a:gd name="T21" fmla="*/ 1200 h 1418"/>
                  <a:gd name="T22" fmla="*/ 48 w 912"/>
                  <a:gd name="T23" fmla="*/ 1200 h 1418"/>
                  <a:gd name="T24" fmla="*/ 48 w 912"/>
                  <a:gd name="T25" fmla="*/ 1298 h 1418"/>
                  <a:gd name="T26" fmla="*/ 120 w 912"/>
                  <a:gd name="T27" fmla="*/ 1370 h 1418"/>
                  <a:gd name="T28" fmla="*/ 792 w 912"/>
                  <a:gd name="T29" fmla="*/ 1370 h 1418"/>
                  <a:gd name="T30" fmla="*/ 864 w 912"/>
                  <a:gd name="T31" fmla="*/ 1298 h 1418"/>
                  <a:gd name="T32" fmla="*/ 864 w 912"/>
                  <a:gd name="T33" fmla="*/ 1152 h 1418"/>
                  <a:gd name="T34" fmla="*/ 864 w 912"/>
                  <a:gd name="T35" fmla="*/ 266 h 1418"/>
                  <a:gd name="T36" fmla="*/ 48 w 912"/>
                  <a:gd name="T37" fmla="*/ 266 h 1418"/>
                  <a:gd name="T38" fmla="*/ 48 w 912"/>
                  <a:gd name="T39" fmla="*/ 1152 h 1418"/>
                  <a:gd name="T40" fmla="*/ 864 w 912"/>
                  <a:gd name="T41" fmla="*/ 1152 h 1418"/>
                  <a:gd name="T42" fmla="*/ 864 w 912"/>
                  <a:gd name="T43" fmla="*/ 218 h 1418"/>
                  <a:gd name="T44" fmla="*/ 864 w 912"/>
                  <a:gd name="T45" fmla="*/ 120 h 1418"/>
                  <a:gd name="T46" fmla="*/ 792 w 912"/>
                  <a:gd name="T47" fmla="*/ 48 h 1418"/>
                  <a:gd name="T48" fmla="*/ 120 w 912"/>
                  <a:gd name="T49" fmla="*/ 48 h 1418"/>
                  <a:gd name="T50" fmla="*/ 48 w 912"/>
                  <a:gd name="T51" fmla="*/ 120 h 1418"/>
                  <a:gd name="T52" fmla="*/ 48 w 912"/>
                  <a:gd name="T53" fmla="*/ 218 h 1418"/>
                  <a:gd name="T54" fmla="*/ 864 w 912"/>
                  <a:gd name="T55" fmla="*/ 218 h 1418"/>
                  <a:gd name="T56" fmla="*/ 864 w 912"/>
                  <a:gd name="T57" fmla="*/ 218 h 1418"/>
                  <a:gd name="T58" fmla="*/ 864 w 912"/>
                  <a:gd name="T59" fmla="*/ 218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12" h="1418">
                    <a:moveTo>
                      <a:pt x="912" y="120"/>
                    </a:moveTo>
                    <a:cubicBezTo>
                      <a:pt x="912" y="1298"/>
                      <a:pt x="912" y="1298"/>
                      <a:pt x="912" y="1298"/>
                    </a:cubicBezTo>
                    <a:cubicBezTo>
                      <a:pt x="912" y="1364"/>
                      <a:pt x="858" y="1418"/>
                      <a:pt x="792" y="1418"/>
                    </a:cubicBezTo>
                    <a:cubicBezTo>
                      <a:pt x="120" y="1418"/>
                      <a:pt x="120" y="1418"/>
                      <a:pt x="120" y="1418"/>
                    </a:cubicBezTo>
                    <a:cubicBezTo>
                      <a:pt x="54" y="1418"/>
                      <a:pt x="0" y="1364"/>
                      <a:pt x="0" y="129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54"/>
                      <a:pt x="54" y="0"/>
                      <a:pt x="120" y="0"/>
                    </a:cubicBezTo>
                    <a:cubicBezTo>
                      <a:pt x="792" y="0"/>
                      <a:pt x="792" y="0"/>
                      <a:pt x="792" y="0"/>
                    </a:cubicBezTo>
                    <a:cubicBezTo>
                      <a:pt x="858" y="0"/>
                      <a:pt x="912" y="54"/>
                      <a:pt x="912" y="120"/>
                    </a:cubicBezTo>
                    <a:close/>
                    <a:moveTo>
                      <a:pt x="864" y="1298"/>
                    </a:moveTo>
                    <a:cubicBezTo>
                      <a:pt x="864" y="1200"/>
                      <a:pt x="864" y="1200"/>
                      <a:pt x="864" y="1200"/>
                    </a:cubicBezTo>
                    <a:cubicBezTo>
                      <a:pt x="48" y="1200"/>
                      <a:pt x="48" y="1200"/>
                      <a:pt x="48" y="1200"/>
                    </a:cubicBezTo>
                    <a:cubicBezTo>
                      <a:pt x="48" y="1298"/>
                      <a:pt x="48" y="1298"/>
                      <a:pt x="48" y="1298"/>
                    </a:cubicBezTo>
                    <a:cubicBezTo>
                      <a:pt x="48" y="1338"/>
                      <a:pt x="80" y="1370"/>
                      <a:pt x="120" y="1370"/>
                    </a:cubicBezTo>
                    <a:cubicBezTo>
                      <a:pt x="792" y="1370"/>
                      <a:pt x="792" y="1370"/>
                      <a:pt x="792" y="1370"/>
                    </a:cubicBezTo>
                    <a:cubicBezTo>
                      <a:pt x="832" y="1370"/>
                      <a:pt x="864" y="1338"/>
                      <a:pt x="864" y="1298"/>
                    </a:cubicBezTo>
                    <a:close/>
                    <a:moveTo>
                      <a:pt x="864" y="1152"/>
                    </a:moveTo>
                    <a:cubicBezTo>
                      <a:pt x="864" y="266"/>
                      <a:pt x="864" y="266"/>
                      <a:pt x="864" y="266"/>
                    </a:cubicBezTo>
                    <a:cubicBezTo>
                      <a:pt x="48" y="266"/>
                      <a:pt x="48" y="266"/>
                      <a:pt x="48" y="266"/>
                    </a:cubicBezTo>
                    <a:cubicBezTo>
                      <a:pt x="48" y="1152"/>
                      <a:pt x="48" y="1152"/>
                      <a:pt x="48" y="1152"/>
                    </a:cubicBezTo>
                    <a:lnTo>
                      <a:pt x="864" y="1152"/>
                    </a:lnTo>
                    <a:close/>
                    <a:moveTo>
                      <a:pt x="864" y="218"/>
                    </a:moveTo>
                    <a:cubicBezTo>
                      <a:pt x="864" y="120"/>
                      <a:pt x="864" y="120"/>
                      <a:pt x="864" y="120"/>
                    </a:cubicBezTo>
                    <a:cubicBezTo>
                      <a:pt x="864" y="80"/>
                      <a:pt x="832" y="48"/>
                      <a:pt x="792" y="48"/>
                    </a:cubicBezTo>
                    <a:cubicBezTo>
                      <a:pt x="120" y="48"/>
                      <a:pt x="120" y="48"/>
                      <a:pt x="120" y="48"/>
                    </a:cubicBezTo>
                    <a:cubicBezTo>
                      <a:pt x="80" y="48"/>
                      <a:pt x="48" y="80"/>
                      <a:pt x="48" y="120"/>
                    </a:cubicBezTo>
                    <a:cubicBezTo>
                      <a:pt x="48" y="218"/>
                      <a:pt x="48" y="218"/>
                      <a:pt x="48" y="218"/>
                    </a:cubicBezTo>
                    <a:lnTo>
                      <a:pt x="864" y="218"/>
                    </a:lnTo>
                    <a:close/>
                    <a:moveTo>
                      <a:pt x="864" y="218"/>
                    </a:moveTo>
                    <a:cubicBezTo>
                      <a:pt x="864" y="218"/>
                      <a:pt x="864" y="218"/>
                      <a:pt x="864" y="218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8" name="Freeform 50">
                <a:extLst>
                  <a:ext uri="{FF2B5EF4-FFF2-40B4-BE49-F238E27FC236}">
                    <a16:creationId xmlns:a16="http://schemas.microsoft.com/office/drawing/2014/main" id="{E17A5CAC-26E8-4D3A-AD69-E5E80A394F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81924" y="4958154"/>
                <a:ext cx="47678" cy="242169"/>
              </a:xfrm>
              <a:custGeom>
                <a:avLst/>
                <a:gdLst>
                  <a:gd name="T0" fmla="*/ 149 w 149"/>
                  <a:gd name="T1" fmla="*/ 24 h 758"/>
                  <a:gd name="T2" fmla="*/ 149 w 149"/>
                  <a:gd name="T3" fmla="*/ 734 h 758"/>
                  <a:gd name="T4" fmla="*/ 125 w 149"/>
                  <a:gd name="T5" fmla="*/ 758 h 758"/>
                  <a:gd name="T6" fmla="*/ 24 w 149"/>
                  <a:gd name="T7" fmla="*/ 758 h 758"/>
                  <a:gd name="T8" fmla="*/ 0 w 149"/>
                  <a:gd name="T9" fmla="*/ 734 h 758"/>
                  <a:gd name="T10" fmla="*/ 0 w 149"/>
                  <a:gd name="T11" fmla="*/ 24 h 758"/>
                  <a:gd name="T12" fmla="*/ 24 w 149"/>
                  <a:gd name="T13" fmla="*/ 0 h 758"/>
                  <a:gd name="T14" fmla="*/ 125 w 149"/>
                  <a:gd name="T15" fmla="*/ 0 h 758"/>
                  <a:gd name="T16" fmla="*/ 149 w 149"/>
                  <a:gd name="T17" fmla="*/ 24 h 758"/>
                  <a:gd name="T18" fmla="*/ 101 w 149"/>
                  <a:gd name="T19" fmla="*/ 710 h 758"/>
                  <a:gd name="T20" fmla="*/ 101 w 149"/>
                  <a:gd name="T21" fmla="*/ 48 h 758"/>
                  <a:gd name="T22" fmla="*/ 48 w 149"/>
                  <a:gd name="T23" fmla="*/ 48 h 758"/>
                  <a:gd name="T24" fmla="*/ 48 w 149"/>
                  <a:gd name="T25" fmla="*/ 710 h 758"/>
                  <a:gd name="T26" fmla="*/ 101 w 149"/>
                  <a:gd name="T27" fmla="*/ 710 h 758"/>
                  <a:gd name="T28" fmla="*/ 101 w 149"/>
                  <a:gd name="T29" fmla="*/ 710 h 758"/>
                  <a:gd name="T30" fmla="*/ 101 w 149"/>
                  <a:gd name="T31" fmla="*/ 710 h 7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758">
                    <a:moveTo>
                      <a:pt x="149" y="24"/>
                    </a:moveTo>
                    <a:cubicBezTo>
                      <a:pt x="149" y="734"/>
                      <a:pt x="149" y="734"/>
                      <a:pt x="149" y="734"/>
                    </a:cubicBezTo>
                    <a:cubicBezTo>
                      <a:pt x="149" y="747"/>
                      <a:pt x="138" y="758"/>
                      <a:pt x="125" y="758"/>
                    </a:cubicBezTo>
                    <a:cubicBezTo>
                      <a:pt x="24" y="758"/>
                      <a:pt x="24" y="758"/>
                      <a:pt x="24" y="758"/>
                    </a:cubicBezTo>
                    <a:cubicBezTo>
                      <a:pt x="11" y="758"/>
                      <a:pt x="0" y="747"/>
                      <a:pt x="0" y="73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710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710"/>
                      <a:pt x="48" y="710"/>
                      <a:pt x="48" y="710"/>
                    </a:cubicBezTo>
                    <a:lnTo>
                      <a:pt x="101" y="710"/>
                    </a:lnTo>
                    <a:close/>
                    <a:moveTo>
                      <a:pt x="101" y="710"/>
                    </a:moveTo>
                    <a:cubicBezTo>
                      <a:pt x="101" y="710"/>
                      <a:pt x="101" y="710"/>
                      <a:pt x="101" y="71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9" name="Freeform 52">
                <a:extLst>
                  <a:ext uri="{FF2B5EF4-FFF2-40B4-BE49-F238E27FC236}">
                    <a16:creationId xmlns:a16="http://schemas.microsoft.com/office/drawing/2014/main" id="{60CB00CB-EF59-4B44-B41C-F0CB054976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22208" y="5010789"/>
                <a:ext cx="47678" cy="189534"/>
              </a:xfrm>
              <a:custGeom>
                <a:avLst/>
                <a:gdLst>
                  <a:gd name="T0" fmla="*/ 149 w 149"/>
                  <a:gd name="T1" fmla="*/ 24 h 593"/>
                  <a:gd name="T2" fmla="*/ 149 w 149"/>
                  <a:gd name="T3" fmla="*/ 569 h 593"/>
                  <a:gd name="T4" fmla="*/ 125 w 149"/>
                  <a:gd name="T5" fmla="*/ 593 h 593"/>
                  <a:gd name="T6" fmla="*/ 24 w 149"/>
                  <a:gd name="T7" fmla="*/ 593 h 593"/>
                  <a:gd name="T8" fmla="*/ 0 w 149"/>
                  <a:gd name="T9" fmla="*/ 569 h 593"/>
                  <a:gd name="T10" fmla="*/ 0 w 149"/>
                  <a:gd name="T11" fmla="*/ 24 h 593"/>
                  <a:gd name="T12" fmla="*/ 24 w 149"/>
                  <a:gd name="T13" fmla="*/ 0 h 593"/>
                  <a:gd name="T14" fmla="*/ 125 w 149"/>
                  <a:gd name="T15" fmla="*/ 0 h 593"/>
                  <a:gd name="T16" fmla="*/ 149 w 149"/>
                  <a:gd name="T17" fmla="*/ 24 h 593"/>
                  <a:gd name="T18" fmla="*/ 101 w 149"/>
                  <a:gd name="T19" fmla="*/ 545 h 593"/>
                  <a:gd name="T20" fmla="*/ 101 w 149"/>
                  <a:gd name="T21" fmla="*/ 48 h 593"/>
                  <a:gd name="T22" fmla="*/ 48 w 149"/>
                  <a:gd name="T23" fmla="*/ 48 h 593"/>
                  <a:gd name="T24" fmla="*/ 48 w 149"/>
                  <a:gd name="T25" fmla="*/ 545 h 593"/>
                  <a:gd name="T26" fmla="*/ 101 w 149"/>
                  <a:gd name="T27" fmla="*/ 545 h 593"/>
                  <a:gd name="T28" fmla="*/ 101 w 149"/>
                  <a:gd name="T29" fmla="*/ 545 h 593"/>
                  <a:gd name="T30" fmla="*/ 101 w 149"/>
                  <a:gd name="T31" fmla="*/ 545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593">
                    <a:moveTo>
                      <a:pt x="149" y="24"/>
                    </a:moveTo>
                    <a:cubicBezTo>
                      <a:pt x="149" y="569"/>
                      <a:pt x="149" y="569"/>
                      <a:pt x="149" y="569"/>
                    </a:cubicBezTo>
                    <a:cubicBezTo>
                      <a:pt x="149" y="582"/>
                      <a:pt x="138" y="593"/>
                      <a:pt x="125" y="593"/>
                    </a:cubicBezTo>
                    <a:cubicBezTo>
                      <a:pt x="24" y="593"/>
                      <a:pt x="24" y="593"/>
                      <a:pt x="24" y="593"/>
                    </a:cubicBezTo>
                    <a:cubicBezTo>
                      <a:pt x="11" y="593"/>
                      <a:pt x="0" y="582"/>
                      <a:pt x="0" y="56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0"/>
                      <a:pt x="149" y="24"/>
                    </a:cubicBezTo>
                    <a:close/>
                    <a:moveTo>
                      <a:pt x="101" y="545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545"/>
                      <a:pt x="48" y="545"/>
                      <a:pt x="48" y="545"/>
                    </a:cubicBezTo>
                    <a:lnTo>
                      <a:pt x="101" y="545"/>
                    </a:lnTo>
                    <a:close/>
                    <a:moveTo>
                      <a:pt x="101" y="545"/>
                    </a:moveTo>
                    <a:cubicBezTo>
                      <a:pt x="101" y="545"/>
                      <a:pt x="101" y="545"/>
                      <a:pt x="101" y="545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90" name="Freeform 53">
                <a:extLst>
                  <a:ext uri="{FF2B5EF4-FFF2-40B4-BE49-F238E27FC236}">
                    <a16:creationId xmlns:a16="http://schemas.microsoft.com/office/drawing/2014/main" id="{12C0D89F-44CA-4062-B111-98841E16E1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75946" y="4882388"/>
                <a:ext cx="80959" cy="15342"/>
              </a:xfrm>
              <a:custGeom>
                <a:avLst/>
                <a:gdLst>
                  <a:gd name="T0" fmla="*/ 228 w 252"/>
                  <a:gd name="T1" fmla="*/ 0 h 48"/>
                  <a:gd name="T2" fmla="*/ 252 w 252"/>
                  <a:gd name="T3" fmla="*/ 24 h 48"/>
                  <a:gd name="T4" fmla="*/ 228 w 252"/>
                  <a:gd name="T5" fmla="*/ 48 h 48"/>
                  <a:gd name="T6" fmla="*/ 24 w 252"/>
                  <a:gd name="T7" fmla="*/ 48 h 48"/>
                  <a:gd name="T8" fmla="*/ 0 w 252"/>
                  <a:gd name="T9" fmla="*/ 24 h 48"/>
                  <a:gd name="T10" fmla="*/ 24 w 252"/>
                  <a:gd name="T11" fmla="*/ 0 h 48"/>
                  <a:gd name="T12" fmla="*/ 228 w 252"/>
                  <a:gd name="T13" fmla="*/ 0 h 48"/>
                  <a:gd name="T14" fmla="*/ 228 w 252"/>
                  <a:gd name="T15" fmla="*/ 0 h 48"/>
                  <a:gd name="T16" fmla="*/ 228 w 252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2" h="48">
                    <a:moveTo>
                      <a:pt x="228" y="0"/>
                    </a:moveTo>
                    <a:cubicBezTo>
                      <a:pt x="242" y="0"/>
                      <a:pt x="252" y="11"/>
                      <a:pt x="252" y="24"/>
                    </a:cubicBezTo>
                    <a:cubicBezTo>
                      <a:pt x="252" y="37"/>
                      <a:pt x="242" y="48"/>
                      <a:pt x="228" y="48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10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lnTo>
                      <a:pt x="228" y="0"/>
                    </a:lnTo>
                    <a:close/>
                    <a:moveTo>
                      <a:pt x="228" y="0"/>
                    </a:moveTo>
                    <a:cubicBezTo>
                      <a:pt x="228" y="0"/>
                      <a:pt x="228" y="0"/>
                      <a:pt x="228" y="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91" name="Freeform 55">
                <a:extLst>
                  <a:ext uri="{FF2B5EF4-FFF2-40B4-BE49-F238E27FC236}">
                    <a16:creationId xmlns:a16="http://schemas.microsoft.com/office/drawing/2014/main" id="{0142116F-4CE4-4571-A41D-A79DD17840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64922" y="5063188"/>
                <a:ext cx="45719" cy="137135"/>
              </a:xfrm>
              <a:custGeom>
                <a:avLst/>
                <a:gdLst>
                  <a:gd name="T0" fmla="*/ 149 w 149"/>
                  <a:gd name="T1" fmla="*/ 24 h 429"/>
                  <a:gd name="T2" fmla="*/ 149 w 149"/>
                  <a:gd name="T3" fmla="*/ 405 h 429"/>
                  <a:gd name="T4" fmla="*/ 125 w 149"/>
                  <a:gd name="T5" fmla="*/ 429 h 429"/>
                  <a:gd name="T6" fmla="*/ 24 w 149"/>
                  <a:gd name="T7" fmla="*/ 429 h 429"/>
                  <a:gd name="T8" fmla="*/ 0 w 149"/>
                  <a:gd name="T9" fmla="*/ 405 h 429"/>
                  <a:gd name="T10" fmla="*/ 0 w 149"/>
                  <a:gd name="T11" fmla="*/ 24 h 429"/>
                  <a:gd name="T12" fmla="*/ 24 w 149"/>
                  <a:gd name="T13" fmla="*/ 0 h 429"/>
                  <a:gd name="T14" fmla="*/ 125 w 149"/>
                  <a:gd name="T15" fmla="*/ 0 h 429"/>
                  <a:gd name="T16" fmla="*/ 149 w 149"/>
                  <a:gd name="T17" fmla="*/ 24 h 429"/>
                  <a:gd name="T18" fmla="*/ 101 w 149"/>
                  <a:gd name="T19" fmla="*/ 381 h 429"/>
                  <a:gd name="T20" fmla="*/ 101 w 149"/>
                  <a:gd name="T21" fmla="*/ 48 h 429"/>
                  <a:gd name="T22" fmla="*/ 48 w 149"/>
                  <a:gd name="T23" fmla="*/ 48 h 429"/>
                  <a:gd name="T24" fmla="*/ 48 w 149"/>
                  <a:gd name="T25" fmla="*/ 381 h 429"/>
                  <a:gd name="T26" fmla="*/ 101 w 149"/>
                  <a:gd name="T27" fmla="*/ 381 h 429"/>
                  <a:gd name="T28" fmla="*/ 101 w 149"/>
                  <a:gd name="T29" fmla="*/ 381 h 429"/>
                  <a:gd name="T30" fmla="*/ 101 w 149"/>
                  <a:gd name="T31" fmla="*/ 381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429">
                    <a:moveTo>
                      <a:pt x="149" y="24"/>
                    </a:moveTo>
                    <a:cubicBezTo>
                      <a:pt x="149" y="405"/>
                      <a:pt x="149" y="405"/>
                      <a:pt x="149" y="405"/>
                    </a:cubicBezTo>
                    <a:cubicBezTo>
                      <a:pt x="149" y="418"/>
                      <a:pt x="138" y="429"/>
                      <a:pt x="125" y="429"/>
                    </a:cubicBezTo>
                    <a:cubicBezTo>
                      <a:pt x="24" y="429"/>
                      <a:pt x="24" y="429"/>
                      <a:pt x="24" y="429"/>
                    </a:cubicBezTo>
                    <a:cubicBezTo>
                      <a:pt x="11" y="429"/>
                      <a:pt x="0" y="418"/>
                      <a:pt x="0" y="405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381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381"/>
                      <a:pt x="48" y="381"/>
                      <a:pt x="48" y="381"/>
                    </a:cubicBezTo>
                    <a:lnTo>
                      <a:pt x="101" y="381"/>
                    </a:lnTo>
                    <a:close/>
                    <a:moveTo>
                      <a:pt x="101" y="381"/>
                    </a:moveTo>
                    <a:cubicBezTo>
                      <a:pt x="101" y="381"/>
                      <a:pt x="101" y="381"/>
                      <a:pt x="101" y="381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 dirty="0"/>
              </a:p>
            </p:txBody>
          </p:sp>
          <p:sp>
            <p:nvSpPr>
              <p:cNvPr id="192" name="Freeform 57">
                <a:extLst>
                  <a:ext uri="{FF2B5EF4-FFF2-40B4-BE49-F238E27FC236}">
                    <a16:creationId xmlns:a16="http://schemas.microsoft.com/office/drawing/2014/main" id="{B6AE89D4-577A-466F-B837-720F6AC766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03248" y="5116060"/>
                <a:ext cx="47678" cy="84263"/>
              </a:xfrm>
              <a:custGeom>
                <a:avLst/>
                <a:gdLst>
                  <a:gd name="T0" fmla="*/ 149 w 149"/>
                  <a:gd name="T1" fmla="*/ 24 h 264"/>
                  <a:gd name="T2" fmla="*/ 149 w 149"/>
                  <a:gd name="T3" fmla="*/ 240 h 264"/>
                  <a:gd name="T4" fmla="*/ 125 w 149"/>
                  <a:gd name="T5" fmla="*/ 264 h 264"/>
                  <a:gd name="T6" fmla="*/ 24 w 149"/>
                  <a:gd name="T7" fmla="*/ 264 h 264"/>
                  <a:gd name="T8" fmla="*/ 0 w 149"/>
                  <a:gd name="T9" fmla="*/ 240 h 264"/>
                  <a:gd name="T10" fmla="*/ 0 w 149"/>
                  <a:gd name="T11" fmla="*/ 24 h 264"/>
                  <a:gd name="T12" fmla="*/ 24 w 149"/>
                  <a:gd name="T13" fmla="*/ 0 h 264"/>
                  <a:gd name="T14" fmla="*/ 125 w 149"/>
                  <a:gd name="T15" fmla="*/ 0 h 264"/>
                  <a:gd name="T16" fmla="*/ 149 w 149"/>
                  <a:gd name="T17" fmla="*/ 24 h 264"/>
                  <a:gd name="T18" fmla="*/ 101 w 149"/>
                  <a:gd name="T19" fmla="*/ 216 h 264"/>
                  <a:gd name="T20" fmla="*/ 101 w 149"/>
                  <a:gd name="T21" fmla="*/ 48 h 264"/>
                  <a:gd name="T22" fmla="*/ 48 w 149"/>
                  <a:gd name="T23" fmla="*/ 48 h 264"/>
                  <a:gd name="T24" fmla="*/ 48 w 149"/>
                  <a:gd name="T25" fmla="*/ 216 h 264"/>
                  <a:gd name="T26" fmla="*/ 101 w 149"/>
                  <a:gd name="T27" fmla="*/ 216 h 264"/>
                  <a:gd name="T28" fmla="*/ 101 w 149"/>
                  <a:gd name="T29" fmla="*/ 216 h 264"/>
                  <a:gd name="T30" fmla="*/ 101 w 149"/>
                  <a:gd name="T31" fmla="*/ 216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264">
                    <a:moveTo>
                      <a:pt x="149" y="24"/>
                    </a:moveTo>
                    <a:cubicBezTo>
                      <a:pt x="149" y="240"/>
                      <a:pt x="149" y="240"/>
                      <a:pt x="149" y="240"/>
                    </a:cubicBezTo>
                    <a:cubicBezTo>
                      <a:pt x="149" y="253"/>
                      <a:pt x="138" y="264"/>
                      <a:pt x="125" y="264"/>
                    </a:cubicBezTo>
                    <a:cubicBezTo>
                      <a:pt x="24" y="264"/>
                      <a:pt x="24" y="264"/>
                      <a:pt x="24" y="264"/>
                    </a:cubicBezTo>
                    <a:cubicBezTo>
                      <a:pt x="11" y="264"/>
                      <a:pt x="0" y="253"/>
                      <a:pt x="0" y="24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216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216"/>
                      <a:pt x="48" y="216"/>
                      <a:pt x="48" y="216"/>
                    </a:cubicBezTo>
                    <a:lnTo>
                      <a:pt x="101" y="216"/>
                    </a:lnTo>
                    <a:close/>
                    <a:moveTo>
                      <a:pt x="101" y="216"/>
                    </a:moveTo>
                    <a:cubicBezTo>
                      <a:pt x="101" y="216"/>
                      <a:pt x="101" y="216"/>
                      <a:pt x="101" y="216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</p:grpSp>
      </p:grpSp>
      <p:sp>
        <p:nvSpPr>
          <p:cNvPr id="175" name="Oval 174">
            <a:extLst>
              <a:ext uri="{FF2B5EF4-FFF2-40B4-BE49-F238E27FC236}">
                <a16:creationId xmlns:a16="http://schemas.microsoft.com/office/drawing/2014/main" id="{0496FDE3-2519-4B37-8B56-FCCA0E497DB3}"/>
              </a:ext>
            </a:extLst>
          </p:cNvPr>
          <p:cNvSpPr/>
          <p:nvPr/>
        </p:nvSpPr>
        <p:spPr>
          <a:xfrm flipH="1">
            <a:off x="7267329" y="1850490"/>
            <a:ext cx="871306" cy="87130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14300" dir="4800000" algn="tl" rotWithShape="0">
              <a:prstClr val="black">
                <a:alpha val="2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3DC4FBE-52E5-4B45-BEEA-85833BE4A7BE}"/>
              </a:ext>
            </a:extLst>
          </p:cNvPr>
          <p:cNvGrpSpPr/>
          <p:nvPr/>
        </p:nvGrpSpPr>
        <p:grpSpPr>
          <a:xfrm>
            <a:off x="4019701" y="1840291"/>
            <a:ext cx="871306" cy="871307"/>
            <a:chOff x="4019701" y="1840291"/>
            <a:chExt cx="871306" cy="871307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62FE7440-D463-4977-AA2E-14AE6C7A3CC3}"/>
                </a:ext>
              </a:extLst>
            </p:cNvPr>
            <p:cNvSpPr/>
            <p:nvPr/>
          </p:nvSpPr>
          <p:spPr>
            <a:xfrm flipH="1">
              <a:off x="4019701" y="1840291"/>
              <a:ext cx="871306" cy="8713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14300" dist="114300" dir="4800000" algn="tl" rotWithShape="0">
                <a:prstClr val="black">
                  <a:alpha val="2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IN" sz="24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04A8A40C-0676-49F0-B9F8-9D146CE79EEE}"/>
                </a:ext>
              </a:extLst>
            </p:cNvPr>
            <p:cNvGrpSpPr/>
            <p:nvPr/>
          </p:nvGrpSpPr>
          <p:grpSpPr>
            <a:xfrm>
              <a:off x="4179001" y="2020277"/>
              <a:ext cx="580305" cy="501470"/>
              <a:chOff x="7086600" y="4859338"/>
              <a:chExt cx="531813" cy="531812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D23F960C-2EF4-4249-A09C-67FD1A088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325" y="4962525"/>
                <a:ext cx="407988" cy="26352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47495A30-F039-4B1C-821D-F1D956CD33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0100" y="4883150"/>
                <a:ext cx="25400" cy="396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0FCEE7E2-5D91-46BD-BB82-189485B501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88200" y="4883150"/>
                <a:ext cx="12700" cy="396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8F401C4B-A1EA-4E1F-8C9A-F7575F0050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29475" y="4883150"/>
                <a:ext cx="15875" cy="396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6" name="Freeform 294">
                <a:extLst>
                  <a:ext uri="{FF2B5EF4-FFF2-40B4-BE49-F238E27FC236}">
                    <a16:creationId xmlns:a16="http://schemas.microsoft.com/office/drawing/2014/main" id="{22BD2978-4B80-4CE8-9178-00CF635E2A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27875" y="4943475"/>
                <a:ext cx="474663" cy="336550"/>
              </a:xfrm>
              <a:custGeom>
                <a:avLst/>
                <a:gdLst>
                  <a:gd name="T0" fmla="*/ 0 w 899"/>
                  <a:gd name="T1" fmla="*/ 579 h 636"/>
                  <a:gd name="T2" fmla="*/ 50 w 899"/>
                  <a:gd name="T3" fmla="*/ 579 h 636"/>
                  <a:gd name="T4" fmla="*/ 50 w 899"/>
                  <a:gd name="T5" fmla="*/ 18 h 636"/>
                  <a:gd name="T6" fmla="*/ 50 w 899"/>
                  <a:gd name="T7" fmla="*/ 0 h 636"/>
                  <a:gd name="T8" fmla="*/ 66 w 899"/>
                  <a:gd name="T9" fmla="*/ 0 h 636"/>
                  <a:gd name="T10" fmla="*/ 879 w 899"/>
                  <a:gd name="T11" fmla="*/ 0 h 636"/>
                  <a:gd name="T12" fmla="*/ 895 w 899"/>
                  <a:gd name="T13" fmla="*/ 0 h 636"/>
                  <a:gd name="T14" fmla="*/ 895 w 899"/>
                  <a:gd name="T15" fmla="*/ 18 h 636"/>
                  <a:gd name="T16" fmla="*/ 895 w 899"/>
                  <a:gd name="T17" fmla="*/ 579 h 636"/>
                  <a:gd name="T18" fmla="*/ 899 w 899"/>
                  <a:gd name="T19" fmla="*/ 579 h 636"/>
                  <a:gd name="T20" fmla="*/ 899 w 899"/>
                  <a:gd name="T21" fmla="*/ 636 h 636"/>
                  <a:gd name="T22" fmla="*/ 0 w 899"/>
                  <a:gd name="T23" fmla="*/ 636 h 636"/>
                  <a:gd name="T24" fmla="*/ 0 w 899"/>
                  <a:gd name="T25" fmla="*/ 579 h 636"/>
                  <a:gd name="T26" fmla="*/ 84 w 899"/>
                  <a:gd name="T27" fmla="*/ 579 h 636"/>
                  <a:gd name="T28" fmla="*/ 861 w 899"/>
                  <a:gd name="T29" fmla="*/ 579 h 636"/>
                  <a:gd name="T30" fmla="*/ 861 w 899"/>
                  <a:gd name="T31" fmla="*/ 35 h 636"/>
                  <a:gd name="T32" fmla="*/ 84 w 899"/>
                  <a:gd name="T33" fmla="*/ 35 h 636"/>
                  <a:gd name="T34" fmla="*/ 84 w 899"/>
                  <a:gd name="T35" fmla="*/ 579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99" h="636">
                    <a:moveTo>
                      <a:pt x="0" y="579"/>
                    </a:moveTo>
                    <a:lnTo>
                      <a:pt x="50" y="579"/>
                    </a:lnTo>
                    <a:lnTo>
                      <a:pt x="50" y="18"/>
                    </a:lnTo>
                    <a:lnTo>
                      <a:pt x="50" y="0"/>
                    </a:lnTo>
                    <a:lnTo>
                      <a:pt x="66" y="0"/>
                    </a:lnTo>
                    <a:lnTo>
                      <a:pt x="879" y="0"/>
                    </a:lnTo>
                    <a:lnTo>
                      <a:pt x="895" y="0"/>
                    </a:lnTo>
                    <a:lnTo>
                      <a:pt x="895" y="18"/>
                    </a:lnTo>
                    <a:lnTo>
                      <a:pt x="895" y="579"/>
                    </a:lnTo>
                    <a:lnTo>
                      <a:pt x="899" y="579"/>
                    </a:lnTo>
                    <a:lnTo>
                      <a:pt x="899" y="636"/>
                    </a:lnTo>
                    <a:lnTo>
                      <a:pt x="0" y="636"/>
                    </a:lnTo>
                    <a:lnTo>
                      <a:pt x="0" y="579"/>
                    </a:lnTo>
                    <a:close/>
                    <a:moveTo>
                      <a:pt x="84" y="579"/>
                    </a:moveTo>
                    <a:lnTo>
                      <a:pt x="861" y="579"/>
                    </a:lnTo>
                    <a:lnTo>
                      <a:pt x="861" y="35"/>
                    </a:lnTo>
                    <a:lnTo>
                      <a:pt x="84" y="35"/>
                    </a:lnTo>
                    <a:lnTo>
                      <a:pt x="84" y="57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7" name="Freeform 295">
                <a:extLst>
                  <a:ext uri="{FF2B5EF4-FFF2-40B4-BE49-F238E27FC236}">
                    <a16:creationId xmlns:a16="http://schemas.microsoft.com/office/drawing/2014/main" id="{5580846C-5172-4BE8-9545-C787C5CA2C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2950" y="4859338"/>
                <a:ext cx="511175" cy="403225"/>
              </a:xfrm>
              <a:custGeom>
                <a:avLst/>
                <a:gdLst>
                  <a:gd name="T0" fmla="*/ 35 w 968"/>
                  <a:gd name="T1" fmla="*/ 762 h 762"/>
                  <a:gd name="T2" fmla="*/ 35 w 968"/>
                  <a:gd name="T3" fmla="*/ 34 h 762"/>
                  <a:gd name="T4" fmla="*/ 345 w 968"/>
                  <a:gd name="T5" fmla="*/ 34 h 762"/>
                  <a:gd name="T6" fmla="*/ 404 w 968"/>
                  <a:gd name="T7" fmla="*/ 103 h 762"/>
                  <a:gd name="T8" fmla="*/ 409 w 968"/>
                  <a:gd name="T9" fmla="*/ 110 h 762"/>
                  <a:gd name="T10" fmla="*/ 417 w 968"/>
                  <a:gd name="T11" fmla="*/ 110 h 762"/>
                  <a:gd name="T12" fmla="*/ 933 w 968"/>
                  <a:gd name="T13" fmla="*/ 110 h 762"/>
                  <a:gd name="T14" fmla="*/ 933 w 968"/>
                  <a:gd name="T15" fmla="*/ 161 h 762"/>
                  <a:gd name="T16" fmla="*/ 945 w 968"/>
                  <a:gd name="T17" fmla="*/ 161 h 762"/>
                  <a:gd name="T18" fmla="*/ 961 w 968"/>
                  <a:gd name="T19" fmla="*/ 161 h 762"/>
                  <a:gd name="T20" fmla="*/ 961 w 968"/>
                  <a:gd name="T21" fmla="*/ 171 h 762"/>
                  <a:gd name="T22" fmla="*/ 968 w 968"/>
                  <a:gd name="T23" fmla="*/ 171 h 762"/>
                  <a:gd name="T24" fmla="*/ 968 w 968"/>
                  <a:gd name="T25" fmla="*/ 92 h 762"/>
                  <a:gd name="T26" fmla="*/ 968 w 968"/>
                  <a:gd name="T27" fmla="*/ 75 h 762"/>
                  <a:gd name="T28" fmla="*/ 950 w 968"/>
                  <a:gd name="T29" fmla="*/ 75 h 762"/>
                  <a:gd name="T30" fmla="*/ 426 w 968"/>
                  <a:gd name="T31" fmla="*/ 75 h 762"/>
                  <a:gd name="T32" fmla="*/ 365 w 968"/>
                  <a:gd name="T33" fmla="*/ 6 h 762"/>
                  <a:gd name="T34" fmla="*/ 360 w 968"/>
                  <a:gd name="T35" fmla="*/ 0 h 762"/>
                  <a:gd name="T36" fmla="*/ 353 w 968"/>
                  <a:gd name="T37" fmla="*/ 0 h 762"/>
                  <a:gd name="T38" fmla="*/ 18 w 968"/>
                  <a:gd name="T39" fmla="*/ 0 h 762"/>
                  <a:gd name="T40" fmla="*/ 0 w 968"/>
                  <a:gd name="T41" fmla="*/ 0 h 762"/>
                  <a:gd name="T42" fmla="*/ 0 w 968"/>
                  <a:gd name="T43" fmla="*/ 16 h 762"/>
                  <a:gd name="T44" fmla="*/ 0 w 968"/>
                  <a:gd name="T45" fmla="*/ 762 h 762"/>
                  <a:gd name="T46" fmla="*/ 35 w 968"/>
                  <a:gd name="T47" fmla="*/ 762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68" h="762">
                    <a:moveTo>
                      <a:pt x="35" y="762"/>
                    </a:moveTo>
                    <a:lnTo>
                      <a:pt x="35" y="34"/>
                    </a:lnTo>
                    <a:lnTo>
                      <a:pt x="345" y="34"/>
                    </a:lnTo>
                    <a:lnTo>
                      <a:pt x="404" y="103"/>
                    </a:lnTo>
                    <a:lnTo>
                      <a:pt x="409" y="110"/>
                    </a:lnTo>
                    <a:lnTo>
                      <a:pt x="417" y="110"/>
                    </a:lnTo>
                    <a:lnTo>
                      <a:pt x="933" y="110"/>
                    </a:lnTo>
                    <a:lnTo>
                      <a:pt x="933" y="161"/>
                    </a:lnTo>
                    <a:lnTo>
                      <a:pt x="945" y="161"/>
                    </a:lnTo>
                    <a:lnTo>
                      <a:pt x="961" y="161"/>
                    </a:lnTo>
                    <a:lnTo>
                      <a:pt x="961" y="171"/>
                    </a:lnTo>
                    <a:lnTo>
                      <a:pt x="968" y="171"/>
                    </a:lnTo>
                    <a:lnTo>
                      <a:pt x="968" y="92"/>
                    </a:lnTo>
                    <a:lnTo>
                      <a:pt x="968" y="75"/>
                    </a:lnTo>
                    <a:lnTo>
                      <a:pt x="950" y="75"/>
                    </a:lnTo>
                    <a:lnTo>
                      <a:pt x="426" y="75"/>
                    </a:lnTo>
                    <a:lnTo>
                      <a:pt x="365" y="6"/>
                    </a:lnTo>
                    <a:lnTo>
                      <a:pt x="360" y="0"/>
                    </a:lnTo>
                    <a:lnTo>
                      <a:pt x="35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0" y="762"/>
                    </a:lnTo>
                    <a:lnTo>
                      <a:pt x="35" y="7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8" name="Freeform 296">
                <a:extLst>
                  <a:ext uri="{FF2B5EF4-FFF2-40B4-BE49-F238E27FC236}">
                    <a16:creationId xmlns:a16="http://schemas.microsoft.com/office/drawing/2014/main" id="{8425A8D2-B0DC-4F18-995D-58825365E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6600" y="5280025"/>
                <a:ext cx="531813" cy="111125"/>
              </a:xfrm>
              <a:custGeom>
                <a:avLst/>
                <a:gdLst>
                  <a:gd name="T0" fmla="*/ 0 w 1004"/>
                  <a:gd name="T1" fmla="*/ 102 h 209"/>
                  <a:gd name="T2" fmla="*/ 438 w 1004"/>
                  <a:gd name="T3" fmla="*/ 102 h 209"/>
                  <a:gd name="T4" fmla="*/ 444 w 1004"/>
                  <a:gd name="T5" fmla="*/ 93 h 209"/>
                  <a:gd name="T6" fmla="*/ 452 w 1004"/>
                  <a:gd name="T7" fmla="*/ 84 h 209"/>
                  <a:gd name="T8" fmla="*/ 461 w 1004"/>
                  <a:gd name="T9" fmla="*/ 78 h 209"/>
                  <a:gd name="T10" fmla="*/ 471 w 1004"/>
                  <a:gd name="T11" fmla="*/ 72 h 209"/>
                  <a:gd name="T12" fmla="*/ 471 w 1004"/>
                  <a:gd name="T13" fmla="*/ 0 h 209"/>
                  <a:gd name="T14" fmla="*/ 533 w 1004"/>
                  <a:gd name="T15" fmla="*/ 0 h 209"/>
                  <a:gd name="T16" fmla="*/ 533 w 1004"/>
                  <a:gd name="T17" fmla="*/ 72 h 209"/>
                  <a:gd name="T18" fmla="*/ 542 w 1004"/>
                  <a:gd name="T19" fmla="*/ 78 h 209"/>
                  <a:gd name="T20" fmla="*/ 551 w 1004"/>
                  <a:gd name="T21" fmla="*/ 84 h 209"/>
                  <a:gd name="T22" fmla="*/ 558 w 1004"/>
                  <a:gd name="T23" fmla="*/ 93 h 209"/>
                  <a:gd name="T24" fmla="*/ 565 w 1004"/>
                  <a:gd name="T25" fmla="*/ 102 h 209"/>
                  <a:gd name="T26" fmla="*/ 1004 w 1004"/>
                  <a:gd name="T27" fmla="*/ 102 h 209"/>
                  <a:gd name="T28" fmla="*/ 1004 w 1004"/>
                  <a:gd name="T29" fmla="*/ 172 h 209"/>
                  <a:gd name="T30" fmla="*/ 565 w 1004"/>
                  <a:gd name="T31" fmla="*/ 172 h 209"/>
                  <a:gd name="T32" fmla="*/ 560 w 1004"/>
                  <a:gd name="T33" fmla="*/ 179 h 209"/>
                  <a:gd name="T34" fmla="*/ 553 w 1004"/>
                  <a:gd name="T35" fmla="*/ 187 h 209"/>
                  <a:gd name="T36" fmla="*/ 547 w 1004"/>
                  <a:gd name="T37" fmla="*/ 193 h 209"/>
                  <a:gd name="T38" fmla="*/ 539 w 1004"/>
                  <a:gd name="T39" fmla="*/ 198 h 209"/>
                  <a:gd name="T40" fmla="*/ 530 w 1004"/>
                  <a:gd name="T41" fmla="*/ 204 h 209"/>
                  <a:gd name="T42" fmla="*/ 521 w 1004"/>
                  <a:gd name="T43" fmla="*/ 206 h 209"/>
                  <a:gd name="T44" fmla="*/ 512 w 1004"/>
                  <a:gd name="T45" fmla="*/ 209 h 209"/>
                  <a:gd name="T46" fmla="*/ 502 w 1004"/>
                  <a:gd name="T47" fmla="*/ 209 h 209"/>
                  <a:gd name="T48" fmla="*/ 492 w 1004"/>
                  <a:gd name="T49" fmla="*/ 209 h 209"/>
                  <a:gd name="T50" fmla="*/ 481 w 1004"/>
                  <a:gd name="T51" fmla="*/ 206 h 209"/>
                  <a:gd name="T52" fmla="*/ 472 w 1004"/>
                  <a:gd name="T53" fmla="*/ 204 h 209"/>
                  <a:gd name="T54" fmla="*/ 464 w 1004"/>
                  <a:gd name="T55" fmla="*/ 198 h 209"/>
                  <a:gd name="T56" fmla="*/ 456 w 1004"/>
                  <a:gd name="T57" fmla="*/ 193 h 209"/>
                  <a:gd name="T58" fmla="*/ 449 w 1004"/>
                  <a:gd name="T59" fmla="*/ 187 h 209"/>
                  <a:gd name="T60" fmla="*/ 443 w 1004"/>
                  <a:gd name="T61" fmla="*/ 179 h 209"/>
                  <a:gd name="T62" fmla="*/ 438 w 1004"/>
                  <a:gd name="T63" fmla="*/ 172 h 209"/>
                  <a:gd name="T64" fmla="*/ 0 w 1004"/>
                  <a:gd name="T65" fmla="*/ 172 h 209"/>
                  <a:gd name="T66" fmla="*/ 0 w 1004"/>
                  <a:gd name="T67" fmla="*/ 102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04" h="209">
                    <a:moveTo>
                      <a:pt x="0" y="102"/>
                    </a:moveTo>
                    <a:lnTo>
                      <a:pt x="438" y="102"/>
                    </a:lnTo>
                    <a:lnTo>
                      <a:pt x="444" y="93"/>
                    </a:lnTo>
                    <a:lnTo>
                      <a:pt x="452" y="84"/>
                    </a:lnTo>
                    <a:lnTo>
                      <a:pt x="461" y="78"/>
                    </a:lnTo>
                    <a:lnTo>
                      <a:pt x="471" y="72"/>
                    </a:lnTo>
                    <a:lnTo>
                      <a:pt x="471" y="0"/>
                    </a:lnTo>
                    <a:lnTo>
                      <a:pt x="533" y="0"/>
                    </a:lnTo>
                    <a:lnTo>
                      <a:pt x="533" y="72"/>
                    </a:lnTo>
                    <a:lnTo>
                      <a:pt x="542" y="78"/>
                    </a:lnTo>
                    <a:lnTo>
                      <a:pt x="551" y="84"/>
                    </a:lnTo>
                    <a:lnTo>
                      <a:pt x="558" y="93"/>
                    </a:lnTo>
                    <a:lnTo>
                      <a:pt x="565" y="102"/>
                    </a:lnTo>
                    <a:lnTo>
                      <a:pt x="1004" y="102"/>
                    </a:lnTo>
                    <a:lnTo>
                      <a:pt x="1004" y="172"/>
                    </a:lnTo>
                    <a:lnTo>
                      <a:pt x="565" y="172"/>
                    </a:lnTo>
                    <a:lnTo>
                      <a:pt x="560" y="179"/>
                    </a:lnTo>
                    <a:lnTo>
                      <a:pt x="553" y="187"/>
                    </a:lnTo>
                    <a:lnTo>
                      <a:pt x="547" y="193"/>
                    </a:lnTo>
                    <a:lnTo>
                      <a:pt x="539" y="198"/>
                    </a:lnTo>
                    <a:lnTo>
                      <a:pt x="530" y="204"/>
                    </a:lnTo>
                    <a:lnTo>
                      <a:pt x="521" y="206"/>
                    </a:lnTo>
                    <a:lnTo>
                      <a:pt x="512" y="209"/>
                    </a:lnTo>
                    <a:lnTo>
                      <a:pt x="502" y="209"/>
                    </a:lnTo>
                    <a:lnTo>
                      <a:pt x="492" y="209"/>
                    </a:lnTo>
                    <a:lnTo>
                      <a:pt x="481" y="206"/>
                    </a:lnTo>
                    <a:lnTo>
                      <a:pt x="472" y="204"/>
                    </a:lnTo>
                    <a:lnTo>
                      <a:pt x="464" y="198"/>
                    </a:lnTo>
                    <a:lnTo>
                      <a:pt x="456" y="193"/>
                    </a:lnTo>
                    <a:lnTo>
                      <a:pt x="449" y="187"/>
                    </a:lnTo>
                    <a:lnTo>
                      <a:pt x="443" y="179"/>
                    </a:lnTo>
                    <a:lnTo>
                      <a:pt x="438" y="172"/>
                    </a:lnTo>
                    <a:lnTo>
                      <a:pt x="0" y="172"/>
                    </a:lnTo>
                    <a:lnTo>
                      <a:pt x="0" y="10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69EAA5BD-4848-408B-ADF3-ED752E93DF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64425" y="4984750"/>
                <a:ext cx="95250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36816040-1691-4E3D-A190-5C7D8D81D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64425" y="5008563"/>
                <a:ext cx="65088" cy="23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</p:grp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B74D0C7D-8906-471C-BFBE-DAAACB981CAD}"/>
              </a:ext>
            </a:extLst>
          </p:cNvPr>
          <p:cNvGrpSpPr/>
          <p:nvPr/>
        </p:nvGrpSpPr>
        <p:grpSpPr>
          <a:xfrm>
            <a:off x="7416999" y="1981576"/>
            <a:ext cx="642319" cy="586448"/>
            <a:chOff x="-3390901" y="1392237"/>
            <a:chExt cx="4237038" cy="3884614"/>
          </a:xfrm>
          <a:solidFill>
            <a:srgbClr val="92D050"/>
          </a:solidFill>
        </p:grpSpPr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71322412-0210-4C58-A4D3-5ACD60F37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67013" y="4745038"/>
              <a:ext cx="660400" cy="531813"/>
            </a:xfrm>
            <a:custGeom>
              <a:avLst/>
              <a:gdLst>
                <a:gd name="T0" fmla="*/ 416 w 416"/>
                <a:gd name="T1" fmla="*/ 94 h 335"/>
                <a:gd name="T2" fmla="*/ 279 w 416"/>
                <a:gd name="T3" fmla="*/ 335 h 335"/>
                <a:gd name="T4" fmla="*/ 0 w 416"/>
                <a:gd name="T5" fmla="*/ 335 h 335"/>
                <a:gd name="T6" fmla="*/ 190 w 416"/>
                <a:gd name="T7" fmla="*/ 0 h 335"/>
                <a:gd name="T8" fmla="*/ 416 w 416"/>
                <a:gd name="T9" fmla="*/ 9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335">
                  <a:moveTo>
                    <a:pt x="416" y="94"/>
                  </a:moveTo>
                  <a:lnTo>
                    <a:pt x="279" y="335"/>
                  </a:lnTo>
                  <a:lnTo>
                    <a:pt x="0" y="335"/>
                  </a:lnTo>
                  <a:lnTo>
                    <a:pt x="190" y="0"/>
                  </a:lnTo>
                  <a:lnTo>
                    <a:pt x="416" y="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CB2AA821-D9A6-4F12-842A-D09804210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93788" y="4745038"/>
              <a:ext cx="660400" cy="531813"/>
            </a:xfrm>
            <a:custGeom>
              <a:avLst/>
              <a:gdLst>
                <a:gd name="T0" fmla="*/ 0 w 416"/>
                <a:gd name="T1" fmla="*/ 94 h 335"/>
                <a:gd name="T2" fmla="*/ 137 w 416"/>
                <a:gd name="T3" fmla="*/ 335 h 335"/>
                <a:gd name="T4" fmla="*/ 416 w 416"/>
                <a:gd name="T5" fmla="*/ 335 h 335"/>
                <a:gd name="T6" fmla="*/ 226 w 416"/>
                <a:gd name="T7" fmla="*/ 0 h 335"/>
                <a:gd name="T8" fmla="*/ 0 w 416"/>
                <a:gd name="T9" fmla="*/ 9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335">
                  <a:moveTo>
                    <a:pt x="0" y="94"/>
                  </a:moveTo>
                  <a:lnTo>
                    <a:pt x="137" y="335"/>
                  </a:lnTo>
                  <a:lnTo>
                    <a:pt x="416" y="335"/>
                  </a:lnTo>
                  <a:lnTo>
                    <a:pt x="226" y="0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079D6D0F-FD2A-4190-AD29-9A64A91284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390901" y="1392237"/>
              <a:ext cx="3581402" cy="3575049"/>
            </a:xfrm>
            <a:custGeom>
              <a:avLst/>
              <a:gdLst>
                <a:gd name="connsiteX0" fmla="*/ 1790700 w 3581400"/>
                <a:gd name="connsiteY0" fmla="*/ 0 h 3575050"/>
                <a:gd name="connsiteX1" fmla="*/ 3581400 w 3581400"/>
                <a:gd name="connsiteY1" fmla="*/ 1787525 h 3575050"/>
                <a:gd name="connsiteX2" fmla="*/ 1790700 w 3581400"/>
                <a:gd name="connsiteY2" fmla="*/ 3575050 h 3575050"/>
                <a:gd name="connsiteX3" fmla="*/ 0 w 3581400"/>
                <a:gd name="connsiteY3" fmla="*/ 1787525 h 3575050"/>
                <a:gd name="connsiteX4" fmla="*/ 1790700 w 3581400"/>
                <a:gd name="connsiteY4" fmla="*/ 0 h 3575050"/>
                <a:gd name="connsiteX5" fmla="*/ 1790701 w 3581400"/>
                <a:gd name="connsiteY5" fmla="*/ 550863 h 3575050"/>
                <a:gd name="connsiteX6" fmla="*/ 550863 w 3581400"/>
                <a:gd name="connsiteY6" fmla="*/ 1787526 h 3575050"/>
                <a:gd name="connsiteX7" fmla="*/ 1790701 w 3581400"/>
                <a:gd name="connsiteY7" fmla="*/ 3024189 h 3575050"/>
                <a:gd name="connsiteX8" fmla="*/ 3030539 w 3581400"/>
                <a:gd name="connsiteY8" fmla="*/ 1787526 h 3575050"/>
                <a:gd name="connsiteX9" fmla="*/ 1790701 w 3581400"/>
                <a:gd name="connsiteY9" fmla="*/ 550863 h 357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81400" h="3575050">
                  <a:moveTo>
                    <a:pt x="1790700" y="0"/>
                  </a:moveTo>
                  <a:cubicBezTo>
                    <a:pt x="2779676" y="0"/>
                    <a:pt x="3581400" y="800302"/>
                    <a:pt x="3581400" y="1787525"/>
                  </a:cubicBezTo>
                  <a:cubicBezTo>
                    <a:pt x="3581400" y="2774748"/>
                    <a:pt x="2779676" y="3575050"/>
                    <a:pt x="1790700" y="3575050"/>
                  </a:cubicBezTo>
                  <a:cubicBezTo>
                    <a:pt x="801724" y="3575050"/>
                    <a:pt x="0" y="2774748"/>
                    <a:pt x="0" y="1787525"/>
                  </a:cubicBezTo>
                  <a:cubicBezTo>
                    <a:pt x="0" y="800302"/>
                    <a:pt x="801724" y="0"/>
                    <a:pt x="1790700" y="0"/>
                  </a:cubicBezTo>
                  <a:close/>
                  <a:moveTo>
                    <a:pt x="1790701" y="550863"/>
                  </a:moveTo>
                  <a:cubicBezTo>
                    <a:pt x="1105957" y="550863"/>
                    <a:pt x="550863" y="1104536"/>
                    <a:pt x="550863" y="1787526"/>
                  </a:cubicBezTo>
                  <a:cubicBezTo>
                    <a:pt x="550863" y="2470516"/>
                    <a:pt x="1105957" y="3024189"/>
                    <a:pt x="1790701" y="3024189"/>
                  </a:cubicBezTo>
                  <a:cubicBezTo>
                    <a:pt x="2475445" y="3024189"/>
                    <a:pt x="3030539" y="2470516"/>
                    <a:pt x="3030539" y="1787526"/>
                  </a:cubicBezTo>
                  <a:cubicBezTo>
                    <a:pt x="3030539" y="1104536"/>
                    <a:pt x="2475445" y="550863"/>
                    <a:pt x="1790701" y="5508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B229648B-975E-4440-AF2C-96C8121EB9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366963" y="2414588"/>
              <a:ext cx="1533526" cy="1530350"/>
            </a:xfrm>
            <a:custGeom>
              <a:avLst/>
              <a:gdLst>
                <a:gd name="connsiteX0" fmla="*/ 766763 w 1533526"/>
                <a:gd name="connsiteY0" fmla="*/ 0 h 1530350"/>
                <a:gd name="connsiteX1" fmla="*/ 1533526 w 1533526"/>
                <a:gd name="connsiteY1" fmla="*/ 765175 h 1530350"/>
                <a:gd name="connsiteX2" fmla="*/ 766763 w 1533526"/>
                <a:gd name="connsiteY2" fmla="*/ 1530350 h 1530350"/>
                <a:gd name="connsiteX3" fmla="*/ 0 w 1533526"/>
                <a:gd name="connsiteY3" fmla="*/ 765175 h 1530350"/>
                <a:gd name="connsiteX4" fmla="*/ 766763 w 1533526"/>
                <a:gd name="connsiteY4" fmla="*/ 0 h 153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3526" h="1530350">
                  <a:moveTo>
                    <a:pt x="766763" y="0"/>
                  </a:moveTo>
                  <a:cubicBezTo>
                    <a:pt x="1190235" y="0"/>
                    <a:pt x="1533526" y="342581"/>
                    <a:pt x="1533526" y="765175"/>
                  </a:cubicBezTo>
                  <a:cubicBezTo>
                    <a:pt x="1533526" y="1187769"/>
                    <a:pt x="1190235" y="1530350"/>
                    <a:pt x="766763" y="1530350"/>
                  </a:cubicBezTo>
                  <a:cubicBezTo>
                    <a:pt x="343291" y="1530350"/>
                    <a:pt x="0" y="1187769"/>
                    <a:pt x="0" y="765175"/>
                  </a:cubicBezTo>
                  <a:cubicBezTo>
                    <a:pt x="0" y="342581"/>
                    <a:pt x="343291" y="0"/>
                    <a:pt x="7667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sp>
          <p:nvSpPr>
            <p:cNvPr id="148" name="Freeform 24">
              <a:extLst>
                <a:ext uri="{FF2B5EF4-FFF2-40B4-BE49-F238E27FC236}">
                  <a16:creationId xmlns:a16="http://schemas.microsoft.com/office/drawing/2014/main" id="{13A604AB-0ECE-4E33-8834-35CC62021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0363" y="2819401"/>
              <a:ext cx="1206500" cy="720725"/>
            </a:xfrm>
            <a:custGeom>
              <a:avLst/>
              <a:gdLst>
                <a:gd name="T0" fmla="*/ 228 w 760"/>
                <a:gd name="T1" fmla="*/ 0 h 454"/>
                <a:gd name="T2" fmla="*/ 0 w 760"/>
                <a:gd name="T3" fmla="*/ 227 h 454"/>
                <a:gd name="T4" fmla="*/ 228 w 760"/>
                <a:gd name="T5" fmla="*/ 454 h 454"/>
                <a:gd name="T6" fmla="*/ 760 w 760"/>
                <a:gd name="T7" fmla="*/ 454 h 454"/>
                <a:gd name="T8" fmla="*/ 532 w 760"/>
                <a:gd name="T9" fmla="*/ 227 h 454"/>
                <a:gd name="T10" fmla="*/ 760 w 760"/>
                <a:gd name="T11" fmla="*/ 0 h 454"/>
                <a:gd name="T12" fmla="*/ 228 w 760"/>
                <a:gd name="T13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0" h="454">
                  <a:moveTo>
                    <a:pt x="228" y="0"/>
                  </a:moveTo>
                  <a:lnTo>
                    <a:pt x="0" y="227"/>
                  </a:lnTo>
                  <a:lnTo>
                    <a:pt x="228" y="454"/>
                  </a:lnTo>
                  <a:lnTo>
                    <a:pt x="760" y="454"/>
                  </a:lnTo>
                  <a:lnTo>
                    <a:pt x="532" y="227"/>
                  </a:lnTo>
                  <a:lnTo>
                    <a:pt x="760" y="0"/>
                  </a:lnTo>
                  <a:lnTo>
                    <a:pt x="2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7892751-0252-4DAA-A363-76EBB112B172}"/>
              </a:ext>
            </a:extLst>
          </p:cNvPr>
          <p:cNvGrpSpPr/>
          <p:nvPr/>
        </p:nvGrpSpPr>
        <p:grpSpPr>
          <a:xfrm>
            <a:off x="790500" y="1746356"/>
            <a:ext cx="2954893" cy="729597"/>
            <a:chOff x="8150620" y="1319673"/>
            <a:chExt cx="2949881" cy="729597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D72CBDEB-8799-4600-B0A0-122E8E9B722C}"/>
                </a:ext>
              </a:extLst>
            </p:cNvPr>
            <p:cNvSpPr txBox="1"/>
            <p:nvPr/>
          </p:nvSpPr>
          <p:spPr>
            <a:xfrm>
              <a:off x="8150620" y="1741493"/>
              <a:ext cx="2949881" cy="30777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obotic automation, Online System 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51B671F5-CA01-4E63-9841-78DD9583708D}"/>
                </a:ext>
              </a:extLst>
            </p:cNvPr>
            <p:cNvSpPr txBox="1"/>
            <p:nvPr/>
          </p:nvSpPr>
          <p:spPr>
            <a:xfrm>
              <a:off x="8150620" y="1319673"/>
              <a:ext cx="2949881" cy="40011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 defTabSz="1218987">
                <a:defRPr/>
              </a:pPr>
              <a:r>
                <a:rPr lang="en-US" sz="20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ulti-Form Technolog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5345279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Oval 163">
            <a:extLst>
              <a:ext uri="{FF2B5EF4-FFF2-40B4-BE49-F238E27FC236}">
                <a16:creationId xmlns:a16="http://schemas.microsoft.com/office/drawing/2014/main" id="{FE436C90-3EEF-4729-AE4D-11106A1F4453}"/>
              </a:ext>
            </a:extLst>
          </p:cNvPr>
          <p:cNvSpPr/>
          <p:nvPr/>
        </p:nvSpPr>
        <p:spPr>
          <a:xfrm rot="10800000" flipH="1" flipV="1">
            <a:off x="7522471" y="4180650"/>
            <a:ext cx="1122891" cy="1122892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644EB66-2F1F-4DC1-BB33-75FAFEEA5001}"/>
              </a:ext>
            </a:extLst>
          </p:cNvPr>
          <p:cNvGrpSpPr/>
          <p:nvPr/>
        </p:nvGrpSpPr>
        <p:grpSpPr>
          <a:xfrm rot="120000">
            <a:off x="3660972" y="4031032"/>
            <a:ext cx="1678674" cy="1427245"/>
            <a:chOff x="3660972" y="4031032"/>
            <a:chExt cx="1678674" cy="1427245"/>
          </a:xfrm>
          <a:solidFill>
            <a:srgbClr val="00B0F0"/>
          </a:solidFill>
        </p:grpSpPr>
        <p:sp>
          <p:nvSpPr>
            <p:cNvPr id="151" name="Rectangle 6">
              <a:extLst>
                <a:ext uri="{FF2B5EF4-FFF2-40B4-BE49-F238E27FC236}">
                  <a16:creationId xmlns:a16="http://schemas.microsoft.com/office/drawing/2014/main" id="{D3CE5A45-E119-4AEF-9D4D-FDAA3D95B7DD}"/>
                </a:ext>
              </a:extLst>
            </p:cNvPr>
            <p:cNvSpPr/>
            <p:nvPr/>
          </p:nvSpPr>
          <p:spPr>
            <a:xfrm rot="3438665" flipV="1">
              <a:off x="4370745" y="3985512"/>
              <a:ext cx="923382" cy="1014421"/>
            </a:xfrm>
            <a:custGeom>
              <a:avLst/>
              <a:gdLst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0 w 864096"/>
                <a:gd name="connsiteY4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195 w 864096"/>
                <a:gd name="connsiteY4" fmla="*/ 761886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47951 w 864096"/>
                <a:gd name="connsiteY4" fmla="*/ 765649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4795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8528 w 864096"/>
                <a:gd name="connsiteY2" fmla="*/ 76941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972108"/>
                <a:gd name="connsiteY0" fmla="*/ 0 h 1512168"/>
                <a:gd name="connsiteX1" fmla="*/ 864096 w 972108"/>
                <a:gd name="connsiteY1" fmla="*/ 0 h 1512168"/>
                <a:gd name="connsiteX2" fmla="*/ 864096 w 972108"/>
                <a:gd name="connsiteY2" fmla="*/ 1512168 h 1512168"/>
                <a:gd name="connsiteX3" fmla="*/ 0 w 972108"/>
                <a:gd name="connsiteY3" fmla="*/ 1512168 h 1512168"/>
                <a:gd name="connsiteX4" fmla="*/ 185581 w 972108"/>
                <a:gd name="connsiteY4" fmla="*/ 765649 h 1512168"/>
                <a:gd name="connsiteX5" fmla="*/ 0 w 972108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4096 w 864096"/>
                <a:gd name="connsiteY2" fmla="*/ 1512168 h 1512168"/>
                <a:gd name="connsiteX3" fmla="*/ 0 w 864096"/>
                <a:gd name="connsiteY3" fmla="*/ 1512168 h 1512168"/>
                <a:gd name="connsiteX4" fmla="*/ 185581 w 864096"/>
                <a:gd name="connsiteY4" fmla="*/ 765649 h 1512168"/>
                <a:gd name="connsiteX5" fmla="*/ 0 w 864096"/>
                <a:gd name="connsiteY5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863899 w 864096"/>
                <a:gd name="connsiteY2" fmla="*/ 75436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4328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185581 w 864096"/>
                <a:gd name="connsiteY5" fmla="*/ 765649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74328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02027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44725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02027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44725 w 864096"/>
                <a:gd name="connsiteY2" fmla="*/ 76105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4919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6763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4919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67630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615122 w 864096"/>
                <a:gd name="connsiteY2" fmla="*/ 7577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71726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38208 w 864096"/>
                <a:gd name="connsiteY5" fmla="*/ 7557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71726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97102 w 864096"/>
                <a:gd name="connsiteY5" fmla="*/ 7619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297102 w 864096"/>
                <a:gd name="connsiteY5" fmla="*/ 7619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21900 w 864096"/>
                <a:gd name="connsiteY5" fmla="*/ 7588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21900 w 864096"/>
                <a:gd name="connsiteY5" fmla="*/ 758881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37629 w 864096"/>
                <a:gd name="connsiteY2" fmla="*/ 760862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4542 w 864096"/>
                <a:gd name="connsiteY5" fmla="*/ 756774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16560 w 864096"/>
                <a:gd name="connsiteY2" fmla="*/ 75454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4542 w 864096"/>
                <a:gd name="connsiteY5" fmla="*/ 756774 h 1512168"/>
                <a:gd name="connsiteX6" fmla="*/ 0 w 864096"/>
                <a:gd name="connsiteY6" fmla="*/ 0 h 1512168"/>
                <a:gd name="connsiteX0" fmla="*/ 0 w 864096"/>
                <a:gd name="connsiteY0" fmla="*/ 0 h 1512168"/>
                <a:gd name="connsiteX1" fmla="*/ 864096 w 864096"/>
                <a:gd name="connsiteY1" fmla="*/ 0 h 1512168"/>
                <a:gd name="connsiteX2" fmla="*/ 516560 w 864096"/>
                <a:gd name="connsiteY2" fmla="*/ 754541 h 1512168"/>
                <a:gd name="connsiteX3" fmla="*/ 864096 w 864096"/>
                <a:gd name="connsiteY3" fmla="*/ 1512168 h 1512168"/>
                <a:gd name="connsiteX4" fmla="*/ 0 w 864096"/>
                <a:gd name="connsiteY4" fmla="*/ 1512168 h 1512168"/>
                <a:gd name="connsiteX5" fmla="*/ 338756 w 864096"/>
                <a:gd name="connsiteY5" fmla="*/ 756774 h 1512168"/>
                <a:gd name="connsiteX6" fmla="*/ 0 w 864096"/>
                <a:gd name="connsiteY6" fmla="*/ 0 h 151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4096" h="1512168">
                  <a:moveTo>
                    <a:pt x="0" y="0"/>
                  </a:moveTo>
                  <a:lnTo>
                    <a:pt x="864096" y="0"/>
                  </a:lnTo>
                  <a:cubicBezTo>
                    <a:pt x="864030" y="251453"/>
                    <a:pt x="516626" y="503088"/>
                    <a:pt x="516560" y="754541"/>
                  </a:cubicBezTo>
                  <a:cubicBezTo>
                    <a:pt x="516626" y="1007144"/>
                    <a:pt x="864030" y="1259565"/>
                    <a:pt x="864096" y="1512168"/>
                  </a:cubicBezTo>
                  <a:lnTo>
                    <a:pt x="0" y="1512168"/>
                  </a:lnTo>
                  <a:cubicBezTo>
                    <a:pt x="398" y="1262074"/>
                    <a:pt x="338358" y="1006868"/>
                    <a:pt x="338756" y="756774"/>
                  </a:cubicBezTo>
                  <a:cubicBezTo>
                    <a:pt x="338358" y="502812"/>
                    <a:pt x="398" y="25396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E282F35C-734C-4AC8-8321-CF2B9937A7B0}"/>
                </a:ext>
              </a:extLst>
            </p:cNvPr>
            <p:cNvSpPr/>
            <p:nvPr/>
          </p:nvSpPr>
          <p:spPr>
            <a:xfrm rot="8838665" flipV="1">
              <a:off x="3660972" y="4335385"/>
              <a:ext cx="1122891" cy="11228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6CE9A536-36D1-4F88-A24F-CCFDE1998884}"/>
                </a:ext>
              </a:extLst>
            </p:cNvPr>
            <p:cNvSpPr/>
            <p:nvPr/>
          </p:nvSpPr>
          <p:spPr>
            <a:xfrm rot="9122328" flipV="1">
              <a:off x="3786770" y="4461174"/>
              <a:ext cx="871306" cy="8713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14300" dist="114300" dir="4800000" algn="tl" rotWithShape="0">
                <a:prstClr val="black">
                  <a:alpha val="2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Introduction</a:t>
            </a:r>
            <a:endParaRPr lang="en-IN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A9486A73-9790-459A-BB7A-D9D757DB731A}"/>
              </a:ext>
            </a:extLst>
          </p:cNvPr>
          <p:cNvGrpSpPr/>
          <p:nvPr/>
        </p:nvGrpSpPr>
        <p:grpSpPr>
          <a:xfrm>
            <a:off x="8463157" y="1746356"/>
            <a:ext cx="2633351" cy="945040"/>
            <a:chOff x="8471617" y="1319673"/>
            <a:chExt cx="2628884" cy="945040"/>
          </a:xfrm>
        </p:grpSpPr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DF8E6535-D006-445C-8FE7-7642FE561825}"/>
                </a:ext>
              </a:extLst>
            </p:cNvPr>
            <p:cNvSpPr txBox="1"/>
            <p:nvPr/>
          </p:nvSpPr>
          <p:spPr>
            <a:xfrm>
              <a:off x="8471617" y="1741493"/>
              <a:ext cx="2628884" cy="52322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o improve the energy monitoring process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24F39066-CAC1-4064-904B-0E5FFB5CFDE8}"/>
                </a:ext>
              </a:extLst>
            </p:cNvPr>
            <p:cNvSpPr txBox="1"/>
            <p:nvPr/>
          </p:nvSpPr>
          <p:spPr>
            <a:xfrm>
              <a:off x="8471617" y="1319673"/>
              <a:ext cx="2628884" cy="40011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defTabSz="1218987">
                <a:defRPr/>
              </a:pPr>
              <a:r>
                <a:rPr lang="en-US" sz="2000" b="1" kern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im</a:t>
              </a: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A38984E-F68C-4A7D-9A90-2768842FE519}"/>
              </a:ext>
            </a:extLst>
          </p:cNvPr>
          <p:cNvGrpSpPr/>
          <p:nvPr/>
        </p:nvGrpSpPr>
        <p:grpSpPr>
          <a:xfrm>
            <a:off x="8735880" y="4377919"/>
            <a:ext cx="2633352" cy="1037373"/>
            <a:chOff x="8471617" y="1011897"/>
            <a:chExt cx="2628885" cy="1037373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D63F5527-366A-4CE0-B27F-4E301C6AE841}"/>
                </a:ext>
              </a:extLst>
            </p:cNvPr>
            <p:cNvSpPr txBox="1"/>
            <p:nvPr/>
          </p:nvSpPr>
          <p:spPr>
            <a:xfrm>
              <a:off x="8471617" y="1741493"/>
              <a:ext cx="2628884" cy="30777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nalyzing results is easier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FD8337BB-FD90-479A-B69D-5C7C0C7EB6EC}"/>
                </a:ext>
              </a:extLst>
            </p:cNvPr>
            <p:cNvSpPr txBox="1"/>
            <p:nvPr/>
          </p:nvSpPr>
          <p:spPr>
            <a:xfrm>
              <a:off x="8471618" y="1011897"/>
              <a:ext cx="2628884" cy="707886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defTabSz="1218987">
                <a:defRPr/>
              </a:pPr>
              <a:r>
                <a:rPr lang="en-US" sz="2000" b="1" kern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teractive Analytical Display </a:t>
              </a: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209AABCD-315E-412D-8E77-3611824FF258}"/>
              </a:ext>
            </a:extLst>
          </p:cNvPr>
          <p:cNvGrpSpPr/>
          <p:nvPr/>
        </p:nvGrpSpPr>
        <p:grpSpPr>
          <a:xfrm>
            <a:off x="1438824" y="4545956"/>
            <a:ext cx="2046222" cy="945040"/>
            <a:chOff x="9088751" y="3319234"/>
            <a:chExt cx="2046222" cy="945040"/>
          </a:xfrm>
        </p:grpSpPr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9E083547-0844-488C-A4B4-FB1308468CB0}"/>
                </a:ext>
              </a:extLst>
            </p:cNvPr>
            <p:cNvSpPr txBox="1"/>
            <p:nvPr/>
          </p:nvSpPr>
          <p:spPr>
            <a:xfrm>
              <a:off x="9088751" y="3741054"/>
              <a:ext cx="2046222" cy="52322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is a digital solution</a:t>
              </a:r>
            </a:p>
            <a:p>
              <a:pPr algn="r"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dustry 4.0 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0D405B52-DCCF-4A78-8A25-BCB03417BB18}"/>
                </a:ext>
              </a:extLst>
            </p:cNvPr>
            <p:cNvSpPr txBox="1"/>
            <p:nvPr/>
          </p:nvSpPr>
          <p:spPr>
            <a:xfrm>
              <a:off x="9088751" y="3319234"/>
              <a:ext cx="2046222" cy="40011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 defTabSz="1218987">
                <a:defRPr/>
              </a:pPr>
              <a:r>
                <a:rPr lang="en-US" sz="2000" b="1" kern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dern</a:t>
              </a:r>
            </a:p>
          </p:txBody>
        </p:sp>
      </p:grpSp>
      <p:sp>
        <p:nvSpPr>
          <p:cNvPr id="156" name="Oval 155">
            <a:extLst>
              <a:ext uri="{FF2B5EF4-FFF2-40B4-BE49-F238E27FC236}">
                <a16:creationId xmlns:a16="http://schemas.microsoft.com/office/drawing/2014/main" id="{C3541CF1-9B64-4B5C-B6E3-B60CFD662F21}"/>
              </a:ext>
            </a:extLst>
          </p:cNvPr>
          <p:cNvSpPr/>
          <p:nvPr/>
        </p:nvSpPr>
        <p:spPr>
          <a:xfrm>
            <a:off x="3898320" y="1724699"/>
            <a:ext cx="1122891" cy="112289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34656BF7-3D20-482F-BC12-77C85D2502CF}"/>
              </a:ext>
            </a:extLst>
          </p:cNvPr>
          <p:cNvSpPr/>
          <p:nvPr/>
        </p:nvSpPr>
        <p:spPr>
          <a:xfrm flipH="1">
            <a:off x="7141529" y="1724699"/>
            <a:ext cx="1122891" cy="1122892"/>
          </a:xfrm>
          <a:prstGeom prst="ellipse">
            <a:avLst/>
          </a:prstGeom>
          <a:solidFill>
            <a:srgbClr val="F42C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sp>
        <p:nvSpPr>
          <p:cNvPr id="153" name="Rectangle 6">
            <a:extLst>
              <a:ext uri="{FF2B5EF4-FFF2-40B4-BE49-F238E27FC236}">
                <a16:creationId xmlns:a16="http://schemas.microsoft.com/office/drawing/2014/main" id="{D1FB74FA-9531-415F-B47E-897B5480BE1E}"/>
              </a:ext>
            </a:extLst>
          </p:cNvPr>
          <p:cNvSpPr/>
          <p:nvPr/>
        </p:nvSpPr>
        <p:spPr>
          <a:xfrm rot="18640883">
            <a:off x="4562762" y="2252408"/>
            <a:ext cx="923382" cy="1014421"/>
          </a:xfrm>
          <a:custGeom>
            <a:avLst/>
            <a:gdLst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0 w 864096"/>
              <a:gd name="connsiteY4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195 w 864096"/>
              <a:gd name="connsiteY4" fmla="*/ 761886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4795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4795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972108"/>
              <a:gd name="connsiteY0" fmla="*/ 0 h 1512168"/>
              <a:gd name="connsiteX1" fmla="*/ 864096 w 972108"/>
              <a:gd name="connsiteY1" fmla="*/ 0 h 1512168"/>
              <a:gd name="connsiteX2" fmla="*/ 864096 w 972108"/>
              <a:gd name="connsiteY2" fmla="*/ 1512168 h 1512168"/>
              <a:gd name="connsiteX3" fmla="*/ 0 w 972108"/>
              <a:gd name="connsiteY3" fmla="*/ 1512168 h 1512168"/>
              <a:gd name="connsiteX4" fmla="*/ 185581 w 972108"/>
              <a:gd name="connsiteY4" fmla="*/ 765649 h 1512168"/>
              <a:gd name="connsiteX5" fmla="*/ 0 w 972108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8558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3899 w 864096"/>
              <a:gd name="connsiteY2" fmla="*/ 75436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577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8756 w 864096"/>
              <a:gd name="connsiteY5" fmla="*/ 756774 h 1512168"/>
              <a:gd name="connsiteX6" fmla="*/ 0 w 864096"/>
              <a:gd name="connsiteY6" fmla="*/ 0 h 1512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4096" h="1512168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sp>
        <p:nvSpPr>
          <p:cNvPr id="161" name="Rectangle 6">
            <a:extLst>
              <a:ext uri="{FF2B5EF4-FFF2-40B4-BE49-F238E27FC236}">
                <a16:creationId xmlns:a16="http://schemas.microsoft.com/office/drawing/2014/main" id="{B41CED6F-C859-4D8F-9589-DF43D650B90B}"/>
              </a:ext>
            </a:extLst>
          </p:cNvPr>
          <p:cNvSpPr/>
          <p:nvPr/>
        </p:nvSpPr>
        <p:spPr>
          <a:xfrm rot="17862954" flipH="1" flipV="1">
            <a:off x="6941633" y="3867372"/>
            <a:ext cx="923382" cy="1014421"/>
          </a:xfrm>
          <a:custGeom>
            <a:avLst/>
            <a:gdLst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0 w 864096"/>
              <a:gd name="connsiteY4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195 w 864096"/>
              <a:gd name="connsiteY4" fmla="*/ 761886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4795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4795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972108"/>
              <a:gd name="connsiteY0" fmla="*/ 0 h 1512168"/>
              <a:gd name="connsiteX1" fmla="*/ 864096 w 972108"/>
              <a:gd name="connsiteY1" fmla="*/ 0 h 1512168"/>
              <a:gd name="connsiteX2" fmla="*/ 864096 w 972108"/>
              <a:gd name="connsiteY2" fmla="*/ 1512168 h 1512168"/>
              <a:gd name="connsiteX3" fmla="*/ 0 w 972108"/>
              <a:gd name="connsiteY3" fmla="*/ 1512168 h 1512168"/>
              <a:gd name="connsiteX4" fmla="*/ 185581 w 972108"/>
              <a:gd name="connsiteY4" fmla="*/ 765649 h 1512168"/>
              <a:gd name="connsiteX5" fmla="*/ 0 w 972108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8558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3899 w 864096"/>
              <a:gd name="connsiteY2" fmla="*/ 75436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577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8756 w 864096"/>
              <a:gd name="connsiteY5" fmla="*/ 756774 h 1512168"/>
              <a:gd name="connsiteX6" fmla="*/ 0 w 864096"/>
              <a:gd name="connsiteY6" fmla="*/ 0 h 1512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4096" h="1512168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sp>
        <p:nvSpPr>
          <p:cNvPr id="162" name="Rectangle 6">
            <a:extLst>
              <a:ext uri="{FF2B5EF4-FFF2-40B4-BE49-F238E27FC236}">
                <a16:creationId xmlns:a16="http://schemas.microsoft.com/office/drawing/2014/main" id="{E9069C9A-E292-4E9B-A070-42D662F2E971}"/>
              </a:ext>
            </a:extLst>
          </p:cNvPr>
          <p:cNvSpPr/>
          <p:nvPr/>
        </p:nvSpPr>
        <p:spPr>
          <a:xfrm rot="2959117" flipH="1">
            <a:off x="6676596" y="2252408"/>
            <a:ext cx="923382" cy="1014421"/>
          </a:xfrm>
          <a:custGeom>
            <a:avLst/>
            <a:gdLst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0 w 864096"/>
              <a:gd name="connsiteY4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195 w 864096"/>
              <a:gd name="connsiteY4" fmla="*/ 761886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4795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4795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8528 w 864096"/>
              <a:gd name="connsiteY2" fmla="*/ 76941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972108"/>
              <a:gd name="connsiteY0" fmla="*/ 0 h 1512168"/>
              <a:gd name="connsiteX1" fmla="*/ 864096 w 972108"/>
              <a:gd name="connsiteY1" fmla="*/ 0 h 1512168"/>
              <a:gd name="connsiteX2" fmla="*/ 864096 w 972108"/>
              <a:gd name="connsiteY2" fmla="*/ 1512168 h 1512168"/>
              <a:gd name="connsiteX3" fmla="*/ 0 w 972108"/>
              <a:gd name="connsiteY3" fmla="*/ 1512168 h 1512168"/>
              <a:gd name="connsiteX4" fmla="*/ 185581 w 972108"/>
              <a:gd name="connsiteY4" fmla="*/ 765649 h 1512168"/>
              <a:gd name="connsiteX5" fmla="*/ 0 w 972108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4096 w 864096"/>
              <a:gd name="connsiteY2" fmla="*/ 1512168 h 1512168"/>
              <a:gd name="connsiteX3" fmla="*/ 0 w 864096"/>
              <a:gd name="connsiteY3" fmla="*/ 1512168 h 1512168"/>
              <a:gd name="connsiteX4" fmla="*/ 185581 w 864096"/>
              <a:gd name="connsiteY4" fmla="*/ 765649 h 1512168"/>
              <a:gd name="connsiteX5" fmla="*/ 0 w 864096"/>
              <a:gd name="connsiteY5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863899 w 864096"/>
              <a:gd name="connsiteY2" fmla="*/ 75436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185581 w 864096"/>
              <a:gd name="connsiteY5" fmla="*/ 765649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74328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02027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44725 w 864096"/>
              <a:gd name="connsiteY2" fmla="*/ 76105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4919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67630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615122 w 864096"/>
              <a:gd name="connsiteY2" fmla="*/ 7577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38208 w 864096"/>
              <a:gd name="connsiteY5" fmla="*/ 7557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71726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297102 w 864096"/>
              <a:gd name="connsiteY5" fmla="*/ 7619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21900 w 864096"/>
              <a:gd name="connsiteY5" fmla="*/ 758881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37629 w 864096"/>
              <a:gd name="connsiteY2" fmla="*/ 760862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4542 w 864096"/>
              <a:gd name="connsiteY5" fmla="*/ 756774 h 1512168"/>
              <a:gd name="connsiteX6" fmla="*/ 0 w 864096"/>
              <a:gd name="connsiteY6" fmla="*/ 0 h 1512168"/>
              <a:gd name="connsiteX0" fmla="*/ 0 w 864096"/>
              <a:gd name="connsiteY0" fmla="*/ 0 h 1512168"/>
              <a:gd name="connsiteX1" fmla="*/ 864096 w 864096"/>
              <a:gd name="connsiteY1" fmla="*/ 0 h 1512168"/>
              <a:gd name="connsiteX2" fmla="*/ 516560 w 864096"/>
              <a:gd name="connsiteY2" fmla="*/ 754541 h 1512168"/>
              <a:gd name="connsiteX3" fmla="*/ 864096 w 864096"/>
              <a:gd name="connsiteY3" fmla="*/ 1512168 h 1512168"/>
              <a:gd name="connsiteX4" fmla="*/ 0 w 864096"/>
              <a:gd name="connsiteY4" fmla="*/ 1512168 h 1512168"/>
              <a:gd name="connsiteX5" fmla="*/ 338756 w 864096"/>
              <a:gd name="connsiteY5" fmla="*/ 756774 h 1512168"/>
              <a:gd name="connsiteX6" fmla="*/ 0 w 864096"/>
              <a:gd name="connsiteY6" fmla="*/ 0 h 1512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4096" h="1512168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rgbClr val="F42C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AC12983F-5223-40A1-9F26-D50D7B2A1377}"/>
              </a:ext>
            </a:extLst>
          </p:cNvPr>
          <p:cNvSpPr/>
          <p:nvPr/>
        </p:nvSpPr>
        <p:spPr>
          <a:xfrm>
            <a:off x="4902569" y="2547777"/>
            <a:ext cx="2410272" cy="2410272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464F9DA4-3D20-4F9A-BB42-544FF2C30A86}"/>
              </a:ext>
            </a:extLst>
          </p:cNvPr>
          <p:cNvSpPr/>
          <p:nvPr/>
        </p:nvSpPr>
        <p:spPr>
          <a:xfrm>
            <a:off x="5034874" y="2680082"/>
            <a:ext cx="2145663" cy="214566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14300" dir="4800000" algn="tl" rotWithShape="0">
              <a:prstClr val="black">
                <a:alpha val="2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/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3587F614-E465-4CC2-8519-FDFBAE6B8160}"/>
              </a:ext>
            </a:extLst>
          </p:cNvPr>
          <p:cNvGrpSpPr/>
          <p:nvPr/>
        </p:nvGrpSpPr>
        <p:grpSpPr>
          <a:xfrm>
            <a:off x="5783665" y="3250216"/>
            <a:ext cx="648080" cy="1005394"/>
            <a:chOff x="655638" y="2620963"/>
            <a:chExt cx="2009775" cy="311785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214" name="Freeform 5">
              <a:extLst>
                <a:ext uri="{FF2B5EF4-FFF2-40B4-BE49-F238E27FC236}">
                  <a16:creationId xmlns:a16="http://schemas.microsoft.com/office/drawing/2014/main" id="{4F549AD1-54E5-41CB-971B-AA341D2C79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075" y="3498850"/>
              <a:ext cx="1358900" cy="1362075"/>
            </a:xfrm>
            <a:custGeom>
              <a:avLst/>
              <a:gdLst>
                <a:gd name="T0" fmla="*/ 1030 w 1036"/>
                <a:gd name="T1" fmla="*/ 439 h 1040"/>
                <a:gd name="T2" fmla="*/ 979 w 1036"/>
                <a:gd name="T3" fmla="*/ 439 h 1040"/>
                <a:gd name="T4" fmla="*/ 936 w 1036"/>
                <a:gd name="T5" fmla="*/ 407 h 1040"/>
                <a:gd name="T6" fmla="*/ 894 w 1036"/>
                <a:gd name="T7" fmla="*/ 304 h 1040"/>
                <a:gd name="T8" fmla="*/ 901 w 1036"/>
                <a:gd name="T9" fmla="*/ 252 h 1040"/>
                <a:gd name="T10" fmla="*/ 937 w 1036"/>
                <a:gd name="T11" fmla="*/ 215 h 1040"/>
                <a:gd name="T12" fmla="*/ 823 w 1036"/>
                <a:gd name="T13" fmla="*/ 101 h 1040"/>
                <a:gd name="T14" fmla="*/ 786 w 1036"/>
                <a:gd name="T15" fmla="*/ 137 h 1040"/>
                <a:gd name="T16" fmla="*/ 734 w 1036"/>
                <a:gd name="T17" fmla="*/ 144 h 1040"/>
                <a:gd name="T18" fmla="*/ 631 w 1036"/>
                <a:gd name="T19" fmla="*/ 102 h 1040"/>
                <a:gd name="T20" fmla="*/ 599 w 1036"/>
                <a:gd name="T21" fmla="*/ 59 h 1040"/>
                <a:gd name="T22" fmla="*/ 599 w 1036"/>
                <a:gd name="T23" fmla="*/ 8 h 1040"/>
                <a:gd name="T24" fmla="*/ 437 w 1036"/>
                <a:gd name="T25" fmla="*/ 8 h 1040"/>
                <a:gd name="T26" fmla="*/ 437 w 1036"/>
                <a:gd name="T27" fmla="*/ 59 h 1040"/>
                <a:gd name="T28" fmla="*/ 405 w 1036"/>
                <a:gd name="T29" fmla="*/ 102 h 1040"/>
                <a:gd name="T30" fmla="*/ 302 w 1036"/>
                <a:gd name="T31" fmla="*/ 144 h 1040"/>
                <a:gd name="T32" fmla="*/ 249 w 1036"/>
                <a:gd name="T33" fmla="*/ 137 h 1040"/>
                <a:gd name="T34" fmla="*/ 213 w 1036"/>
                <a:gd name="T35" fmla="*/ 101 h 1040"/>
                <a:gd name="T36" fmla="*/ 99 w 1036"/>
                <a:gd name="T37" fmla="*/ 215 h 1040"/>
                <a:gd name="T38" fmla="*/ 135 w 1036"/>
                <a:gd name="T39" fmla="*/ 251 h 1040"/>
                <a:gd name="T40" fmla="*/ 142 w 1036"/>
                <a:gd name="T41" fmla="*/ 304 h 1040"/>
                <a:gd name="T42" fmla="*/ 100 w 1036"/>
                <a:gd name="T43" fmla="*/ 407 h 1040"/>
                <a:gd name="T44" fmla="*/ 57 w 1036"/>
                <a:gd name="T45" fmla="*/ 439 h 1040"/>
                <a:gd name="T46" fmla="*/ 6 w 1036"/>
                <a:gd name="T47" fmla="*/ 439 h 1040"/>
                <a:gd name="T48" fmla="*/ 0 w 1036"/>
                <a:gd name="T49" fmla="*/ 520 h 1040"/>
                <a:gd name="T50" fmla="*/ 6 w 1036"/>
                <a:gd name="T51" fmla="*/ 601 h 1040"/>
                <a:gd name="T52" fmla="*/ 57 w 1036"/>
                <a:gd name="T53" fmla="*/ 601 h 1040"/>
                <a:gd name="T54" fmla="*/ 100 w 1036"/>
                <a:gd name="T55" fmla="*/ 633 h 1040"/>
                <a:gd name="T56" fmla="*/ 142 w 1036"/>
                <a:gd name="T57" fmla="*/ 736 h 1040"/>
                <a:gd name="T58" fmla="*/ 135 w 1036"/>
                <a:gd name="T59" fmla="*/ 789 h 1040"/>
                <a:gd name="T60" fmla="*/ 99 w 1036"/>
                <a:gd name="T61" fmla="*/ 825 h 1040"/>
                <a:gd name="T62" fmla="*/ 213 w 1036"/>
                <a:gd name="T63" fmla="*/ 939 h 1040"/>
                <a:gd name="T64" fmla="*/ 249 w 1036"/>
                <a:gd name="T65" fmla="*/ 903 h 1040"/>
                <a:gd name="T66" fmla="*/ 302 w 1036"/>
                <a:gd name="T67" fmla="*/ 896 h 1040"/>
                <a:gd name="T68" fmla="*/ 405 w 1036"/>
                <a:gd name="T69" fmla="*/ 938 h 1040"/>
                <a:gd name="T70" fmla="*/ 437 w 1036"/>
                <a:gd name="T71" fmla="*/ 981 h 1040"/>
                <a:gd name="T72" fmla="*/ 437 w 1036"/>
                <a:gd name="T73" fmla="*/ 1032 h 1040"/>
                <a:gd name="T74" fmla="*/ 599 w 1036"/>
                <a:gd name="T75" fmla="*/ 1032 h 1040"/>
                <a:gd name="T76" fmla="*/ 599 w 1036"/>
                <a:gd name="T77" fmla="*/ 981 h 1040"/>
                <a:gd name="T78" fmla="*/ 631 w 1036"/>
                <a:gd name="T79" fmla="*/ 938 h 1040"/>
                <a:gd name="T80" fmla="*/ 734 w 1036"/>
                <a:gd name="T81" fmla="*/ 896 h 1040"/>
                <a:gd name="T82" fmla="*/ 786 w 1036"/>
                <a:gd name="T83" fmla="*/ 903 h 1040"/>
                <a:gd name="T84" fmla="*/ 823 w 1036"/>
                <a:gd name="T85" fmla="*/ 939 h 1040"/>
                <a:gd name="T86" fmla="*/ 937 w 1036"/>
                <a:gd name="T87" fmla="*/ 825 h 1040"/>
                <a:gd name="T88" fmla="*/ 901 w 1036"/>
                <a:gd name="T89" fmla="*/ 788 h 1040"/>
                <a:gd name="T90" fmla="*/ 894 w 1036"/>
                <a:gd name="T91" fmla="*/ 736 h 1040"/>
                <a:gd name="T92" fmla="*/ 936 w 1036"/>
                <a:gd name="T93" fmla="*/ 633 h 1040"/>
                <a:gd name="T94" fmla="*/ 979 w 1036"/>
                <a:gd name="T95" fmla="*/ 601 h 1040"/>
                <a:gd name="T96" fmla="*/ 1030 w 1036"/>
                <a:gd name="T97" fmla="*/ 601 h 1040"/>
                <a:gd name="T98" fmla="*/ 1036 w 1036"/>
                <a:gd name="T99" fmla="*/ 520 h 1040"/>
                <a:gd name="T100" fmla="*/ 1030 w 1036"/>
                <a:gd name="T101" fmla="*/ 439 h 1040"/>
                <a:gd name="T102" fmla="*/ 518 w 1036"/>
                <a:gd name="T103" fmla="*/ 746 h 1040"/>
                <a:gd name="T104" fmla="*/ 292 w 1036"/>
                <a:gd name="T105" fmla="*/ 520 h 1040"/>
                <a:gd name="T106" fmla="*/ 518 w 1036"/>
                <a:gd name="T107" fmla="*/ 294 h 1040"/>
                <a:gd name="T108" fmla="*/ 744 w 1036"/>
                <a:gd name="T109" fmla="*/ 520 h 1040"/>
                <a:gd name="T110" fmla="*/ 518 w 1036"/>
                <a:gd name="T111" fmla="*/ 746 h 1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6" h="1040">
                  <a:moveTo>
                    <a:pt x="1030" y="439"/>
                  </a:moveTo>
                  <a:cubicBezTo>
                    <a:pt x="979" y="439"/>
                    <a:pt x="979" y="439"/>
                    <a:pt x="979" y="439"/>
                  </a:cubicBezTo>
                  <a:cubicBezTo>
                    <a:pt x="959" y="439"/>
                    <a:pt x="942" y="426"/>
                    <a:pt x="936" y="407"/>
                  </a:cubicBezTo>
                  <a:cubicBezTo>
                    <a:pt x="927" y="371"/>
                    <a:pt x="912" y="337"/>
                    <a:pt x="894" y="304"/>
                  </a:cubicBezTo>
                  <a:cubicBezTo>
                    <a:pt x="884" y="287"/>
                    <a:pt x="887" y="266"/>
                    <a:pt x="901" y="252"/>
                  </a:cubicBezTo>
                  <a:cubicBezTo>
                    <a:pt x="937" y="215"/>
                    <a:pt x="937" y="215"/>
                    <a:pt x="937" y="215"/>
                  </a:cubicBezTo>
                  <a:cubicBezTo>
                    <a:pt x="905" y="171"/>
                    <a:pt x="867" y="133"/>
                    <a:pt x="823" y="101"/>
                  </a:cubicBezTo>
                  <a:cubicBezTo>
                    <a:pt x="786" y="137"/>
                    <a:pt x="786" y="137"/>
                    <a:pt x="786" y="137"/>
                  </a:cubicBezTo>
                  <a:cubicBezTo>
                    <a:pt x="772" y="151"/>
                    <a:pt x="751" y="154"/>
                    <a:pt x="734" y="144"/>
                  </a:cubicBezTo>
                  <a:cubicBezTo>
                    <a:pt x="701" y="126"/>
                    <a:pt x="667" y="111"/>
                    <a:pt x="631" y="102"/>
                  </a:cubicBezTo>
                  <a:cubicBezTo>
                    <a:pt x="612" y="96"/>
                    <a:pt x="599" y="79"/>
                    <a:pt x="599" y="59"/>
                  </a:cubicBezTo>
                  <a:cubicBezTo>
                    <a:pt x="599" y="8"/>
                    <a:pt x="599" y="8"/>
                    <a:pt x="599" y="8"/>
                  </a:cubicBezTo>
                  <a:cubicBezTo>
                    <a:pt x="546" y="0"/>
                    <a:pt x="490" y="0"/>
                    <a:pt x="437" y="8"/>
                  </a:cubicBezTo>
                  <a:cubicBezTo>
                    <a:pt x="437" y="59"/>
                    <a:pt x="437" y="59"/>
                    <a:pt x="437" y="59"/>
                  </a:cubicBezTo>
                  <a:cubicBezTo>
                    <a:pt x="437" y="79"/>
                    <a:pt x="424" y="96"/>
                    <a:pt x="405" y="102"/>
                  </a:cubicBezTo>
                  <a:cubicBezTo>
                    <a:pt x="369" y="111"/>
                    <a:pt x="335" y="126"/>
                    <a:pt x="302" y="144"/>
                  </a:cubicBezTo>
                  <a:cubicBezTo>
                    <a:pt x="285" y="154"/>
                    <a:pt x="264" y="151"/>
                    <a:pt x="249" y="137"/>
                  </a:cubicBezTo>
                  <a:cubicBezTo>
                    <a:pt x="213" y="101"/>
                    <a:pt x="213" y="101"/>
                    <a:pt x="213" y="101"/>
                  </a:cubicBezTo>
                  <a:cubicBezTo>
                    <a:pt x="169" y="133"/>
                    <a:pt x="131" y="171"/>
                    <a:pt x="99" y="215"/>
                  </a:cubicBezTo>
                  <a:cubicBezTo>
                    <a:pt x="135" y="251"/>
                    <a:pt x="135" y="251"/>
                    <a:pt x="135" y="251"/>
                  </a:cubicBezTo>
                  <a:cubicBezTo>
                    <a:pt x="149" y="266"/>
                    <a:pt x="152" y="287"/>
                    <a:pt x="142" y="304"/>
                  </a:cubicBezTo>
                  <a:cubicBezTo>
                    <a:pt x="124" y="337"/>
                    <a:pt x="109" y="371"/>
                    <a:pt x="100" y="407"/>
                  </a:cubicBezTo>
                  <a:cubicBezTo>
                    <a:pt x="94" y="426"/>
                    <a:pt x="77" y="439"/>
                    <a:pt x="57" y="439"/>
                  </a:cubicBezTo>
                  <a:cubicBezTo>
                    <a:pt x="6" y="439"/>
                    <a:pt x="6" y="439"/>
                    <a:pt x="6" y="439"/>
                  </a:cubicBezTo>
                  <a:cubicBezTo>
                    <a:pt x="2" y="466"/>
                    <a:pt x="0" y="493"/>
                    <a:pt x="0" y="520"/>
                  </a:cubicBezTo>
                  <a:cubicBezTo>
                    <a:pt x="0" y="547"/>
                    <a:pt x="2" y="574"/>
                    <a:pt x="6" y="601"/>
                  </a:cubicBezTo>
                  <a:cubicBezTo>
                    <a:pt x="57" y="601"/>
                    <a:pt x="57" y="601"/>
                    <a:pt x="57" y="601"/>
                  </a:cubicBezTo>
                  <a:cubicBezTo>
                    <a:pt x="77" y="601"/>
                    <a:pt x="94" y="614"/>
                    <a:pt x="100" y="633"/>
                  </a:cubicBezTo>
                  <a:cubicBezTo>
                    <a:pt x="109" y="669"/>
                    <a:pt x="124" y="703"/>
                    <a:pt x="142" y="736"/>
                  </a:cubicBezTo>
                  <a:cubicBezTo>
                    <a:pt x="152" y="753"/>
                    <a:pt x="149" y="774"/>
                    <a:pt x="135" y="789"/>
                  </a:cubicBezTo>
                  <a:cubicBezTo>
                    <a:pt x="99" y="825"/>
                    <a:pt x="99" y="825"/>
                    <a:pt x="99" y="825"/>
                  </a:cubicBezTo>
                  <a:cubicBezTo>
                    <a:pt x="131" y="868"/>
                    <a:pt x="169" y="907"/>
                    <a:pt x="213" y="939"/>
                  </a:cubicBezTo>
                  <a:cubicBezTo>
                    <a:pt x="249" y="903"/>
                    <a:pt x="249" y="903"/>
                    <a:pt x="249" y="903"/>
                  </a:cubicBezTo>
                  <a:cubicBezTo>
                    <a:pt x="264" y="889"/>
                    <a:pt x="285" y="886"/>
                    <a:pt x="302" y="896"/>
                  </a:cubicBezTo>
                  <a:cubicBezTo>
                    <a:pt x="335" y="914"/>
                    <a:pt x="369" y="929"/>
                    <a:pt x="405" y="938"/>
                  </a:cubicBezTo>
                  <a:cubicBezTo>
                    <a:pt x="424" y="944"/>
                    <a:pt x="437" y="961"/>
                    <a:pt x="437" y="981"/>
                  </a:cubicBezTo>
                  <a:cubicBezTo>
                    <a:pt x="437" y="1032"/>
                    <a:pt x="437" y="1032"/>
                    <a:pt x="437" y="1032"/>
                  </a:cubicBezTo>
                  <a:cubicBezTo>
                    <a:pt x="490" y="1040"/>
                    <a:pt x="546" y="1040"/>
                    <a:pt x="599" y="1032"/>
                  </a:cubicBezTo>
                  <a:cubicBezTo>
                    <a:pt x="599" y="981"/>
                    <a:pt x="599" y="981"/>
                    <a:pt x="599" y="981"/>
                  </a:cubicBezTo>
                  <a:cubicBezTo>
                    <a:pt x="599" y="961"/>
                    <a:pt x="612" y="944"/>
                    <a:pt x="631" y="938"/>
                  </a:cubicBezTo>
                  <a:cubicBezTo>
                    <a:pt x="667" y="929"/>
                    <a:pt x="701" y="914"/>
                    <a:pt x="734" y="896"/>
                  </a:cubicBezTo>
                  <a:cubicBezTo>
                    <a:pt x="751" y="886"/>
                    <a:pt x="772" y="889"/>
                    <a:pt x="786" y="903"/>
                  </a:cubicBezTo>
                  <a:cubicBezTo>
                    <a:pt x="823" y="939"/>
                    <a:pt x="823" y="939"/>
                    <a:pt x="823" y="939"/>
                  </a:cubicBezTo>
                  <a:cubicBezTo>
                    <a:pt x="867" y="907"/>
                    <a:pt x="905" y="868"/>
                    <a:pt x="937" y="825"/>
                  </a:cubicBezTo>
                  <a:cubicBezTo>
                    <a:pt x="901" y="788"/>
                    <a:pt x="901" y="788"/>
                    <a:pt x="901" y="788"/>
                  </a:cubicBezTo>
                  <a:cubicBezTo>
                    <a:pt x="887" y="774"/>
                    <a:pt x="884" y="753"/>
                    <a:pt x="894" y="736"/>
                  </a:cubicBezTo>
                  <a:cubicBezTo>
                    <a:pt x="912" y="703"/>
                    <a:pt x="927" y="669"/>
                    <a:pt x="936" y="633"/>
                  </a:cubicBezTo>
                  <a:cubicBezTo>
                    <a:pt x="942" y="614"/>
                    <a:pt x="959" y="601"/>
                    <a:pt x="979" y="601"/>
                  </a:cubicBezTo>
                  <a:cubicBezTo>
                    <a:pt x="1030" y="601"/>
                    <a:pt x="1030" y="601"/>
                    <a:pt x="1030" y="601"/>
                  </a:cubicBezTo>
                  <a:cubicBezTo>
                    <a:pt x="1034" y="574"/>
                    <a:pt x="1036" y="547"/>
                    <a:pt x="1036" y="520"/>
                  </a:cubicBezTo>
                  <a:cubicBezTo>
                    <a:pt x="1036" y="493"/>
                    <a:pt x="1034" y="466"/>
                    <a:pt x="1030" y="439"/>
                  </a:cubicBezTo>
                  <a:close/>
                  <a:moveTo>
                    <a:pt x="518" y="746"/>
                  </a:moveTo>
                  <a:cubicBezTo>
                    <a:pt x="393" y="746"/>
                    <a:pt x="292" y="644"/>
                    <a:pt x="292" y="520"/>
                  </a:cubicBezTo>
                  <a:cubicBezTo>
                    <a:pt x="292" y="396"/>
                    <a:pt x="393" y="294"/>
                    <a:pt x="518" y="294"/>
                  </a:cubicBezTo>
                  <a:cubicBezTo>
                    <a:pt x="642" y="294"/>
                    <a:pt x="744" y="396"/>
                    <a:pt x="744" y="520"/>
                  </a:cubicBezTo>
                  <a:cubicBezTo>
                    <a:pt x="744" y="644"/>
                    <a:pt x="642" y="746"/>
                    <a:pt x="518" y="746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5" name="Freeform 6">
              <a:extLst>
                <a:ext uri="{FF2B5EF4-FFF2-40B4-BE49-F238E27FC236}">
                  <a16:creationId xmlns:a16="http://schemas.microsoft.com/office/drawing/2014/main" id="{FFCE3800-2B7A-4FD1-9549-636086FEA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75" y="2692400"/>
              <a:ext cx="1858964" cy="463550"/>
            </a:xfrm>
            <a:custGeom>
              <a:avLst/>
              <a:gdLst>
                <a:gd name="T0" fmla="*/ 0 w 1418"/>
                <a:gd name="T1" fmla="*/ 346 h 354"/>
                <a:gd name="T2" fmla="*/ 0 w 1418"/>
                <a:gd name="T3" fmla="*/ 80 h 354"/>
                <a:gd name="T4" fmla="*/ 80 w 1418"/>
                <a:gd name="T5" fmla="*/ 0 h 354"/>
                <a:gd name="T6" fmla="*/ 1338 w 1418"/>
                <a:gd name="T7" fmla="*/ 0 h 354"/>
                <a:gd name="T8" fmla="*/ 1418 w 1418"/>
                <a:gd name="T9" fmla="*/ 80 h 354"/>
                <a:gd name="T10" fmla="*/ 1418 w 1418"/>
                <a:gd name="T11" fmla="*/ 354 h 354"/>
                <a:gd name="T12" fmla="*/ 0 w 1418"/>
                <a:gd name="T13" fmla="*/ 346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8" h="354">
                  <a:moveTo>
                    <a:pt x="0" y="346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338" y="0"/>
                    <a:pt x="1338" y="0"/>
                    <a:pt x="1338" y="0"/>
                  </a:cubicBezTo>
                  <a:cubicBezTo>
                    <a:pt x="1382" y="0"/>
                    <a:pt x="1418" y="36"/>
                    <a:pt x="1418" y="80"/>
                  </a:cubicBezTo>
                  <a:cubicBezTo>
                    <a:pt x="1418" y="354"/>
                    <a:pt x="1418" y="354"/>
                    <a:pt x="1418" y="354"/>
                  </a:cubicBezTo>
                  <a:lnTo>
                    <a:pt x="0" y="3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6" name="Freeform 7">
              <a:extLst>
                <a:ext uri="{FF2B5EF4-FFF2-40B4-BE49-F238E27FC236}">
                  <a16:creationId xmlns:a16="http://schemas.microsoft.com/office/drawing/2014/main" id="{5A87BC95-E4F6-415C-A73F-3069A1621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75" y="5195888"/>
              <a:ext cx="1858963" cy="463550"/>
            </a:xfrm>
            <a:custGeom>
              <a:avLst/>
              <a:gdLst>
                <a:gd name="T0" fmla="*/ 0 w 1418"/>
                <a:gd name="T1" fmla="*/ 8 h 354"/>
                <a:gd name="T2" fmla="*/ 0 w 1418"/>
                <a:gd name="T3" fmla="*/ 274 h 354"/>
                <a:gd name="T4" fmla="*/ 80 w 1418"/>
                <a:gd name="T5" fmla="*/ 354 h 354"/>
                <a:gd name="T6" fmla="*/ 1338 w 1418"/>
                <a:gd name="T7" fmla="*/ 354 h 354"/>
                <a:gd name="T8" fmla="*/ 1418 w 1418"/>
                <a:gd name="T9" fmla="*/ 274 h 354"/>
                <a:gd name="T10" fmla="*/ 1418 w 1418"/>
                <a:gd name="T11" fmla="*/ 0 h 354"/>
                <a:gd name="T12" fmla="*/ 0 w 1418"/>
                <a:gd name="T13" fmla="*/ 8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8" h="354">
                  <a:moveTo>
                    <a:pt x="0" y="8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318"/>
                    <a:pt x="36" y="354"/>
                    <a:pt x="80" y="354"/>
                  </a:cubicBezTo>
                  <a:cubicBezTo>
                    <a:pt x="1338" y="354"/>
                    <a:pt x="1338" y="354"/>
                    <a:pt x="1338" y="354"/>
                  </a:cubicBezTo>
                  <a:cubicBezTo>
                    <a:pt x="1382" y="354"/>
                    <a:pt x="1418" y="318"/>
                    <a:pt x="1418" y="274"/>
                  </a:cubicBezTo>
                  <a:cubicBezTo>
                    <a:pt x="1418" y="0"/>
                    <a:pt x="1418" y="0"/>
                    <a:pt x="1418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7" name="Freeform 8">
              <a:extLst>
                <a:ext uri="{FF2B5EF4-FFF2-40B4-BE49-F238E27FC236}">
                  <a16:creationId xmlns:a16="http://schemas.microsoft.com/office/drawing/2014/main" id="{3FDFBA81-214D-4BDE-B132-6C2BE2CE4D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638" y="2620963"/>
              <a:ext cx="2009775" cy="3117850"/>
            </a:xfrm>
            <a:custGeom>
              <a:avLst/>
              <a:gdLst>
                <a:gd name="T0" fmla="*/ 1532 w 1532"/>
                <a:gd name="T1" fmla="*/ 201 h 2382"/>
                <a:gd name="T2" fmla="*/ 1532 w 1532"/>
                <a:gd name="T3" fmla="*/ 2181 h 2382"/>
                <a:gd name="T4" fmla="*/ 1331 w 1532"/>
                <a:gd name="T5" fmla="*/ 2382 h 2382"/>
                <a:gd name="T6" fmla="*/ 201 w 1532"/>
                <a:gd name="T7" fmla="*/ 2382 h 2382"/>
                <a:gd name="T8" fmla="*/ 0 w 1532"/>
                <a:gd name="T9" fmla="*/ 2181 h 2382"/>
                <a:gd name="T10" fmla="*/ 0 w 1532"/>
                <a:gd name="T11" fmla="*/ 201 h 2382"/>
                <a:gd name="T12" fmla="*/ 201 w 1532"/>
                <a:gd name="T13" fmla="*/ 0 h 2382"/>
                <a:gd name="T14" fmla="*/ 1331 w 1532"/>
                <a:gd name="T15" fmla="*/ 0 h 2382"/>
                <a:gd name="T16" fmla="*/ 1532 w 1532"/>
                <a:gd name="T17" fmla="*/ 201 h 2382"/>
                <a:gd name="T18" fmla="*/ 1451 w 1532"/>
                <a:gd name="T19" fmla="*/ 2181 h 2382"/>
                <a:gd name="T20" fmla="*/ 1451 w 1532"/>
                <a:gd name="T21" fmla="*/ 2016 h 2382"/>
                <a:gd name="T22" fmla="*/ 81 w 1532"/>
                <a:gd name="T23" fmla="*/ 2016 h 2382"/>
                <a:gd name="T24" fmla="*/ 81 w 1532"/>
                <a:gd name="T25" fmla="*/ 2181 h 2382"/>
                <a:gd name="T26" fmla="*/ 201 w 1532"/>
                <a:gd name="T27" fmla="*/ 2301 h 2382"/>
                <a:gd name="T28" fmla="*/ 1331 w 1532"/>
                <a:gd name="T29" fmla="*/ 2301 h 2382"/>
                <a:gd name="T30" fmla="*/ 1451 w 1532"/>
                <a:gd name="T31" fmla="*/ 2181 h 2382"/>
                <a:gd name="T32" fmla="*/ 1451 w 1532"/>
                <a:gd name="T33" fmla="*/ 1935 h 2382"/>
                <a:gd name="T34" fmla="*/ 1451 w 1532"/>
                <a:gd name="T35" fmla="*/ 447 h 2382"/>
                <a:gd name="T36" fmla="*/ 81 w 1532"/>
                <a:gd name="T37" fmla="*/ 447 h 2382"/>
                <a:gd name="T38" fmla="*/ 81 w 1532"/>
                <a:gd name="T39" fmla="*/ 1935 h 2382"/>
                <a:gd name="T40" fmla="*/ 1451 w 1532"/>
                <a:gd name="T41" fmla="*/ 1935 h 2382"/>
                <a:gd name="T42" fmla="*/ 1451 w 1532"/>
                <a:gd name="T43" fmla="*/ 366 h 2382"/>
                <a:gd name="T44" fmla="*/ 1451 w 1532"/>
                <a:gd name="T45" fmla="*/ 201 h 2382"/>
                <a:gd name="T46" fmla="*/ 1331 w 1532"/>
                <a:gd name="T47" fmla="*/ 81 h 2382"/>
                <a:gd name="T48" fmla="*/ 201 w 1532"/>
                <a:gd name="T49" fmla="*/ 81 h 2382"/>
                <a:gd name="T50" fmla="*/ 81 w 1532"/>
                <a:gd name="T51" fmla="*/ 201 h 2382"/>
                <a:gd name="T52" fmla="*/ 81 w 1532"/>
                <a:gd name="T53" fmla="*/ 366 h 2382"/>
                <a:gd name="T54" fmla="*/ 1451 w 1532"/>
                <a:gd name="T55" fmla="*/ 366 h 2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32" h="2382">
                  <a:moveTo>
                    <a:pt x="1532" y="201"/>
                  </a:moveTo>
                  <a:cubicBezTo>
                    <a:pt x="1532" y="2181"/>
                    <a:pt x="1532" y="2181"/>
                    <a:pt x="1532" y="2181"/>
                  </a:cubicBezTo>
                  <a:cubicBezTo>
                    <a:pt x="1532" y="2291"/>
                    <a:pt x="1442" y="2382"/>
                    <a:pt x="1331" y="2382"/>
                  </a:cubicBezTo>
                  <a:cubicBezTo>
                    <a:pt x="201" y="2382"/>
                    <a:pt x="201" y="2382"/>
                    <a:pt x="201" y="2382"/>
                  </a:cubicBezTo>
                  <a:cubicBezTo>
                    <a:pt x="90" y="2382"/>
                    <a:pt x="0" y="2291"/>
                    <a:pt x="0" y="218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91"/>
                    <a:pt x="90" y="0"/>
                    <a:pt x="201" y="0"/>
                  </a:cubicBezTo>
                  <a:cubicBezTo>
                    <a:pt x="1331" y="0"/>
                    <a:pt x="1331" y="0"/>
                    <a:pt x="1331" y="0"/>
                  </a:cubicBezTo>
                  <a:cubicBezTo>
                    <a:pt x="1442" y="0"/>
                    <a:pt x="1532" y="91"/>
                    <a:pt x="1532" y="201"/>
                  </a:cubicBezTo>
                  <a:close/>
                  <a:moveTo>
                    <a:pt x="1451" y="2181"/>
                  </a:moveTo>
                  <a:cubicBezTo>
                    <a:pt x="1451" y="2016"/>
                    <a:pt x="1451" y="2016"/>
                    <a:pt x="1451" y="2016"/>
                  </a:cubicBezTo>
                  <a:cubicBezTo>
                    <a:pt x="81" y="2016"/>
                    <a:pt x="81" y="2016"/>
                    <a:pt x="81" y="2016"/>
                  </a:cubicBezTo>
                  <a:cubicBezTo>
                    <a:pt x="81" y="2181"/>
                    <a:pt x="81" y="2181"/>
                    <a:pt x="81" y="2181"/>
                  </a:cubicBezTo>
                  <a:cubicBezTo>
                    <a:pt x="81" y="2247"/>
                    <a:pt x="135" y="2301"/>
                    <a:pt x="201" y="2301"/>
                  </a:cubicBezTo>
                  <a:cubicBezTo>
                    <a:pt x="1331" y="2301"/>
                    <a:pt x="1331" y="2301"/>
                    <a:pt x="1331" y="2301"/>
                  </a:cubicBezTo>
                  <a:cubicBezTo>
                    <a:pt x="1397" y="2301"/>
                    <a:pt x="1451" y="2247"/>
                    <a:pt x="1451" y="2181"/>
                  </a:cubicBezTo>
                  <a:close/>
                  <a:moveTo>
                    <a:pt x="1451" y="1935"/>
                  </a:moveTo>
                  <a:cubicBezTo>
                    <a:pt x="1451" y="447"/>
                    <a:pt x="1451" y="447"/>
                    <a:pt x="1451" y="447"/>
                  </a:cubicBezTo>
                  <a:cubicBezTo>
                    <a:pt x="81" y="447"/>
                    <a:pt x="81" y="447"/>
                    <a:pt x="81" y="447"/>
                  </a:cubicBezTo>
                  <a:cubicBezTo>
                    <a:pt x="81" y="1935"/>
                    <a:pt x="81" y="1935"/>
                    <a:pt x="81" y="1935"/>
                  </a:cubicBezTo>
                  <a:lnTo>
                    <a:pt x="1451" y="1935"/>
                  </a:lnTo>
                  <a:close/>
                  <a:moveTo>
                    <a:pt x="1451" y="366"/>
                  </a:moveTo>
                  <a:cubicBezTo>
                    <a:pt x="1451" y="201"/>
                    <a:pt x="1451" y="201"/>
                    <a:pt x="1451" y="201"/>
                  </a:cubicBezTo>
                  <a:cubicBezTo>
                    <a:pt x="1451" y="135"/>
                    <a:pt x="1397" y="81"/>
                    <a:pt x="1331" y="81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135" y="81"/>
                    <a:pt x="81" y="135"/>
                    <a:pt x="81" y="201"/>
                  </a:cubicBezTo>
                  <a:cubicBezTo>
                    <a:pt x="81" y="366"/>
                    <a:pt x="81" y="366"/>
                    <a:pt x="81" y="366"/>
                  </a:cubicBezTo>
                  <a:lnTo>
                    <a:pt x="1451" y="3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8" name="Freeform 9">
              <a:extLst>
                <a:ext uri="{FF2B5EF4-FFF2-40B4-BE49-F238E27FC236}">
                  <a16:creationId xmlns:a16="http://schemas.microsoft.com/office/drawing/2014/main" id="{48945286-D005-4457-8C3A-753181F55D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0275" y="3444875"/>
              <a:ext cx="1458913" cy="1462088"/>
            </a:xfrm>
            <a:custGeom>
              <a:avLst/>
              <a:gdLst>
                <a:gd name="T0" fmla="*/ 1112 w 1112"/>
                <a:gd name="T1" fmla="*/ 561 h 1117"/>
                <a:gd name="T2" fmla="*/ 1059 w 1112"/>
                <a:gd name="T3" fmla="*/ 716 h 1117"/>
                <a:gd name="T4" fmla="*/ 986 w 1112"/>
                <a:gd name="T5" fmla="*/ 771 h 1117"/>
                <a:gd name="T6" fmla="*/ 1027 w 1112"/>
                <a:gd name="T7" fmla="*/ 857 h 1117"/>
                <a:gd name="T8" fmla="*/ 802 w 1112"/>
                <a:gd name="T9" fmla="*/ 1026 h 1117"/>
                <a:gd name="T10" fmla="*/ 711 w 1112"/>
                <a:gd name="T11" fmla="*/ 1014 h 1117"/>
                <a:gd name="T12" fmla="*/ 680 w 1112"/>
                <a:gd name="T13" fmla="*/ 1103 h 1117"/>
                <a:gd name="T14" fmla="*/ 432 w 1112"/>
                <a:gd name="T15" fmla="*/ 1103 h 1117"/>
                <a:gd name="T16" fmla="*/ 401 w 1112"/>
                <a:gd name="T17" fmla="*/ 1014 h 1117"/>
                <a:gd name="T18" fmla="*/ 310 w 1112"/>
                <a:gd name="T19" fmla="*/ 1026 h 1117"/>
                <a:gd name="T20" fmla="*/ 85 w 1112"/>
                <a:gd name="T21" fmla="*/ 857 h 1117"/>
                <a:gd name="T22" fmla="*/ 126 w 1112"/>
                <a:gd name="T23" fmla="*/ 772 h 1117"/>
                <a:gd name="T24" fmla="*/ 53 w 1112"/>
                <a:gd name="T25" fmla="*/ 716 h 1117"/>
                <a:gd name="T26" fmla="*/ 0 w 1112"/>
                <a:gd name="T27" fmla="*/ 561 h 1117"/>
                <a:gd name="T28" fmla="*/ 53 w 1112"/>
                <a:gd name="T29" fmla="*/ 406 h 1117"/>
                <a:gd name="T30" fmla="*/ 126 w 1112"/>
                <a:gd name="T31" fmla="*/ 351 h 1117"/>
                <a:gd name="T32" fmla="*/ 85 w 1112"/>
                <a:gd name="T33" fmla="*/ 265 h 1117"/>
                <a:gd name="T34" fmla="*/ 310 w 1112"/>
                <a:gd name="T35" fmla="*/ 96 h 1117"/>
                <a:gd name="T36" fmla="*/ 401 w 1112"/>
                <a:gd name="T37" fmla="*/ 108 h 1117"/>
                <a:gd name="T38" fmla="*/ 432 w 1112"/>
                <a:gd name="T39" fmla="*/ 19 h 1117"/>
                <a:gd name="T40" fmla="*/ 711 w 1112"/>
                <a:gd name="T41" fmla="*/ 58 h 1117"/>
                <a:gd name="T42" fmla="*/ 766 w 1112"/>
                <a:gd name="T43" fmla="*/ 131 h 1117"/>
                <a:gd name="T44" fmla="*/ 852 w 1112"/>
                <a:gd name="T45" fmla="*/ 90 h 1117"/>
                <a:gd name="T46" fmla="*/ 1021 w 1112"/>
                <a:gd name="T47" fmla="*/ 315 h 1117"/>
                <a:gd name="T48" fmla="*/ 1009 w 1112"/>
                <a:gd name="T49" fmla="*/ 406 h 1117"/>
                <a:gd name="T50" fmla="*/ 1099 w 1112"/>
                <a:gd name="T51" fmla="*/ 437 h 1117"/>
                <a:gd name="T52" fmla="*/ 1026 w 1112"/>
                <a:gd name="T53" fmla="*/ 487 h 1117"/>
                <a:gd name="T54" fmla="*/ 940 w 1112"/>
                <a:gd name="T55" fmla="*/ 457 h 1117"/>
                <a:gd name="T56" fmla="*/ 907 w 1112"/>
                <a:gd name="T57" fmla="*/ 315 h 1117"/>
                <a:gd name="T58" fmla="*/ 836 w 1112"/>
                <a:gd name="T59" fmla="*/ 176 h 1117"/>
                <a:gd name="T60" fmla="*/ 754 w 1112"/>
                <a:gd name="T61" fmla="*/ 216 h 1117"/>
                <a:gd name="T62" fmla="*/ 630 w 1112"/>
                <a:gd name="T63" fmla="*/ 138 h 1117"/>
                <a:gd name="T64" fmla="*/ 482 w 1112"/>
                <a:gd name="T65" fmla="*/ 91 h 1117"/>
                <a:gd name="T66" fmla="*/ 452 w 1112"/>
                <a:gd name="T67" fmla="*/ 177 h 1117"/>
                <a:gd name="T68" fmla="*/ 310 w 1112"/>
                <a:gd name="T69" fmla="*/ 210 h 1117"/>
                <a:gd name="T70" fmla="*/ 171 w 1112"/>
                <a:gd name="T71" fmla="*/ 281 h 1117"/>
                <a:gd name="T72" fmla="*/ 211 w 1112"/>
                <a:gd name="T73" fmla="*/ 363 h 1117"/>
                <a:gd name="T74" fmla="*/ 133 w 1112"/>
                <a:gd name="T75" fmla="*/ 487 h 1117"/>
                <a:gd name="T76" fmla="*/ 80 w 1112"/>
                <a:gd name="T77" fmla="*/ 561 h 1117"/>
                <a:gd name="T78" fmla="*/ 133 w 1112"/>
                <a:gd name="T79" fmla="*/ 635 h 1117"/>
                <a:gd name="T80" fmla="*/ 211 w 1112"/>
                <a:gd name="T81" fmla="*/ 759 h 1117"/>
                <a:gd name="T82" fmla="*/ 171 w 1112"/>
                <a:gd name="T83" fmla="*/ 841 h 1117"/>
                <a:gd name="T84" fmla="*/ 310 w 1112"/>
                <a:gd name="T85" fmla="*/ 913 h 1117"/>
                <a:gd name="T86" fmla="*/ 452 w 1112"/>
                <a:gd name="T87" fmla="*/ 945 h 1117"/>
                <a:gd name="T88" fmla="*/ 482 w 1112"/>
                <a:gd name="T89" fmla="*/ 1031 h 1117"/>
                <a:gd name="T90" fmla="*/ 630 w 1112"/>
                <a:gd name="T91" fmla="*/ 984 h 1117"/>
                <a:gd name="T92" fmla="*/ 754 w 1112"/>
                <a:gd name="T93" fmla="*/ 906 h 1117"/>
                <a:gd name="T94" fmla="*/ 836 w 1112"/>
                <a:gd name="T95" fmla="*/ 946 h 1117"/>
                <a:gd name="T96" fmla="*/ 907 w 1112"/>
                <a:gd name="T97" fmla="*/ 807 h 1117"/>
                <a:gd name="T98" fmla="*/ 940 w 1112"/>
                <a:gd name="T99" fmla="*/ 665 h 1117"/>
                <a:gd name="T100" fmla="*/ 1026 w 1112"/>
                <a:gd name="T101" fmla="*/ 635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12" h="1117">
                  <a:moveTo>
                    <a:pt x="1099" y="437"/>
                  </a:moveTo>
                  <a:cubicBezTo>
                    <a:pt x="1108" y="478"/>
                    <a:pt x="1112" y="519"/>
                    <a:pt x="1112" y="561"/>
                  </a:cubicBezTo>
                  <a:cubicBezTo>
                    <a:pt x="1112" y="603"/>
                    <a:pt x="1108" y="644"/>
                    <a:pt x="1099" y="685"/>
                  </a:cubicBezTo>
                  <a:cubicBezTo>
                    <a:pt x="1094" y="703"/>
                    <a:pt x="1078" y="716"/>
                    <a:pt x="1059" y="716"/>
                  </a:cubicBezTo>
                  <a:cubicBezTo>
                    <a:pt x="1009" y="716"/>
                    <a:pt x="1009" y="716"/>
                    <a:pt x="1009" y="716"/>
                  </a:cubicBezTo>
                  <a:cubicBezTo>
                    <a:pt x="1002" y="735"/>
                    <a:pt x="994" y="753"/>
                    <a:pt x="986" y="771"/>
                  </a:cubicBezTo>
                  <a:cubicBezTo>
                    <a:pt x="1021" y="807"/>
                    <a:pt x="1021" y="807"/>
                    <a:pt x="1021" y="807"/>
                  </a:cubicBezTo>
                  <a:cubicBezTo>
                    <a:pt x="1035" y="821"/>
                    <a:pt x="1037" y="841"/>
                    <a:pt x="1027" y="857"/>
                  </a:cubicBezTo>
                  <a:cubicBezTo>
                    <a:pt x="983" y="927"/>
                    <a:pt x="922" y="988"/>
                    <a:pt x="852" y="1032"/>
                  </a:cubicBezTo>
                  <a:cubicBezTo>
                    <a:pt x="836" y="1042"/>
                    <a:pt x="816" y="1040"/>
                    <a:pt x="802" y="1026"/>
                  </a:cubicBezTo>
                  <a:cubicBezTo>
                    <a:pt x="766" y="991"/>
                    <a:pt x="766" y="991"/>
                    <a:pt x="766" y="991"/>
                  </a:cubicBezTo>
                  <a:cubicBezTo>
                    <a:pt x="748" y="999"/>
                    <a:pt x="730" y="1007"/>
                    <a:pt x="711" y="1014"/>
                  </a:cubicBezTo>
                  <a:cubicBezTo>
                    <a:pt x="711" y="1064"/>
                    <a:pt x="711" y="1064"/>
                    <a:pt x="711" y="1064"/>
                  </a:cubicBezTo>
                  <a:cubicBezTo>
                    <a:pt x="711" y="1083"/>
                    <a:pt x="698" y="1099"/>
                    <a:pt x="680" y="1103"/>
                  </a:cubicBezTo>
                  <a:cubicBezTo>
                    <a:pt x="639" y="1113"/>
                    <a:pt x="598" y="1117"/>
                    <a:pt x="556" y="1117"/>
                  </a:cubicBezTo>
                  <a:cubicBezTo>
                    <a:pt x="514" y="1117"/>
                    <a:pt x="473" y="1113"/>
                    <a:pt x="432" y="1103"/>
                  </a:cubicBezTo>
                  <a:cubicBezTo>
                    <a:pt x="414" y="1099"/>
                    <a:pt x="401" y="1083"/>
                    <a:pt x="401" y="1064"/>
                  </a:cubicBezTo>
                  <a:cubicBezTo>
                    <a:pt x="401" y="1014"/>
                    <a:pt x="401" y="1014"/>
                    <a:pt x="401" y="1014"/>
                  </a:cubicBezTo>
                  <a:cubicBezTo>
                    <a:pt x="382" y="1007"/>
                    <a:pt x="364" y="999"/>
                    <a:pt x="346" y="991"/>
                  </a:cubicBezTo>
                  <a:cubicBezTo>
                    <a:pt x="310" y="1026"/>
                    <a:pt x="310" y="1026"/>
                    <a:pt x="310" y="1026"/>
                  </a:cubicBezTo>
                  <a:cubicBezTo>
                    <a:pt x="296" y="1040"/>
                    <a:pt x="276" y="1042"/>
                    <a:pt x="260" y="1032"/>
                  </a:cubicBezTo>
                  <a:cubicBezTo>
                    <a:pt x="190" y="988"/>
                    <a:pt x="129" y="927"/>
                    <a:pt x="85" y="857"/>
                  </a:cubicBezTo>
                  <a:cubicBezTo>
                    <a:pt x="75" y="841"/>
                    <a:pt x="77" y="821"/>
                    <a:pt x="91" y="807"/>
                  </a:cubicBezTo>
                  <a:cubicBezTo>
                    <a:pt x="126" y="772"/>
                    <a:pt x="126" y="772"/>
                    <a:pt x="126" y="772"/>
                  </a:cubicBezTo>
                  <a:cubicBezTo>
                    <a:pt x="118" y="753"/>
                    <a:pt x="110" y="735"/>
                    <a:pt x="103" y="716"/>
                  </a:cubicBezTo>
                  <a:cubicBezTo>
                    <a:pt x="53" y="716"/>
                    <a:pt x="53" y="716"/>
                    <a:pt x="53" y="716"/>
                  </a:cubicBezTo>
                  <a:cubicBezTo>
                    <a:pt x="34" y="716"/>
                    <a:pt x="18" y="703"/>
                    <a:pt x="14" y="685"/>
                  </a:cubicBezTo>
                  <a:cubicBezTo>
                    <a:pt x="4" y="644"/>
                    <a:pt x="0" y="603"/>
                    <a:pt x="0" y="561"/>
                  </a:cubicBezTo>
                  <a:cubicBezTo>
                    <a:pt x="0" y="519"/>
                    <a:pt x="4" y="478"/>
                    <a:pt x="14" y="437"/>
                  </a:cubicBezTo>
                  <a:cubicBezTo>
                    <a:pt x="18" y="419"/>
                    <a:pt x="34" y="406"/>
                    <a:pt x="53" y="406"/>
                  </a:cubicBezTo>
                  <a:cubicBezTo>
                    <a:pt x="103" y="406"/>
                    <a:pt x="103" y="406"/>
                    <a:pt x="103" y="406"/>
                  </a:cubicBezTo>
                  <a:cubicBezTo>
                    <a:pt x="110" y="387"/>
                    <a:pt x="118" y="369"/>
                    <a:pt x="126" y="351"/>
                  </a:cubicBezTo>
                  <a:cubicBezTo>
                    <a:pt x="91" y="315"/>
                    <a:pt x="91" y="315"/>
                    <a:pt x="91" y="315"/>
                  </a:cubicBezTo>
                  <a:cubicBezTo>
                    <a:pt x="77" y="301"/>
                    <a:pt x="75" y="281"/>
                    <a:pt x="85" y="265"/>
                  </a:cubicBezTo>
                  <a:cubicBezTo>
                    <a:pt x="129" y="195"/>
                    <a:pt x="190" y="134"/>
                    <a:pt x="260" y="90"/>
                  </a:cubicBezTo>
                  <a:cubicBezTo>
                    <a:pt x="276" y="80"/>
                    <a:pt x="296" y="82"/>
                    <a:pt x="310" y="96"/>
                  </a:cubicBezTo>
                  <a:cubicBezTo>
                    <a:pt x="346" y="131"/>
                    <a:pt x="346" y="131"/>
                    <a:pt x="346" y="131"/>
                  </a:cubicBezTo>
                  <a:cubicBezTo>
                    <a:pt x="364" y="123"/>
                    <a:pt x="382" y="115"/>
                    <a:pt x="401" y="108"/>
                  </a:cubicBezTo>
                  <a:cubicBezTo>
                    <a:pt x="401" y="58"/>
                    <a:pt x="401" y="58"/>
                    <a:pt x="401" y="58"/>
                  </a:cubicBezTo>
                  <a:cubicBezTo>
                    <a:pt x="401" y="39"/>
                    <a:pt x="414" y="23"/>
                    <a:pt x="432" y="19"/>
                  </a:cubicBezTo>
                  <a:cubicBezTo>
                    <a:pt x="513" y="0"/>
                    <a:pt x="599" y="0"/>
                    <a:pt x="680" y="19"/>
                  </a:cubicBezTo>
                  <a:cubicBezTo>
                    <a:pt x="698" y="23"/>
                    <a:pt x="711" y="39"/>
                    <a:pt x="711" y="58"/>
                  </a:cubicBezTo>
                  <a:cubicBezTo>
                    <a:pt x="711" y="108"/>
                    <a:pt x="711" y="108"/>
                    <a:pt x="711" y="108"/>
                  </a:cubicBezTo>
                  <a:cubicBezTo>
                    <a:pt x="730" y="115"/>
                    <a:pt x="748" y="123"/>
                    <a:pt x="766" y="131"/>
                  </a:cubicBezTo>
                  <a:cubicBezTo>
                    <a:pt x="802" y="96"/>
                    <a:pt x="802" y="96"/>
                    <a:pt x="802" y="96"/>
                  </a:cubicBezTo>
                  <a:cubicBezTo>
                    <a:pt x="816" y="82"/>
                    <a:pt x="836" y="80"/>
                    <a:pt x="852" y="90"/>
                  </a:cubicBezTo>
                  <a:cubicBezTo>
                    <a:pt x="922" y="134"/>
                    <a:pt x="983" y="195"/>
                    <a:pt x="1027" y="265"/>
                  </a:cubicBezTo>
                  <a:cubicBezTo>
                    <a:pt x="1037" y="281"/>
                    <a:pt x="1035" y="301"/>
                    <a:pt x="1021" y="315"/>
                  </a:cubicBezTo>
                  <a:cubicBezTo>
                    <a:pt x="986" y="351"/>
                    <a:pt x="986" y="351"/>
                    <a:pt x="986" y="351"/>
                  </a:cubicBezTo>
                  <a:cubicBezTo>
                    <a:pt x="994" y="369"/>
                    <a:pt x="1002" y="387"/>
                    <a:pt x="1009" y="406"/>
                  </a:cubicBezTo>
                  <a:cubicBezTo>
                    <a:pt x="1059" y="406"/>
                    <a:pt x="1059" y="406"/>
                    <a:pt x="1059" y="406"/>
                  </a:cubicBezTo>
                  <a:cubicBezTo>
                    <a:pt x="1078" y="406"/>
                    <a:pt x="1094" y="419"/>
                    <a:pt x="1099" y="437"/>
                  </a:cubicBezTo>
                  <a:close/>
                  <a:moveTo>
                    <a:pt x="1032" y="561"/>
                  </a:moveTo>
                  <a:cubicBezTo>
                    <a:pt x="1032" y="536"/>
                    <a:pt x="1030" y="511"/>
                    <a:pt x="1026" y="487"/>
                  </a:cubicBezTo>
                  <a:cubicBezTo>
                    <a:pt x="979" y="487"/>
                    <a:pt x="979" y="487"/>
                    <a:pt x="979" y="487"/>
                  </a:cubicBezTo>
                  <a:cubicBezTo>
                    <a:pt x="961" y="487"/>
                    <a:pt x="945" y="475"/>
                    <a:pt x="940" y="457"/>
                  </a:cubicBezTo>
                  <a:cubicBezTo>
                    <a:pt x="931" y="424"/>
                    <a:pt x="918" y="393"/>
                    <a:pt x="901" y="363"/>
                  </a:cubicBezTo>
                  <a:cubicBezTo>
                    <a:pt x="892" y="347"/>
                    <a:pt x="895" y="328"/>
                    <a:pt x="907" y="315"/>
                  </a:cubicBezTo>
                  <a:cubicBezTo>
                    <a:pt x="941" y="281"/>
                    <a:pt x="941" y="281"/>
                    <a:pt x="941" y="281"/>
                  </a:cubicBezTo>
                  <a:cubicBezTo>
                    <a:pt x="912" y="241"/>
                    <a:pt x="876" y="206"/>
                    <a:pt x="836" y="176"/>
                  </a:cubicBezTo>
                  <a:cubicBezTo>
                    <a:pt x="802" y="210"/>
                    <a:pt x="802" y="210"/>
                    <a:pt x="802" y="210"/>
                  </a:cubicBezTo>
                  <a:cubicBezTo>
                    <a:pt x="790" y="222"/>
                    <a:pt x="770" y="225"/>
                    <a:pt x="754" y="216"/>
                  </a:cubicBezTo>
                  <a:cubicBezTo>
                    <a:pt x="724" y="199"/>
                    <a:pt x="693" y="186"/>
                    <a:pt x="660" y="177"/>
                  </a:cubicBezTo>
                  <a:cubicBezTo>
                    <a:pt x="642" y="172"/>
                    <a:pt x="630" y="156"/>
                    <a:pt x="630" y="138"/>
                  </a:cubicBezTo>
                  <a:cubicBezTo>
                    <a:pt x="630" y="91"/>
                    <a:pt x="630" y="91"/>
                    <a:pt x="630" y="91"/>
                  </a:cubicBezTo>
                  <a:cubicBezTo>
                    <a:pt x="581" y="83"/>
                    <a:pt x="531" y="83"/>
                    <a:pt x="482" y="91"/>
                  </a:cubicBezTo>
                  <a:cubicBezTo>
                    <a:pt x="482" y="138"/>
                    <a:pt x="482" y="138"/>
                    <a:pt x="482" y="138"/>
                  </a:cubicBezTo>
                  <a:cubicBezTo>
                    <a:pt x="482" y="156"/>
                    <a:pt x="469" y="172"/>
                    <a:pt x="452" y="177"/>
                  </a:cubicBezTo>
                  <a:cubicBezTo>
                    <a:pt x="419" y="186"/>
                    <a:pt x="388" y="199"/>
                    <a:pt x="358" y="216"/>
                  </a:cubicBezTo>
                  <a:cubicBezTo>
                    <a:pt x="342" y="225"/>
                    <a:pt x="322" y="222"/>
                    <a:pt x="310" y="210"/>
                  </a:cubicBezTo>
                  <a:cubicBezTo>
                    <a:pt x="276" y="176"/>
                    <a:pt x="276" y="176"/>
                    <a:pt x="276" y="176"/>
                  </a:cubicBezTo>
                  <a:cubicBezTo>
                    <a:pt x="236" y="205"/>
                    <a:pt x="200" y="241"/>
                    <a:pt x="171" y="281"/>
                  </a:cubicBezTo>
                  <a:cubicBezTo>
                    <a:pt x="205" y="315"/>
                    <a:pt x="205" y="315"/>
                    <a:pt x="205" y="315"/>
                  </a:cubicBezTo>
                  <a:cubicBezTo>
                    <a:pt x="217" y="327"/>
                    <a:pt x="220" y="347"/>
                    <a:pt x="211" y="363"/>
                  </a:cubicBezTo>
                  <a:cubicBezTo>
                    <a:pt x="194" y="393"/>
                    <a:pt x="181" y="424"/>
                    <a:pt x="172" y="457"/>
                  </a:cubicBezTo>
                  <a:cubicBezTo>
                    <a:pt x="167" y="475"/>
                    <a:pt x="151" y="487"/>
                    <a:pt x="133" y="487"/>
                  </a:cubicBezTo>
                  <a:cubicBezTo>
                    <a:pt x="86" y="487"/>
                    <a:pt x="86" y="487"/>
                    <a:pt x="86" y="487"/>
                  </a:cubicBezTo>
                  <a:cubicBezTo>
                    <a:pt x="82" y="511"/>
                    <a:pt x="80" y="536"/>
                    <a:pt x="80" y="561"/>
                  </a:cubicBezTo>
                  <a:cubicBezTo>
                    <a:pt x="80" y="586"/>
                    <a:pt x="82" y="611"/>
                    <a:pt x="86" y="635"/>
                  </a:cubicBezTo>
                  <a:cubicBezTo>
                    <a:pt x="133" y="635"/>
                    <a:pt x="133" y="635"/>
                    <a:pt x="133" y="635"/>
                  </a:cubicBezTo>
                  <a:cubicBezTo>
                    <a:pt x="151" y="635"/>
                    <a:pt x="167" y="648"/>
                    <a:pt x="172" y="665"/>
                  </a:cubicBezTo>
                  <a:cubicBezTo>
                    <a:pt x="181" y="698"/>
                    <a:pt x="194" y="729"/>
                    <a:pt x="211" y="759"/>
                  </a:cubicBezTo>
                  <a:cubicBezTo>
                    <a:pt x="220" y="775"/>
                    <a:pt x="217" y="795"/>
                    <a:pt x="205" y="807"/>
                  </a:cubicBezTo>
                  <a:cubicBezTo>
                    <a:pt x="171" y="841"/>
                    <a:pt x="171" y="841"/>
                    <a:pt x="171" y="841"/>
                  </a:cubicBezTo>
                  <a:cubicBezTo>
                    <a:pt x="200" y="881"/>
                    <a:pt x="236" y="916"/>
                    <a:pt x="276" y="946"/>
                  </a:cubicBezTo>
                  <a:cubicBezTo>
                    <a:pt x="310" y="913"/>
                    <a:pt x="310" y="913"/>
                    <a:pt x="310" y="913"/>
                  </a:cubicBezTo>
                  <a:cubicBezTo>
                    <a:pt x="322" y="900"/>
                    <a:pt x="342" y="897"/>
                    <a:pt x="358" y="906"/>
                  </a:cubicBezTo>
                  <a:cubicBezTo>
                    <a:pt x="388" y="923"/>
                    <a:pt x="419" y="936"/>
                    <a:pt x="452" y="945"/>
                  </a:cubicBezTo>
                  <a:cubicBezTo>
                    <a:pt x="469" y="950"/>
                    <a:pt x="482" y="966"/>
                    <a:pt x="482" y="984"/>
                  </a:cubicBezTo>
                  <a:cubicBezTo>
                    <a:pt x="482" y="1031"/>
                    <a:pt x="482" y="1031"/>
                    <a:pt x="482" y="1031"/>
                  </a:cubicBezTo>
                  <a:cubicBezTo>
                    <a:pt x="531" y="1039"/>
                    <a:pt x="581" y="1039"/>
                    <a:pt x="630" y="1031"/>
                  </a:cubicBezTo>
                  <a:cubicBezTo>
                    <a:pt x="630" y="984"/>
                    <a:pt x="630" y="984"/>
                    <a:pt x="630" y="984"/>
                  </a:cubicBezTo>
                  <a:cubicBezTo>
                    <a:pt x="630" y="966"/>
                    <a:pt x="642" y="950"/>
                    <a:pt x="660" y="945"/>
                  </a:cubicBezTo>
                  <a:cubicBezTo>
                    <a:pt x="693" y="936"/>
                    <a:pt x="724" y="923"/>
                    <a:pt x="754" y="906"/>
                  </a:cubicBezTo>
                  <a:cubicBezTo>
                    <a:pt x="770" y="897"/>
                    <a:pt x="790" y="900"/>
                    <a:pt x="802" y="912"/>
                  </a:cubicBezTo>
                  <a:cubicBezTo>
                    <a:pt x="836" y="946"/>
                    <a:pt x="836" y="946"/>
                    <a:pt x="836" y="946"/>
                  </a:cubicBezTo>
                  <a:cubicBezTo>
                    <a:pt x="876" y="916"/>
                    <a:pt x="912" y="881"/>
                    <a:pt x="941" y="841"/>
                  </a:cubicBezTo>
                  <a:cubicBezTo>
                    <a:pt x="907" y="807"/>
                    <a:pt x="907" y="807"/>
                    <a:pt x="907" y="807"/>
                  </a:cubicBezTo>
                  <a:cubicBezTo>
                    <a:pt x="895" y="795"/>
                    <a:pt x="892" y="775"/>
                    <a:pt x="901" y="759"/>
                  </a:cubicBezTo>
                  <a:cubicBezTo>
                    <a:pt x="918" y="729"/>
                    <a:pt x="931" y="698"/>
                    <a:pt x="940" y="665"/>
                  </a:cubicBezTo>
                  <a:cubicBezTo>
                    <a:pt x="945" y="648"/>
                    <a:pt x="961" y="635"/>
                    <a:pt x="979" y="635"/>
                  </a:cubicBezTo>
                  <a:cubicBezTo>
                    <a:pt x="1026" y="635"/>
                    <a:pt x="1026" y="635"/>
                    <a:pt x="1026" y="635"/>
                  </a:cubicBezTo>
                  <a:cubicBezTo>
                    <a:pt x="1030" y="611"/>
                    <a:pt x="1032" y="586"/>
                    <a:pt x="1032" y="5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19" name="Freeform 10">
              <a:extLst>
                <a:ext uri="{FF2B5EF4-FFF2-40B4-BE49-F238E27FC236}">
                  <a16:creationId xmlns:a16="http://schemas.microsoft.com/office/drawing/2014/main" id="{E8DF3EE6-E2C9-4A15-B087-50279C0621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8888" y="3779838"/>
              <a:ext cx="803275" cy="800100"/>
            </a:xfrm>
            <a:custGeom>
              <a:avLst/>
              <a:gdLst>
                <a:gd name="T0" fmla="*/ 306 w 612"/>
                <a:gd name="T1" fmla="*/ 0 h 612"/>
                <a:gd name="T2" fmla="*/ 612 w 612"/>
                <a:gd name="T3" fmla="*/ 306 h 612"/>
                <a:gd name="T4" fmla="*/ 306 w 612"/>
                <a:gd name="T5" fmla="*/ 612 h 612"/>
                <a:gd name="T6" fmla="*/ 0 w 612"/>
                <a:gd name="T7" fmla="*/ 306 h 612"/>
                <a:gd name="T8" fmla="*/ 306 w 612"/>
                <a:gd name="T9" fmla="*/ 0 h 612"/>
                <a:gd name="T10" fmla="*/ 532 w 612"/>
                <a:gd name="T11" fmla="*/ 306 h 612"/>
                <a:gd name="T12" fmla="*/ 306 w 612"/>
                <a:gd name="T13" fmla="*/ 80 h 612"/>
                <a:gd name="T14" fmla="*/ 80 w 612"/>
                <a:gd name="T15" fmla="*/ 306 h 612"/>
                <a:gd name="T16" fmla="*/ 306 w 612"/>
                <a:gd name="T17" fmla="*/ 532 h 612"/>
                <a:gd name="T18" fmla="*/ 532 w 612"/>
                <a:gd name="T19" fmla="*/ 306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2" h="612">
                  <a:moveTo>
                    <a:pt x="306" y="0"/>
                  </a:moveTo>
                  <a:cubicBezTo>
                    <a:pt x="475" y="0"/>
                    <a:pt x="612" y="137"/>
                    <a:pt x="612" y="306"/>
                  </a:cubicBezTo>
                  <a:cubicBezTo>
                    <a:pt x="612" y="475"/>
                    <a:pt x="475" y="612"/>
                    <a:pt x="306" y="612"/>
                  </a:cubicBezTo>
                  <a:cubicBezTo>
                    <a:pt x="137" y="612"/>
                    <a:pt x="0" y="475"/>
                    <a:pt x="0" y="306"/>
                  </a:cubicBezTo>
                  <a:cubicBezTo>
                    <a:pt x="0" y="137"/>
                    <a:pt x="137" y="0"/>
                    <a:pt x="306" y="0"/>
                  </a:cubicBezTo>
                  <a:close/>
                  <a:moveTo>
                    <a:pt x="532" y="306"/>
                  </a:moveTo>
                  <a:cubicBezTo>
                    <a:pt x="532" y="182"/>
                    <a:pt x="430" y="80"/>
                    <a:pt x="306" y="80"/>
                  </a:cubicBezTo>
                  <a:cubicBezTo>
                    <a:pt x="181" y="80"/>
                    <a:pt x="80" y="182"/>
                    <a:pt x="80" y="306"/>
                  </a:cubicBezTo>
                  <a:cubicBezTo>
                    <a:pt x="80" y="430"/>
                    <a:pt x="181" y="532"/>
                    <a:pt x="306" y="532"/>
                  </a:cubicBezTo>
                  <a:cubicBezTo>
                    <a:pt x="430" y="532"/>
                    <a:pt x="532" y="430"/>
                    <a:pt x="532" y="30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20" name="Freeform 11">
              <a:extLst>
                <a:ext uri="{FF2B5EF4-FFF2-40B4-BE49-F238E27FC236}">
                  <a16:creationId xmlns:a16="http://schemas.microsoft.com/office/drawing/2014/main" id="{7B4F3F95-59C2-4F02-8F21-27D7F59ACE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2712" y="2860674"/>
              <a:ext cx="555625" cy="106362"/>
            </a:xfrm>
            <a:custGeom>
              <a:avLst/>
              <a:gdLst>
                <a:gd name="T0" fmla="*/ 384 w 424"/>
                <a:gd name="T1" fmla="*/ 0 h 81"/>
                <a:gd name="T2" fmla="*/ 424 w 424"/>
                <a:gd name="T3" fmla="*/ 41 h 81"/>
                <a:gd name="T4" fmla="*/ 384 w 424"/>
                <a:gd name="T5" fmla="*/ 81 h 81"/>
                <a:gd name="T6" fmla="*/ 40 w 424"/>
                <a:gd name="T7" fmla="*/ 81 h 81"/>
                <a:gd name="T8" fmla="*/ 0 w 424"/>
                <a:gd name="T9" fmla="*/ 41 h 81"/>
                <a:gd name="T10" fmla="*/ 40 w 424"/>
                <a:gd name="T11" fmla="*/ 0 h 81"/>
                <a:gd name="T12" fmla="*/ 384 w 424"/>
                <a:gd name="T1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4" h="81">
                  <a:moveTo>
                    <a:pt x="384" y="0"/>
                  </a:moveTo>
                  <a:cubicBezTo>
                    <a:pt x="406" y="0"/>
                    <a:pt x="424" y="18"/>
                    <a:pt x="424" y="41"/>
                  </a:cubicBezTo>
                  <a:cubicBezTo>
                    <a:pt x="424" y="63"/>
                    <a:pt x="406" y="81"/>
                    <a:pt x="384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18" y="81"/>
                    <a:pt x="0" y="63"/>
                    <a:pt x="0" y="41"/>
                  </a:cubicBezTo>
                  <a:cubicBezTo>
                    <a:pt x="0" y="18"/>
                    <a:pt x="18" y="0"/>
                    <a:pt x="40" y="0"/>
                  </a:cubicBezTo>
                  <a:lnTo>
                    <a:pt x="38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49913026-A93A-467A-BA3A-B78C5CD52E5A}"/>
              </a:ext>
            </a:extLst>
          </p:cNvPr>
          <p:cNvGrpSpPr/>
          <p:nvPr/>
        </p:nvGrpSpPr>
        <p:grpSpPr>
          <a:xfrm rot="19942417">
            <a:off x="4025619" y="4614685"/>
            <a:ext cx="420901" cy="506212"/>
            <a:chOff x="-407988" y="1982788"/>
            <a:chExt cx="2595563" cy="3121659"/>
          </a:xfrm>
          <a:solidFill>
            <a:schemeClr val="bg1">
              <a:lumMod val="65000"/>
            </a:schemeClr>
          </a:solidFill>
        </p:grpSpPr>
        <p:sp>
          <p:nvSpPr>
            <p:cNvPr id="193" name="Freeform 32">
              <a:extLst>
                <a:ext uri="{FF2B5EF4-FFF2-40B4-BE49-F238E27FC236}">
                  <a16:creationId xmlns:a16="http://schemas.microsoft.com/office/drawing/2014/main" id="{889DF114-0F89-4F3A-BD31-14EBADD2CD7B}"/>
                </a:ext>
              </a:extLst>
            </p:cNvPr>
            <p:cNvSpPr>
              <a:spLocks/>
            </p:cNvSpPr>
            <p:nvPr/>
          </p:nvSpPr>
          <p:spPr bwMode="auto">
            <a:xfrm rot="1734044">
              <a:off x="129031" y="2429437"/>
              <a:ext cx="1525594" cy="1939928"/>
            </a:xfrm>
            <a:custGeom>
              <a:avLst/>
              <a:gdLst>
                <a:gd name="T0" fmla="*/ 554 w 708"/>
                <a:gd name="T1" fmla="*/ 701 h 903"/>
                <a:gd name="T2" fmla="*/ 702 w 708"/>
                <a:gd name="T3" fmla="*/ 349 h 903"/>
                <a:gd name="T4" fmla="*/ 362 w 708"/>
                <a:gd name="T5" fmla="*/ 7 h 903"/>
                <a:gd name="T6" fmla="*/ 4 w 708"/>
                <a:gd name="T7" fmla="*/ 357 h 903"/>
                <a:gd name="T8" fmla="*/ 68 w 708"/>
                <a:gd name="T9" fmla="*/ 555 h 903"/>
                <a:gd name="T10" fmla="*/ 205 w 708"/>
                <a:gd name="T11" fmla="*/ 903 h 903"/>
                <a:gd name="T12" fmla="*/ 503 w 708"/>
                <a:gd name="T13" fmla="*/ 903 h 903"/>
                <a:gd name="T14" fmla="*/ 554 w 708"/>
                <a:gd name="T15" fmla="*/ 701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8" h="903">
                  <a:moveTo>
                    <a:pt x="554" y="701"/>
                  </a:moveTo>
                  <a:cubicBezTo>
                    <a:pt x="614" y="577"/>
                    <a:pt x="708" y="503"/>
                    <a:pt x="702" y="349"/>
                  </a:cubicBezTo>
                  <a:cubicBezTo>
                    <a:pt x="696" y="195"/>
                    <a:pt x="589" y="17"/>
                    <a:pt x="362" y="7"/>
                  </a:cubicBezTo>
                  <a:cubicBezTo>
                    <a:pt x="362" y="7"/>
                    <a:pt x="40" y="0"/>
                    <a:pt x="4" y="357"/>
                  </a:cubicBezTo>
                  <a:cubicBezTo>
                    <a:pt x="4" y="357"/>
                    <a:pt x="0" y="474"/>
                    <a:pt x="68" y="555"/>
                  </a:cubicBezTo>
                  <a:cubicBezTo>
                    <a:pt x="127" y="627"/>
                    <a:pt x="195" y="753"/>
                    <a:pt x="205" y="903"/>
                  </a:cubicBezTo>
                  <a:cubicBezTo>
                    <a:pt x="503" y="903"/>
                    <a:pt x="503" y="903"/>
                    <a:pt x="503" y="903"/>
                  </a:cubicBezTo>
                  <a:cubicBezTo>
                    <a:pt x="507" y="850"/>
                    <a:pt x="520" y="772"/>
                    <a:pt x="554" y="70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/>
            </a:p>
          </p:txBody>
        </p:sp>
        <p:sp>
          <p:nvSpPr>
            <p:cNvPr id="195" name="Freeform 34">
              <a:extLst>
                <a:ext uri="{FF2B5EF4-FFF2-40B4-BE49-F238E27FC236}">
                  <a16:creationId xmlns:a16="http://schemas.microsoft.com/office/drawing/2014/main" id="{A9386663-B5D4-4C8C-994B-9975CA4F5D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875" y="3224213"/>
              <a:ext cx="393700" cy="103187"/>
            </a:xfrm>
            <a:custGeom>
              <a:avLst/>
              <a:gdLst>
                <a:gd name="T0" fmla="*/ 159 w 183"/>
                <a:gd name="T1" fmla="*/ 0 h 48"/>
                <a:gd name="T2" fmla="*/ 183 w 183"/>
                <a:gd name="T3" fmla="*/ 24 h 48"/>
                <a:gd name="T4" fmla="*/ 159 w 183"/>
                <a:gd name="T5" fmla="*/ 48 h 48"/>
                <a:gd name="T6" fmla="*/ 24 w 183"/>
                <a:gd name="T7" fmla="*/ 48 h 48"/>
                <a:gd name="T8" fmla="*/ 0 w 183"/>
                <a:gd name="T9" fmla="*/ 24 h 48"/>
                <a:gd name="T10" fmla="*/ 24 w 183"/>
                <a:gd name="T11" fmla="*/ 0 h 48"/>
                <a:gd name="T12" fmla="*/ 159 w 183"/>
                <a:gd name="T13" fmla="*/ 0 h 48"/>
                <a:gd name="T14" fmla="*/ 159 w 183"/>
                <a:gd name="T15" fmla="*/ 0 h 48"/>
                <a:gd name="T16" fmla="*/ 159 w 183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48">
                  <a:moveTo>
                    <a:pt x="159" y="0"/>
                  </a:moveTo>
                  <a:cubicBezTo>
                    <a:pt x="172" y="0"/>
                    <a:pt x="183" y="11"/>
                    <a:pt x="183" y="24"/>
                  </a:cubicBezTo>
                  <a:cubicBezTo>
                    <a:pt x="183" y="38"/>
                    <a:pt x="172" y="48"/>
                    <a:pt x="159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lnTo>
                    <a:pt x="159" y="0"/>
                  </a:lnTo>
                  <a:close/>
                  <a:moveTo>
                    <a:pt x="159" y="0"/>
                  </a:moveTo>
                  <a:cubicBezTo>
                    <a:pt x="159" y="0"/>
                    <a:pt x="159" y="0"/>
                    <a:pt x="15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6" name="Freeform 35">
              <a:extLst>
                <a:ext uri="{FF2B5EF4-FFF2-40B4-BE49-F238E27FC236}">
                  <a16:creationId xmlns:a16="http://schemas.microsoft.com/office/drawing/2014/main" id="{1D9BA9A5-70A2-4958-995C-A977185FE5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2597150"/>
              <a:ext cx="371475" cy="254000"/>
            </a:xfrm>
            <a:custGeom>
              <a:avLst/>
              <a:gdLst>
                <a:gd name="T0" fmla="*/ 165 w 172"/>
                <a:gd name="T1" fmla="*/ 15 h 118"/>
                <a:gd name="T2" fmla="*/ 156 w 172"/>
                <a:gd name="T3" fmla="*/ 48 h 118"/>
                <a:gd name="T4" fmla="*/ 40 w 172"/>
                <a:gd name="T5" fmla="*/ 115 h 118"/>
                <a:gd name="T6" fmla="*/ 28 w 172"/>
                <a:gd name="T7" fmla="*/ 118 h 118"/>
                <a:gd name="T8" fmla="*/ 7 w 172"/>
                <a:gd name="T9" fmla="*/ 106 h 118"/>
                <a:gd name="T10" fmla="*/ 16 w 172"/>
                <a:gd name="T11" fmla="*/ 74 h 118"/>
                <a:gd name="T12" fmla="*/ 132 w 172"/>
                <a:gd name="T13" fmla="*/ 6 h 118"/>
                <a:gd name="T14" fmla="*/ 165 w 172"/>
                <a:gd name="T15" fmla="*/ 15 h 118"/>
                <a:gd name="T16" fmla="*/ 165 w 172"/>
                <a:gd name="T17" fmla="*/ 15 h 118"/>
                <a:gd name="T18" fmla="*/ 165 w 172"/>
                <a:gd name="T19" fmla="*/ 1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118">
                  <a:moveTo>
                    <a:pt x="165" y="15"/>
                  </a:moveTo>
                  <a:cubicBezTo>
                    <a:pt x="172" y="27"/>
                    <a:pt x="168" y="41"/>
                    <a:pt x="156" y="48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6" y="117"/>
                    <a:pt x="32" y="118"/>
                    <a:pt x="28" y="118"/>
                  </a:cubicBezTo>
                  <a:cubicBezTo>
                    <a:pt x="20" y="118"/>
                    <a:pt x="12" y="114"/>
                    <a:pt x="7" y="106"/>
                  </a:cubicBezTo>
                  <a:cubicBezTo>
                    <a:pt x="0" y="95"/>
                    <a:pt x="4" y="80"/>
                    <a:pt x="16" y="74"/>
                  </a:cubicBezTo>
                  <a:cubicBezTo>
                    <a:pt x="132" y="6"/>
                    <a:pt x="132" y="6"/>
                    <a:pt x="132" y="6"/>
                  </a:cubicBezTo>
                  <a:cubicBezTo>
                    <a:pt x="144" y="0"/>
                    <a:pt x="158" y="4"/>
                    <a:pt x="165" y="15"/>
                  </a:cubicBezTo>
                  <a:close/>
                  <a:moveTo>
                    <a:pt x="165" y="15"/>
                  </a:moveTo>
                  <a:cubicBezTo>
                    <a:pt x="165" y="15"/>
                    <a:pt x="165" y="15"/>
                    <a:pt x="165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7" name="Freeform 36">
              <a:extLst>
                <a:ext uri="{FF2B5EF4-FFF2-40B4-BE49-F238E27FC236}">
                  <a16:creationId xmlns:a16="http://schemas.microsoft.com/office/drawing/2014/main" id="{C4ED65D2-37BF-4D02-8A69-D3CDCCEDF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3695700"/>
              <a:ext cx="371475" cy="255587"/>
            </a:xfrm>
            <a:custGeom>
              <a:avLst/>
              <a:gdLst>
                <a:gd name="T0" fmla="*/ 156 w 172"/>
                <a:gd name="T1" fmla="*/ 74 h 119"/>
                <a:gd name="T2" fmla="*/ 165 w 172"/>
                <a:gd name="T3" fmla="*/ 107 h 119"/>
                <a:gd name="T4" fmla="*/ 144 w 172"/>
                <a:gd name="T5" fmla="*/ 119 h 119"/>
                <a:gd name="T6" fmla="*/ 132 w 172"/>
                <a:gd name="T7" fmla="*/ 115 h 119"/>
                <a:gd name="T8" fmla="*/ 16 w 172"/>
                <a:gd name="T9" fmla="*/ 48 h 119"/>
                <a:gd name="T10" fmla="*/ 7 w 172"/>
                <a:gd name="T11" fmla="*/ 15 h 119"/>
                <a:gd name="T12" fmla="*/ 40 w 172"/>
                <a:gd name="T13" fmla="*/ 7 h 119"/>
                <a:gd name="T14" fmla="*/ 156 w 172"/>
                <a:gd name="T15" fmla="*/ 74 h 119"/>
                <a:gd name="T16" fmla="*/ 156 w 172"/>
                <a:gd name="T17" fmla="*/ 74 h 119"/>
                <a:gd name="T18" fmla="*/ 156 w 172"/>
                <a:gd name="T19" fmla="*/ 7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119">
                  <a:moveTo>
                    <a:pt x="156" y="74"/>
                  </a:moveTo>
                  <a:cubicBezTo>
                    <a:pt x="168" y="80"/>
                    <a:pt x="172" y="95"/>
                    <a:pt x="165" y="107"/>
                  </a:cubicBezTo>
                  <a:cubicBezTo>
                    <a:pt x="161" y="114"/>
                    <a:pt x="153" y="119"/>
                    <a:pt x="144" y="119"/>
                  </a:cubicBezTo>
                  <a:cubicBezTo>
                    <a:pt x="140" y="119"/>
                    <a:pt x="136" y="118"/>
                    <a:pt x="132" y="115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4" y="42"/>
                    <a:pt x="0" y="27"/>
                    <a:pt x="7" y="15"/>
                  </a:cubicBezTo>
                  <a:cubicBezTo>
                    <a:pt x="14" y="4"/>
                    <a:pt x="28" y="0"/>
                    <a:pt x="40" y="7"/>
                  </a:cubicBezTo>
                  <a:lnTo>
                    <a:pt x="156" y="74"/>
                  </a:lnTo>
                  <a:close/>
                  <a:moveTo>
                    <a:pt x="156" y="74"/>
                  </a:moveTo>
                  <a:cubicBezTo>
                    <a:pt x="156" y="74"/>
                    <a:pt x="156" y="74"/>
                    <a:pt x="156" y="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8" name="Freeform 37">
              <a:extLst>
                <a:ext uri="{FF2B5EF4-FFF2-40B4-BE49-F238E27FC236}">
                  <a16:creationId xmlns:a16="http://schemas.microsoft.com/office/drawing/2014/main" id="{2FE3B227-92BF-401E-9D11-2DA5453D155A}"/>
                </a:ext>
              </a:extLst>
            </p:cNvPr>
            <p:cNvSpPr>
              <a:spLocks noEditPoints="1"/>
            </p:cNvSpPr>
            <p:nvPr/>
          </p:nvSpPr>
          <p:spPr bwMode="auto">
            <a:xfrm rot="1736145">
              <a:off x="-84083" y="2446968"/>
              <a:ext cx="1616072" cy="2657479"/>
            </a:xfrm>
            <a:custGeom>
              <a:avLst/>
              <a:gdLst>
                <a:gd name="T0" fmla="*/ 750 w 750"/>
                <a:gd name="T1" fmla="*/ 376 h 1237"/>
                <a:gd name="T2" fmla="*/ 674 w 750"/>
                <a:gd name="T3" fmla="*/ 602 h 1237"/>
                <a:gd name="T4" fmla="*/ 546 w 750"/>
                <a:gd name="T5" fmla="*/ 976 h 1237"/>
                <a:gd name="T6" fmla="*/ 546 w 750"/>
                <a:gd name="T7" fmla="*/ 1120 h 1237"/>
                <a:gd name="T8" fmla="*/ 430 w 750"/>
                <a:gd name="T9" fmla="*/ 1237 h 1237"/>
                <a:gd name="T10" fmla="*/ 321 w 750"/>
                <a:gd name="T11" fmla="*/ 1237 h 1237"/>
                <a:gd name="T12" fmla="*/ 205 w 750"/>
                <a:gd name="T13" fmla="*/ 1120 h 1237"/>
                <a:gd name="T14" fmla="*/ 205 w 750"/>
                <a:gd name="T15" fmla="*/ 976 h 1237"/>
                <a:gd name="T16" fmla="*/ 77 w 750"/>
                <a:gd name="T17" fmla="*/ 603 h 1237"/>
                <a:gd name="T18" fmla="*/ 1 w 750"/>
                <a:gd name="T19" fmla="*/ 373 h 1237"/>
                <a:gd name="T20" fmla="*/ 110 w 750"/>
                <a:gd name="T21" fmla="*/ 112 h 1237"/>
                <a:gd name="T22" fmla="*/ 370 w 750"/>
                <a:gd name="T23" fmla="*/ 2 h 1237"/>
                <a:gd name="T24" fmla="*/ 638 w 750"/>
                <a:gd name="T25" fmla="*/ 110 h 1237"/>
                <a:gd name="T26" fmla="*/ 750 w 750"/>
                <a:gd name="T27" fmla="*/ 376 h 1237"/>
                <a:gd name="T28" fmla="*/ 636 w 750"/>
                <a:gd name="T29" fmla="*/ 573 h 1237"/>
                <a:gd name="T30" fmla="*/ 702 w 750"/>
                <a:gd name="T31" fmla="*/ 376 h 1237"/>
                <a:gd name="T32" fmla="*/ 604 w 750"/>
                <a:gd name="T33" fmla="*/ 144 h 1237"/>
                <a:gd name="T34" fmla="*/ 371 w 750"/>
                <a:gd name="T35" fmla="*/ 50 h 1237"/>
                <a:gd name="T36" fmla="*/ 49 w 750"/>
                <a:gd name="T37" fmla="*/ 373 h 1237"/>
                <a:gd name="T38" fmla="*/ 116 w 750"/>
                <a:gd name="T39" fmla="*/ 574 h 1237"/>
                <a:gd name="T40" fmla="*/ 253 w 750"/>
                <a:gd name="T41" fmla="*/ 967 h 1237"/>
                <a:gd name="T42" fmla="*/ 498 w 750"/>
                <a:gd name="T43" fmla="*/ 967 h 1237"/>
                <a:gd name="T44" fmla="*/ 636 w 750"/>
                <a:gd name="T45" fmla="*/ 573 h 1237"/>
                <a:gd name="T46" fmla="*/ 498 w 750"/>
                <a:gd name="T47" fmla="*/ 1120 h 1237"/>
                <a:gd name="T48" fmla="*/ 498 w 750"/>
                <a:gd name="T49" fmla="*/ 1113 h 1237"/>
                <a:gd name="T50" fmla="*/ 253 w 750"/>
                <a:gd name="T51" fmla="*/ 1085 h 1237"/>
                <a:gd name="T52" fmla="*/ 253 w 750"/>
                <a:gd name="T53" fmla="*/ 1104 h 1237"/>
                <a:gd name="T54" fmla="*/ 497 w 750"/>
                <a:gd name="T55" fmla="*/ 1132 h 1237"/>
                <a:gd name="T56" fmla="*/ 498 w 750"/>
                <a:gd name="T57" fmla="*/ 1120 h 1237"/>
                <a:gd name="T58" fmla="*/ 498 w 750"/>
                <a:gd name="T59" fmla="*/ 1064 h 1237"/>
                <a:gd name="T60" fmla="*/ 498 w 750"/>
                <a:gd name="T61" fmla="*/ 1015 h 1237"/>
                <a:gd name="T62" fmla="*/ 253 w 750"/>
                <a:gd name="T63" fmla="*/ 1015 h 1237"/>
                <a:gd name="T64" fmla="*/ 253 w 750"/>
                <a:gd name="T65" fmla="*/ 1036 h 1237"/>
                <a:gd name="T66" fmla="*/ 498 w 750"/>
                <a:gd name="T67" fmla="*/ 1064 h 1237"/>
                <a:gd name="T68" fmla="*/ 468 w 750"/>
                <a:gd name="T69" fmla="*/ 1177 h 1237"/>
                <a:gd name="T70" fmla="*/ 261 w 750"/>
                <a:gd name="T71" fmla="*/ 1153 h 1237"/>
                <a:gd name="T72" fmla="*/ 321 w 750"/>
                <a:gd name="T73" fmla="*/ 1189 h 1237"/>
                <a:gd name="T74" fmla="*/ 430 w 750"/>
                <a:gd name="T75" fmla="*/ 1189 h 1237"/>
                <a:gd name="T76" fmla="*/ 468 w 750"/>
                <a:gd name="T77" fmla="*/ 1177 h 1237"/>
                <a:gd name="T78" fmla="*/ 468 w 750"/>
                <a:gd name="T79" fmla="*/ 1177 h 1237"/>
                <a:gd name="T80" fmla="*/ 468 w 750"/>
                <a:gd name="T81" fmla="*/ 1177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50" h="1237">
                  <a:moveTo>
                    <a:pt x="750" y="376"/>
                  </a:moveTo>
                  <a:cubicBezTo>
                    <a:pt x="750" y="459"/>
                    <a:pt x="724" y="537"/>
                    <a:pt x="674" y="602"/>
                  </a:cubicBezTo>
                  <a:cubicBezTo>
                    <a:pt x="590" y="713"/>
                    <a:pt x="546" y="842"/>
                    <a:pt x="546" y="976"/>
                  </a:cubicBezTo>
                  <a:cubicBezTo>
                    <a:pt x="546" y="1120"/>
                    <a:pt x="546" y="1120"/>
                    <a:pt x="546" y="1120"/>
                  </a:cubicBezTo>
                  <a:cubicBezTo>
                    <a:pt x="546" y="1185"/>
                    <a:pt x="494" y="1237"/>
                    <a:pt x="430" y="1237"/>
                  </a:cubicBezTo>
                  <a:cubicBezTo>
                    <a:pt x="321" y="1237"/>
                    <a:pt x="321" y="1237"/>
                    <a:pt x="321" y="1237"/>
                  </a:cubicBezTo>
                  <a:cubicBezTo>
                    <a:pt x="257" y="1237"/>
                    <a:pt x="205" y="1185"/>
                    <a:pt x="205" y="1120"/>
                  </a:cubicBezTo>
                  <a:cubicBezTo>
                    <a:pt x="205" y="976"/>
                    <a:pt x="205" y="976"/>
                    <a:pt x="205" y="976"/>
                  </a:cubicBezTo>
                  <a:cubicBezTo>
                    <a:pt x="205" y="843"/>
                    <a:pt x="160" y="711"/>
                    <a:pt x="77" y="603"/>
                  </a:cubicBezTo>
                  <a:cubicBezTo>
                    <a:pt x="27" y="536"/>
                    <a:pt x="0" y="457"/>
                    <a:pt x="1" y="373"/>
                  </a:cubicBezTo>
                  <a:cubicBezTo>
                    <a:pt x="2" y="275"/>
                    <a:pt x="41" y="182"/>
                    <a:pt x="110" y="112"/>
                  </a:cubicBezTo>
                  <a:cubicBezTo>
                    <a:pt x="180" y="43"/>
                    <a:pt x="272" y="3"/>
                    <a:pt x="370" y="2"/>
                  </a:cubicBezTo>
                  <a:cubicBezTo>
                    <a:pt x="471" y="0"/>
                    <a:pt x="566" y="39"/>
                    <a:pt x="638" y="110"/>
                  </a:cubicBezTo>
                  <a:cubicBezTo>
                    <a:pt x="710" y="180"/>
                    <a:pt x="750" y="275"/>
                    <a:pt x="750" y="376"/>
                  </a:cubicBezTo>
                  <a:close/>
                  <a:moveTo>
                    <a:pt x="636" y="573"/>
                  </a:moveTo>
                  <a:cubicBezTo>
                    <a:pt x="679" y="516"/>
                    <a:pt x="702" y="448"/>
                    <a:pt x="702" y="376"/>
                  </a:cubicBezTo>
                  <a:cubicBezTo>
                    <a:pt x="702" y="288"/>
                    <a:pt x="667" y="206"/>
                    <a:pt x="604" y="144"/>
                  </a:cubicBezTo>
                  <a:cubicBezTo>
                    <a:pt x="542" y="82"/>
                    <a:pt x="459" y="49"/>
                    <a:pt x="371" y="50"/>
                  </a:cubicBezTo>
                  <a:cubicBezTo>
                    <a:pt x="195" y="52"/>
                    <a:pt x="51" y="197"/>
                    <a:pt x="49" y="373"/>
                  </a:cubicBezTo>
                  <a:cubicBezTo>
                    <a:pt x="48" y="446"/>
                    <a:pt x="71" y="516"/>
                    <a:pt x="116" y="574"/>
                  </a:cubicBezTo>
                  <a:cubicBezTo>
                    <a:pt x="202" y="688"/>
                    <a:pt x="251" y="827"/>
                    <a:pt x="253" y="967"/>
                  </a:cubicBezTo>
                  <a:cubicBezTo>
                    <a:pt x="498" y="967"/>
                    <a:pt x="498" y="967"/>
                    <a:pt x="498" y="967"/>
                  </a:cubicBezTo>
                  <a:cubicBezTo>
                    <a:pt x="500" y="825"/>
                    <a:pt x="547" y="690"/>
                    <a:pt x="636" y="573"/>
                  </a:cubicBezTo>
                  <a:close/>
                  <a:moveTo>
                    <a:pt x="498" y="1120"/>
                  </a:moveTo>
                  <a:cubicBezTo>
                    <a:pt x="498" y="1113"/>
                    <a:pt x="498" y="1113"/>
                    <a:pt x="498" y="1113"/>
                  </a:cubicBezTo>
                  <a:cubicBezTo>
                    <a:pt x="253" y="1085"/>
                    <a:pt x="253" y="1085"/>
                    <a:pt x="253" y="1085"/>
                  </a:cubicBezTo>
                  <a:cubicBezTo>
                    <a:pt x="253" y="1104"/>
                    <a:pt x="253" y="1104"/>
                    <a:pt x="253" y="1104"/>
                  </a:cubicBezTo>
                  <a:cubicBezTo>
                    <a:pt x="497" y="1132"/>
                    <a:pt x="497" y="1132"/>
                    <a:pt x="497" y="1132"/>
                  </a:cubicBezTo>
                  <a:cubicBezTo>
                    <a:pt x="498" y="1128"/>
                    <a:pt x="498" y="1124"/>
                    <a:pt x="498" y="1120"/>
                  </a:cubicBezTo>
                  <a:close/>
                  <a:moveTo>
                    <a:pt x="498" y="1064"/>
                  </a:moveTo>
                  <a:cubicBezTo>
                    <a:pt x="498" y="1015"/>
                    <a:pt x="498" y="1015"/>
                    <a:pt x="498" y="1015"/>
                  </a:cubicBezTo>
                  <a:cubicBezTo>
                    <a:pt x="253" y="1015"/>
                    <a:pt x="253" y="1015"/>
                    <a:pt x="253" y="1015"/>
                  </a:cubicBezTo>
                  <a:cubicBezTo>
                    <a:pt x="253" y="1036"/>
                    <a:pt x="253" y="1036"/>
                    <a:pt x="253" y="1036"/>
                  </a:cubicBezTo>
                  <a:lnTo>
                    <a:pt x="498" y="1064"/>
                  </a:lnTo>
                  <a:close/>
                  <a:moveTo>
                    <a:pt x="468" y="1177"/>
                  </a:moveTo>
                  <a:cubicBezTo>
                    <a:pt x="261" y="1153"/>
                    <a:pt x="261" y="1153"/>
                    <a:pt x="261" y="1153"/>
                  </a:cubicBezTo>
                  <a:cubicBezTo>
                    <a:pt x="273" y="1174"/>
                    <a:pt x="296" y="1189"/>
                    <a:pt x="321" y="1189"/>
                  </a:cubicBezTo>
                  <a:cubicBezTo>
                    <a:pt x="430" y="1189"/>
                    <a:pt x="430" y="1189"/>
                    <a:pt x="430" y="1189"/>
                  </a:cubicBezTo>
                  <a:cubicBezTo>
                    <a:pt x="444" y="1189"/>
                    <a:pt x="457" y="1184"/>
                    <a:pt x="468" y="1177"/>
                  </a:cubicBezTo>
                  <a:close/>
                  <a:moveTo>
                    <a:pt x="468" y="1177"/>
                  </a:moveTo>
                  <a:cubicBezTo>
                    <a:pt x="468" y="1177"/>
                    <a:pt x="468" y="1177"/>
                    <a:pt x="468" y="11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199" name="Freeform 38">
              <a:extLst>
                <a:ext uri="{FF2B5EF4-FFF2-40B4-BE49-F238E27FC236}">
                  <a16:creationId xmlns:a16="http://schemas.microsoft.com/office/drawing/2014/main" id="{9194B382-0E1E-405E-87B3-86A0FB8E5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9688" y="2141538"/>
              <a:ext cx="261938" cy="360362"/>
            </a:xfrm>
            <a:custGeom>
              <a:avLst/>
              <a:gdLst>
                <a:gd name="T0" fmla="*/ 107 w 122"/>
                <a:gd name="T1" fmla="*/ 7 h 168"/>
                <a:gd name="T2" fmla="*/ 115 w 122"/>
                <a:gd name="T3" fmla="*/ 39 h 168"/>
                <a:gd name="T4" fmla="*/ 48 w 122"/>
                <a:gd name="T5" fmla="*/ 156 h 168"/>
                <a:gd name="T6" fmla="*/ 27 w 122"/>
                <a:gd name="T7" fmla="*/ 168 h 168"/>
                <a:gd name="T8" fmla="*/ 15 w 122"/>
                <a:gd name="T9" fmla="*/ 165 h 168"/>
                <a:gd name="T10" fmla="*/ 7 w 122"/>
                <a:gd name="T11" fmla="*/ 132 h 168"/>
                <a:gd name="T12" fmla="*/ 74 w 122"/>
                <a:gd name="T13" fmla="*/ 15 h 168"/>
                <a:gd name="T14" fmla="*/ 107 w 122"/>
                <a:gd name="T15" fmla="*/ 7 h 168"/>
                <a:gd name="T16" fmla="*/ 107 w 122"/>
                <a:gd name="T17" fmla="*/ 7 h 168"/>
                <a:gd name="T18" fmla="*/ 107 w 122"/>
                <a:gd name="T19" fmla="*/ 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68">
                  <a:moveTo>
                    <a:pt x="107" y="7"/>
                  </a:moveTo>
                  <a:cubicBezTo>
                    <a:pt x="118" y="13"/>
                    <a:pt x="122" y="28"/>
                    <a:pt x="115" y="39"/>
                  </a:cubicBezTo>
                  <a:cubicBezTo>
                    <a:pt x="48" y="156"/>
                    <a:pt x="48" y="156"/>
                    <a:pt x="48" y="156"/>
                  </a:cubicBezTo>
                  <a:cubicBezTo>
                    <a:pt x="44" y="164"/>
                    <a:pt x="36" y="168"/>
                    <a:pt x="27" y="168"/>
                  </a:cubicBezTo>
                  <a:cubicBezTo>
                    <a:pt x="23" y="168"/>
                    <a:pt x="19" y="167"/>
                    <a:pt x="15" y="165"/>
                  </a:cubicBezTo>
                  <a:cubicBezTo>
                    <a:pt x="4" y="158"/>
                    <a:pt x="0" y="143"/>
                    <a:pt x="7" y="132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80" y="4"/>
                    <a:pt x="95" y="0"/>
                    <a:pt x="107" y="7"/>
                  </a:cubicBezTo>
                  <a:close/>
                  <a:moveTo>
                    <a:pt x="107" y="7"/>
                  </a:moveTo>
                  <a:cubicBezTo>
                    <a:pt x="107" y="7"/>
                    <a:pt x="107" y="7"/>
                    <a:pt x="107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0" name="Freeform 39">
              <a:extLst>
                <a:ext uri="{FF2B5EF4-FFF2-40B4-BE49-F238E27FC236}">
                  <a16:creationId xmlns:a16="http://schemas.microsoft.com/office/drawing/2014/main" id="{DC6437C4-DD72-4A31-AC57-50A61B19F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6613" y="1982788"/>
              <a:ext cx="103188" cy="390525"/>
            </a:xfrm>
            <a:custGeom>
              <a:avLst/>
              <a:gdLst>
                <a:gd name="T0" fmla="*/ 48 w 48"/>
                <a:gd name="T1" fmla="*/ 24 h 182"/>
                <a:gd name="T2" fmla="*/ 48 w 48"/>
                <a:gd name="T3" fmla="*/ 158 h 182"/>
                <a:gd name="T4" fmla="*/ 24 w 48"/>
                <a:gd name="T5" fmla="*/ 182 h 182"/>
                <a:gd name="T6" fmla="*/ 0 w 48"/>
                <a:gd name="T7" fmla="*/ 158 h 182"/>
                <a:gd name="T8" fmla="*/ 0 w 48"/>
                <a:gd name="T9" fmla="*/ 24 h 182"/>
                <a:gd name="T10" fmla="*/ 24 w 48"/>
                <a:gd name="T11" fmla="*/ 0 h 182"/>
                <a:gd name="T12" fmla="*/ 48 w 48"/>
                <a:gd name="T13" fmla="*/ 24 h 182"/>
                <a:gd name="T14" fmla="*/ 48 w 48"/>
                <a:gd name="T15" fmla="*/ 24 h 182"/>
                <a:gd name="T16" fmla="*/ 48 w 48"/>
                <a:gd name="T17" fmla="*/ 2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82">
                  <a:moveTo>
                    <a:pt x="48" y="24"/>
                  </a:moveTo>
                  <a:cubicBezTo>
                    <a:pt x="48" y="158"/>
                    <a:pt x="48" y="158"/>
                    <a:pt x="48" y="158"/>
                  </a:cubicBezTo>
                  <a:cubicBezTo>
                    <a:pt x="48" y="172"/>
                    <a:pt x="38" y="182"/>
                    <a:pt x="24" y="182"/>
                  </a:cubicBezTo>
                  <a:cubicBezTo>
                    <a:pt x="11" y="182"/>
                    <a:pt x="0" y="172"/>
                    <a:pt x="0" y="15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4"/>
                    <a:pt x="48" y="2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1" name="Freeform 40">
              <a:extLst>
                <a:ext uri="{FF2B5EF4-FFF2-40B4-BE49-F238E27FC236}">
                  <a16:creationId xmlns:a16="http://schemas.microsoft.com/office/drawing/2014/main" id="{212ADB15-961E-4936-8988-0CBD0A8D9E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963" y="2141538"/>
              <a:ext cx="263525" cy="360362"/>
            </a:xfrm>
            <a:custGeom>
              <a:avLst/>
              <a:gdLst>
                <a:gd name="T0" fmla="*/ 115 w 122"/>
                <a:gd name="T1" fmla="*/ 132 h 168"/>
                <a:gd name="T2" fmla="*/ 106 w 122"/>
                <a:gd name="T3" fmla="*/ 165 h 168"/>
                <a:gd name="T4" fmla="*/ 94 w 122"/>
                <a:gd name="T5" fmla="*/ 168 h 168"/>
                <a:gd name="T6" fmla="*/ 74 w 122"/>
                <a:gd name="T7" fmla="*/ 156 h 168"/>
                <a:gd name="T8" fmla="*/ 6 w 122"/>
                <a:gd name="T9" fmla="*/ 39 h 168"/>
                <a:gd name="T10" fmla="*/ 15 w 122"/>
                <a:gd name="T11" fmla="*/ 7 h 168"/>
                <a:gd name="T12" fmla="*/ 48 w 122"/>
                <a:gd name="T13" fmla="*/ 15 h 168"/>
                <a:gd name="T14" fmla="*/ 115 w 122"/>
                <a:gd name="T15" fmla="*/ 132 h 168"/>
                <a:gd name="T16" fmla="*/ 115 w 122"/>
                <a:gd name="T17" fmla="*/ 132 h 168"/>
                <a:gd name="T18" fmla="*/ 115 w 122"/>
                <a:gd name="T19" fmla="*/ 13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68">
                  <a:moveTo>
                    <a:pt x="115" y="132"/>
                  </a:moveTo>
                  <a:cubicBezTo>
                    <a:pt x="122" y="143"/>
                    <a:pt x="118" y="158"/>
                    <a:pt x="106" y="165"/>
                  </a:cubicBezTo>
                  <a:cubicBezTo>
                    <a:pt x="103" y="167"/>
                    <a:pt x="98" y="168"/>
                    <a:pt x="94" y="168"/>
                  </a:cubicBezTo>
                  <a:cubicBezTo>
                    <a:pt x="86" y="168"/>
                    <a:pt x="78" y="164"/>
                    <a:pt x="74" y="156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0" y="28"/>
                    <a:pt x="4" y="13"/>
                    <a:pt x="15" y="7"/>
                  </a:cubicBezTo>
                  <a:cubicBezTo>
                    <a:pt x="27" y="0"/>
                    <a:pt x="41" y="4"/>
                    <a:pt x="48" y="15"/>
                  </a:cubicBezTo>
                  <a:lnTo>
                    <a:pt x="115" y="132"/>
                  </a:lnTo>
                  <a:close/>
                  <a:moveTo>
                    <a:pt x="115" y="132"/>
                  </a:moveTo>
                  <a:cubicBezTo>
                    <a:pt x="115" y="132"/>
                    <a:pt x="115" y="132"/>
                    <a:pt x="115" y="1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2" name="Freeform 41">
              <a:extLst>
                <a:ext uri="{FF2B5EF4-FFF2-40B4-BE49-F238E27FC236}">
                  <a16:creationId xmlns:a16="http://schemas.microsoft.com/office/drawing/2014/main" id="{CC767B2F-7129-481C-B964-195EB03A3B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49237" y="2597150"/>
              <a:ext cx="368300" cy="254000"/>
            </a:xfrm>
            <a:custGeom>
              <a:avLst/>
              <a:gdLst>
                <a:gd name="T0" fmla="*/ 156 w 171"/>
                <a:gd name="T1" fmla="*/ 74 h 118"/>
                <a:gd name="T2" fmla="*/ 165 w 171"/>
                <a:gd name="T3" fmla="*/ 106 h 118"/>
                <a:gd name="T4" fmla="*/ 144 w 171"/>
                <a:gd name="T5" fmla="*/ 118 h 118"/>
                <a:gd name="T6" fmla="*/ 132 w 171"/>
                <a:gd name="T7" fmla="*/ 115 h 118"/>
                <a:gd name="T8" fmla="*/ 15 w 171"/>
                <a:gd name="T9" fmla="*/ 48 h 118"/>
                <a:gd name="T10" fmla="*/ 7 w 171"/>
                <a:gd name="T11" fmla="*/ 15 h 118"/>
                <a:gd name="T12" fmla="*/ 39 w 171"/>
                <a:gd name="T13" fmla="*/ 6 h 118"/>
                <a:gd name="T14" fmla="*/ 156 w 171"/>
                <a:gd name="T15" fmla="*/ 74 h 118"/>
                <a:gd name="T16" fmla="*/ 156 w 171"/>
                <a:gd name="T17" fmla="*/ 74 h 118"/>
                <a:gd name="T18" fmla="*/ 156 w 171"/>
                <a:gd name="T19" fmla="*/ 7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18">
                  <a:moveTo>
                    <a:pt x="156" y="74"/>
                  </a:moveTo>
                  <a:cubicBezTo>
                    <a:pt x="167" y="80"/>
                    <a:pt x="171" y="95"/>
                    <a:pt x="165" y="106"/>
                  </a:cubicBezTo>
                  <a:cubicBezTo>
                    <a:pt x="160" y="114"/>
                    <a:pt x="152" y="118"/>
                    <a:pt x="144" y="118"/>
                  </a:cubicBezTo>
                  <a:cubicBezTo>
                    <a:pt x="140" y="118"/>
                    <a:pt x="136" y="117"/>
                    <a:pt x="132" y="115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4" y="41"/>
                    <a:pt x="0" y="27"/>
                    <a:pt x="7" y="15"/>
                  </a:cubicBezTo>
                  <a:cubicBezTo>
                    <a:pt x="13" y="4"/>
                    <a:pt x="28" y="0"/>
                    <a:pt x="39" y="6"/>
                  </a:cubicBezTo>
                  <a:lnTo>
                    <a:pt x="156" y="74"/>
                  </a:lnTo>
                  <a:close/>
                  <a:moveTo>
                    <a:pt x="156" y="74"/>
                  </a:moveTo>
                  <a:cubicBezTo>
                    <a:pt x="156" y="74"/>
                    <a:pt x="156" y="74"/>
                    <a:pt x="156" y="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3" name="Freeform 42">
              <a:extLst>
                <a:ext uri="{FF2B5EF4-FFF2-40B4-BE49-F238E27FC236}">
                  <a16:creationId xmlns:a16="http://schemas.microsoft.com/office/drawing/2014/main" id="{262AC2D1-E9B6-4B0A-8BA9-6D501FA05F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49237" y="3695700"/>
              <a:ext cx="368300" cy="255587"/>
            </a:xfrm>
            <a:custGeom>
              <a:avLst/>
              <a:gdLst>
                <a:gd name="T0" fmla="*/ 165 w 171"/>
                <a:gd name="T1" fmla="*/ 15 h 119"/>
                <a:gd name="T2" fmla="*/ 156 w 171"/>
                <a:gd name="T3" fmla="*/ 48 h 119"/>
                <a:gd name="T4" fmla="*/ 39 w 171"/>
                <a:gd name="T5" fmla="*/ 115 h 119"/>
                <a:gd name="T6" fmla="*/ 27 w 171"/>
                <a:gd name="T7" fmla="*/ 119 h 119"/>
                <a:gd name="T8" fmla="*/ 7 w 171"/>
                <a:gd name="T9" fmla="*/ 107 h 119"/>
                <a:gd name="T10" fmla="*/ 15 w 171"/>
                <a:gd name="T11" fmla="*/ 74 h 119"/>
                <a:gd name="T12" fmla="*/ 132 w 171"/>
                <a:gd name="T13" fmla="*/ 7 h 119"/>
                <a:gd name="T14" fmla="*/ 165 w 171"/>
                <a:gd name="T15" fmla="*/ 15 h 119"/>
                <a:gd name="T16" fmla="*/ 165 w 171"/>
                <a:gd name="T17" fmla="*/ 15 h 119"/>
                <a:gd name="T18" fmla="*/ 165 w 171"/>
                <a:gd name="T19" fmla="*/ 1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19">
                  <a:moveTo>
                    <a:pt x="165" y="15"/>
                  </a:moveTo>
                  <a:cubicBezTo>
                    <a:pt x="171" y="27"/>
                    <a:pt x="167" y="42"/>
                    <a:pt x="156" y="48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6" y="118"/>
                    <a:pt x="32" y="119"/>
                    <a:pt x="27" y="119"/>
                  </a:cubicBezTo>
                  <a:cubicBezTo>
                    <a:pt x="19" y="119"/>
                    <a:pt x="11" y="114"/>
                    <a:pt x="7" y="107"/>
                  </a:cubicBezTo>
                  <a:cubicBezTo>
                    <a:pt x="0" y="95"/>
                    <a:pt x="4" y="80"/>
                    <a:pt x="15" y="74"/>
                  </a:cubicBezTo>
                  <a:cubicBezTo>
                    <a:pt x="132" y="7"/>
                    <a:pt x="132" y="7"/>
                    <a:pt x="132" y="7"/>
                  </a:cubicBezTo>
                  <a:cubicBezTo>
                    <a:pt x="143" y="0"/>
                    <a:pt x="158" y="4"/>
                    <a:pt x="165" y="15"/>
                  </a:cubicBezTo>
                  <a:close/>
                  <a:moveTo>
                    <a:pt x="165" y="15"/>
                  </a:moveTo>
                  <a:cubicBezTo>
                    <a:pt x="165" y="15"/>
                    <a:pt x="165" y="15"/>
                    <a:pt x="165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  <p:sp>
          <p:nvSpPr>
            <p:cNvPr id="204" name="Freeform 43">
              <a:extLst>
                <a:ext uri="{FF2B5EF4-FFF2-40B4-BE49-F238E27FC236}">
                  <a16:creationId xmlns:a16="http://schemas.microsoft.com/office/drawing/2014/main" id="{FCB12504-852B-4E8A-A51E-83A4EBB82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07988" y="3224213"/>
              <a:ext cx="392113" cy="103187"/>
            </a:xfrm>
            <a:custGeom>
              <a:avLst/>
              <a:gdLst>
                <a:gd name="T0" fmla="*/ 158 w 182"/>
                <a:gd name="T1" fmla="*/ 0 h 48"/>
                <a:gd name="T2" fmla="*/ 182 w 182"/>
                <a:gd name="T3" fmla="*/ 24 h 48"/>
                <a:gd name="T4" fmla="*/ 158 w 182"/>
                <a:gd name="T5" fmla="*/ 48 h 48"/>
                <a:gd name="T6" fmla="*/ 24 w 182"/>
                <a:gd name="T7" fmla="*/ 48 h 48"/>
                <a:gd name="T8" fmla="*/ 0 w 182"/>
                <a:gd name="T9" fmla="*/ 24 h 48"/>
                <a:gd name="T10" fmla="*/ 24 w 182"/>
                <a:gd name="T11" fmla="*/ 0 h 48"/>
                <a:gd name="T12" fmla="*/ 158 w 182"/>
                <a:gd name="T13" fmla="*/ 0 h 48"/>
                <a:gd name="T14" fmla="*/ 158 w 182"/>
                <a:gd name="T15" fmla="*/ 0 h 48"/>
                <a:gd name="T16" fmla="*/ 158 w 182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2" h="48">
                  <a:moveTo>
                    <a:pt x="158" y="0"/>
                  </a:moveTo>
                  <a:cubicBezTo>
                    <a:pt x="172" y="0"/>
                    <a:pt x="182" y="11"/>
                    <a:pt x="182" y="24"/>
                  </a:cubicBezTo>
                  <a:cubicBezTo>
                    <a:pt x="182" y="38"/>
                    <a:pt x="172" y="48"/>
                    <a:pt x="158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lnTo>
                    <a:pt x="158" y="0"/>
                  </a:lnTo>
                  <a:close/>
                  <a:moveTo>
                    <a:pt x="158" y="0"/>
                  </a:moveTo>
                  <a:cubicBezTo>
                    <a:pt x="158" y="0"/>
                    <a:pt x="158" y="0"/>
                    <a:pt x="15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C276894-BD45-4AEA-A96B-3F43FDBE68DE}"/>
              </a:ext>
            </a:extLst>
          </p:cNvPr>
          <p:cNvGrpSpPr/>
          <p:nvPr/>
        </p:nvGrpSpPr>
        <p:grpSpPr>
          <a:xfrm>
            <a:off x="7648263" y="4310357"/>
            <a:ext cx="871306" cy="871307"/>
            <a:chOff x="7301411" y="5852965"/>
            <a:chExt cx="871306" cy="871307"/>
          </a:xfrm>
        </p:grpSpPr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C25EFB4A-37C8-4898-A812-5908B96A905E}"/>
                </a:ext>
              </a:extLst>
            </p:cNvPr>
            <p:cNvSpPr/>
            <p:nvPr/>
          </p:nvSpPr>
          <p:spPr>
            <a:xfrm rot="10800000" flipH="1" flipV="1">
              <a:off x="7301411" y="5852965"/>
              <a:ext cx="871306" cy="8713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14300" dist="114300" dir="4800000" algn="tl" rotWithShape="0">
                <a:prstClr val="black">
                  <a:alpha val="2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 dirty="0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D7424AF-5E1D-4533-BCB7-2C104016C3A7}"/>
                </a:ext>
              </a:extLst>
            </p:cNvPr>
            <p:cNvGrpSpPr/>
            <p:nvPr/>
          </p:nvGrpSpPr>
          <p:grpSpPr>
            <a:xfrm>
              <a:off x="7591351" y="6055271"/>
              <a:ext cx="292442" cy="453182"/>
              <a:chOff x="8067067" y="4842026"/>
              <a:chExt cx="292442" cy="453182"/>
            </a:xfrm>
          </p:grpSpPr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8213F609-42A1-42B5-B8D4-552548173B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2003" y="4965423"/>
                <a:ext cx="27432" cy="225977"/>
              </a:xfrm>
              <a:prstGeom prst="rect">
                <a:avLst/>
              </a:prstGeom>
              <a:solidFill>
                <a:srgbClr val="00206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E6E1EA3E-52D9-4779-87DE-F8ECE501EF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36073" y="5012325"/>
                <a:ext cx="19949" cy="186462"/>
              </a:xfrm>
              <a:prstGeom prst="rect">
                <a:avLst/>
              </a:prstGeom>
              <a:solidFill>
                <a:srgbClr val="00206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4C9D9A4D-B120-48BE-A83D-460B43BEB4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6829" y="5069279"/>
                <a:ext cx="19949" cy="124955"/>
              </a:xfrm>
              <a:prstGeom prst="rect">
                <a:avLst/>
              </a:prstGeom>
              <a:solidFill>
                <a:srgbClr val="00206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E62B2FA1-AC64-47AB-A8B7-5FE157F06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17113" y="5126745"/>
                <a:ext cx="19949" cy="62893"/>
              </a:xfrm>
              <a:prstGeom prst="rect">
                <a:avLst/>
              </a:prstGeom>
              <a:solidFill>
                <a:srgbClr val="00206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5" name="Freeform 47">
                <a:extLst>
                  <a:ext uri="{FF2B5EF4-FFF2-40B4-BE49-F238E27FC236}">
                    <a16:creationId xmlns:a16="http://schemas.microsoft.com/office/drawing/2014/main" id="{9A003183-3324-473A-AF67-474AA452E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8465" y="4853356"/>
                <a:ext cx="275212" cy="70338"/>
              </a:xfrm>
              <a:custGeom>
                <a:avLst/>
                <a:gdLst>
                  <a:gd name="T0" fmla="*/ 0 w 858"/>
                  <a:gd name="T1" fmla="*/ 220 h 220"/>
                  <a:gd name="T2" fmla="*/ 0 w 858"/>
                  <a:gd name="T3" fmla="*/ 66 h 220"/>
                  <a:gd name="T4" fmla="*/ 104 w 858"/>
                  <a:gd name="T5" fmla="*/ 0 h 220"/>
                  <a:gd name="T6" fmla="*/ 760 w 858"/>
                  <a:gd name="T7" fmla="*/ 0 h 220"/>
                  <a:gd name="T8" fmla="*/ 858 w 858"/>
                  <a:gd name="T9" fmla="*/ 91 h 220"/>
                  <a:gd name="T10" fmla="*/ 858 w 858"/>
                  <a:gd name="T11" fmla="*/ 220 h 220"/>
                  <a:gd name="T12" fmla="*/ 0 w 858"/>
                  <a:gd name="T13" fmla="*/ 22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8" h="220">
                    <a:moveTo>
                      <a:pt x="0" y="220"/>
                    </a:moveTo>
                    <a:cubicBezTo>
                      <a:pt x="0" y="66"/>
                      <a:pt x="0" y="66"/>
                      <a:pt x="0" y="66"/>
                    </a:cubicBezTo>
                    <a:cubicBezTo>
                      <a:pt x="0" y="66"/>
                      <a:pt x="16" y="8"/>
                      <a:pt x="104" y="0"/>
                    </a:cubicBezTo>
                    <a:cubicBezTo>
                      <a:pt x="760" y="0"/>
                      <a:pt x="760" y="0"/>
                      <a:pt x="760" y="0"/>
                    </a:cubicBezTo>
                    <a:cubicBezTo>
                      <a:pt x="760" y="0"/>
                      <a:pt x="852" y="12"/>
                      <a:pt x="858" y="91"/>
                    </a:cubicBezTo>
                    <a:cubicBezTo>
                      <a:pt x="858" y="220"/>
                      <a:pt x="858" y="220"/>
                      <a:pt x="858" y="220"/>
                    </a:cubicBezTo>
                    <a:lnTo>
                      <a:pt x="0" y="22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6" name="Freeform 48">
                <a:extLst>
                  <a:ext uri="{FF2B5EF4-FFF2-40B4-BE49-F238E27FC236}">
                    <a16:creationId xmlns:a16="http://schemas.microsoft.com/office/drawing/2014/main" id="{9FD8AC41-F40A-49C9-B2E1-63A800EFE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7521" y="5224162"/>
                <a:ext cx="275212" cy="71046"/>
              </a:xfrm>
              <a:custGeom>
                <a:avLst/>
                <a:gdLst>
                  <a:gd name="T0" fmla="*/ 0 w 858"/>
                  <a:gd name="T1" fmla="*/ 0 h 222"/>
                  <a:gd name="T2" fmla="*/ 858 w 858"/>
                  <a:gd name="T3" fmla="*/ 0 h 222"/>
                  <a:gd name="T4" fmla="*/ 858 w 858"/>
                  <a:gd name="T5" fmla="*/ 152 h 222"/>
                  <a:gd name="T6" fmla="*/ 781 w 858"/>
                  <a:gd name="T7" fmla="*/ 222 h 222"/>
                  <a:gd name="T8" fmla="*/ 102 w 858"/>
                  <a:gd name="T9" fmla="*/ 222 h 222"/>
                  <a:gd name="T10" fmla="*/ 0 w 858"/>
                  <a:gd name="T11" fmla="*/ 130 h 222"/>
                  <a:gd name="T12" fmla="*/ 0 w 858"/>
                  <a:gd name="T13" fmla="*/ 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8" h="222">
                    <a:moveTo>
                      <a:pt x="0" y="0"/>
                    </a:moveTo>
                    <a:cubicBezTo>
                      <a:pt x="858" y="0"/>
                      <a:pt x="858" y="0"/>
                      <a:pt x="858" y="0"/>
                    </a:cubicBezTo>
                    <a:cubicBezTo>
                      <a:pt x="858" y="152"/>
                      <a:pt x="858" y="152"/>
                      <a:pt x="858" y="152"/>
                    </a:cubicBezTo>
                    <a:cubicBezTo>
                      <a:pt x="858" y="152"/>
                      <a:pt x="841" y="217"/>
                      <a:pt x="781" y="222"/>
                    </a:cubicBezTo>
                    <a:cubicBezTo>
                      <a:pt x="102" y="222"/>
                      <a:pt x="102" y="222"/>
                      <a:pt x="102" y="222"/>
                    </a:cubicBezTo>
                    <a:cubicBezTo>
                      <a:pt x="102" y="222"/>
                      <a:pt x="14" y="208"/>
                      <a:pt x="0" y="13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7" name="Freeform 49">
                <a:extLst>
                  <a:ext uri="{FF2B5EF4-FFF2-40B4-BE49-F238E27FC236}">
                    <a16:creationId xmlns:a16="http://schemas.microsoft.com/office/drawing/2014/main" id="{2DE34C65-677E-4292-A65F-80EE723BA1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67067" y="4842026"/>
                <a:ext cx="292442" cy="453182"/>
              </a:xfrm>
              <a:custGeom>
                <a:avLst/>
                <a:gdLst>
                  <a:gd name="T0" fmla="*/ 912 w 912"/>
                  <a:gd name="T1" fmla="*/ 120 h 1418"/>
                  <a:gd name="T2" fmla="*/ 912 w 912"/>
                  <a:gd name="T3" fmla="*/ 1298 h 1418"/>
                  <a:gd name="T4" fmla="*/ 792 w 912"/>
                  <a:gd name="T5" fmla="*/ 1418 h 1418"/>
                  <a:gd name="T6" fmla="*/ 120 w 912"/>
                  <a:gd name="T7" fmla="*/ 1418 h 1418"/>
                  <a:gd name="T8" fmla="*/ 0 w 912"/>
                  <a:gd name="T9" fmla="*/ 1298 h 1418"/>
                  <a:gd name="T10" fmla="*/ 0 w 912"/>
                  <a:gd name="T11" fmla="*/ 120 h 1418"/>
                  <a:gd name="T12" fmla="*/ 120 w 912"/>
                  <a:gd name="T13" fmla="*/ 0 h 1418"/>
                  <a:gd name="T14" fmla="*/ 792 w 912"/>
                  <a:gd name="T15" fmla="*/ 0 h 1418"/>
                  <a:gd name="T16" fmla="*/ 912 w 912"/>
                  <a:gd name="T17" fmla="*/ 120 h 1418"/>
                  <a:gd name="T18" fmla="*/ 864 w 912"/>
                  <a:gd name="T19" fmla="*/ 1298 h 1418"/>
                  <a:gd name="T20" fmla="*/ 864 w 912"/>
                  <a:gd name="T21" fmla="*/ 1200 h 1418"/>
                  <a:gd name="T22" fmla="*/ 48 w 912"/>
                  <a:gd name="T23" fmla="*/ 1200 h 1418"/>
                  <a:gd name="T24" fmla="*/ 48 w 912"/>
                  <a:gd name="T25" fmla="*/ 1298 h 1418"/>
                  <a:gd name="T26" fmla="*/ 120 w 912"/>
                  <a:gd name="T27" fmla="*/ 1370 h 1418"/>
                  <a:gd name="T28" fmla="*/ 792 w 912"/>
                  <a:gd name="T29" fmla="*/ 1370 h 1418"/>
                  <a:gd name="T30" fmla="*/ 864 w 912"/>
                  <a:gd name="T31" fmla="*/ 1298 h 1418"/>
                  <a:gd name="T32" fmla="*/ 864 w 912"/>
                  <a:gd name="T33" fmla="*/ 1152 h 1418"/>
                  <a:gd name="T34" fmla="*/ 864 w 912"/>
                  <a:gd name="T35" fmla="*/ 266 h 1418"/>
                  <a:gd name="T36" fmla="*/ 48 w 912"/>
                  <a:gd name="T37" fmla="*/ 266 h 1418"/>
                  <a:gd name="T38" fmla="*/ 48 w 912"/>
                  <a:gd name="T39" fmla="*/ 1152 h 1418"/>
                  <a:gd name="T40" fmla="*/ 864 w 912"/>
                  <a:gd name="T41" fmla="*/ 1152 h 1418"/>
                  <a:gd name="T42" fmla="*/ 864 w 912"/>
                  <a:gd name="T43" fmla="*/ 218 h 1418"/>
                  <a:gd name="T44" fmla="*/ 864 w 912"/>
                  <a:gd name="T45" fmla="*/ 120 h 1418"/>
                  <a:gd name="T46" fmla="*/ 792 w 912"/>
                  <a:gd name="T47" fmla="*/ 48 h 1418"/>
                  <a:gd name="T48" fmla="*/ 120 w 912"/>
                  <a:gd name="T49" fmla="*/ 48 h 1418"/>
                  <a:gd name="T50" fmla="*/ 48 w 912"/>
                  <a:gd name="T51" fmla="*/ 120 h 1418"/>
                  <a:gd name="T52" fmla="*/ 48 w 912"/>
                  <a:gd name="T53" fmla="*/ 218 h 1418"/>
                  <a:gd name="T54" fmla="*/ 864 w 912"/>
                  <a:gd name="T55" fmla="*/ 218 h 1418"/>
                  <a:gd name="T56" fmla="*/ 864 w 912"/>
                  <a:gd name="T57" fmla="*/ 218 h 1418"/>
                  <a:gd name="T58" fmla="*/ 864 w 912"/>
                  <a:gd name="T59" fmla="*/ 218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12" h="1418">
                    <a:moveTo>
                      <a:pt x="912" y="120"/>
                    </a:moveTo>
                    <a:cubicBezTo>
                      <a:pt x="912" y="1298"/>
                      <a:pt x="912" y="1298"/>
                      <a:pt x="912" y="1298"/>
                    </a:cubicBezTo>
                    <a:cubicBezTo>
                      <a:pt x="912" y="1364"/>
                      <a:pt x="858" y="1418"/>
                      <a:pt x="792" y="1418"/>
                    </a:cubicBezTo>
                    <a:cubicBezTo>
                      <a:pt x="120" y="1418"/>
                      <a:pt x="120" y="1418"/>
                      <a:pt x="120" y="1418"/>
                    </a:cubicBezTo>
                    <a:cubicBezTo>
                      <a:pt x="54" y="1418"/>
                      <a:pt x="0" y="1364"/>
                      <a:pt x="0" y="129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54"/>
                      <a:pt x="54" y="0"/>
                      <a:pt x="120" y="0"/>
                    </a:cubicBezTo>
                    <a:cubicBezTo>
                      <a:pt x="792" y="0"/>
                      <a:pt x="792" y="0"/>
                      <a:pt x="792" y="0"/>
                    </a:cubicBezTo>
                    <a:cubicBezTo>
                      <a:pt x="858" y="0"/>
                      <a:pt x="912" y="54"/>
                      <a:pt x="912" y="120"/>
                    </a:cubicBezTo>
                    <a:close/>
                    <a:moveTo>
                      <a:pt x="864" y="1298"/>
                    </a:moveTo>
                    <a:cubicBezTo>
                      <a:pt x="864" y="1200"/>
                      <a:pt x="864" y="1200"/>
                      <a:pt x="864" y="1200"/>
                    </a:cubicBezTo>
                    <a:cubicBezTo>
                      <a:pt x="48" y="1200"/>
                      <a:pt x="48" y="1200"/>
                      <a:pt x="48" y="1200"/>
                    </a:cubicBezTo>
                    <a:cubicBezTo>
                      <a:pt x="48" y="1298"/>
                      <a:pt x="48" y="1298"/>
                      <a:pt x="48" y="1298"/>
                    </a:cubicBezTo>
                    <a:cubicBezTo>
                      <a:pt x="48" y="1338"/>
                      <a:pt x="80" y="1370"/>
                      <a:pt x="120" y="1370"/>
                    </a:cubicBezTo>
                    <a:cubicBezTo>
                      <a:pt x="792" y="1370"/>
                      <a:pt x="792" y="1370"/>
                      <a:pt x="792" y="1370"/>
                    </a:cubicBezTo>
                    <a:cubicBezTo>
                      <a:pt x="832" y="1370"/>
                      <a:pt x="864" y="1338"/>
                      <a:pt x="864" y="1298"/>
                    </a:cubicBezTo>
                    <a:close/>
                    <a:moveTo>
                      <a:pt x="864" y="1152"/>
                    </a:moveTo>
                    <a:cubicBezTo>
                      <a:pt x="864" y="266"/>
                      <a:pt x="864" y="266"/>
                      <a:pt x="864" y="266"/>
                    </a:cubicBezTo>
                    <a:cubicBezTo>
                      <a:pt x="48" y="266"/>
                      <a:pt x="48" y="266"/>
                      <a:pt x="48" y="266"/>
                    </a:cubicBezTo>
                    <a:cubicBezTo>
                      <a:pt x="48" y="1152"/>
                      <a:pt x="48" y="1152"/>
                      <a:pt x="48" y="1152"/>
                    </a:cubicBezTo>
                    <a:lnTo>
                      <a:pt x="864" y="1152"/>
                    </a:lnTo>
                    <a:close/>
                    <a:moveTo>
                      <a:pt x="864" y="218"/>
                    </a:moveTo>
                    <a:cubicBezTo>
                      <a:pt x="864" y="120"/>
                      <a:pt x="864" y="120"/>
                      <a:pt x="864" y="120"/>
                    </a:cubicBezTo>
                    <a:cubicBezTo>
                      <a:pt x="864" y="80"/>
                      <a:pt x="832" y="48"/>
                      <a:pt x="792" y="48"/>
                    </a:cubicBezTo>
                    <a:cubicBezTo>
                      <a:pt x="120" y="48"/>
                      <a:pt x="120" y="48"/>
                      <a:pt x="120" y="48"/>
                    </a:cubicBezTo>
                    <a:cubicBezTo>
                      <a:pt x="80" y="48"/>
                      <a:pt x="48" y="80"/>
                      <a:pt x="48" y="120"/>
                    </a:cubicBezTo>
                    <a:cubicBezTo>
                      <a:pt x="48" y="218"/>
                      <a:pt x="48" y="218"/>
                      <a:pt x="48" y="218"/>
                    </a:cubicBezTo>
                    <a:lnTo>
                      <a:pt x="864" y="218"/>
                    </a:lnTo>
                    <a:close/>
                    <a:moveTo>
                      <a:pt x="864" y="218"/>
                    </a:moveTo>
                    <a:cubicBezTo>
                      <a:pt x="864" y="218"/>
                      <a:pt x="864" y="218"/>
                      <a:pt x="864" y="218"/>
                    </a:cubicBezTo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8" name="Freeform 50">
                <a:extLst>
                  <a:ext uri="{FF2B5EF4-FFF2-40B4-BE49-F238E27FC236}">
                    <a16:creationId xmlns:a16="http://schemas.microsoft.com/office/drawing/2014/main" id="{E17A5CAC-26E8-4D3A-AD69-E5E80A394F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81924" y="4958154"/>
                <a:ext cx="47678" cy="242169"/>
              </a:xfrm>
              <a:custGeom>
                <a:avLst/>
                <a:gdLst>
                  <a:gd name="T0" fmla="*/ 149 w 149"/>
                  <a:gd name="T1" fmla="*/ 24 h 758"/>
                  <a:gd name="T2" fmla="*/ 149 w 149"/>
                  <a:gd name="T3" fmla="*/ 734 h 758"/>
                  <a:gd name="T4" fmla="*/ 125 w 149"/>
                  <a:gd name="T5" fmla="*/ 758 h 758"/>
                  <a:gd name="T6" fmla="*/ 24 w 149"/>
                  <a:gd name="T7" fmla="*/ 758 h 758"/>
                  <a:gd name="T8" fmla="*/ 0 w 149"/>
                  <a:gd name="T9" fmla="*/ 734 h 758"/>
                  <a:gd name="T10" fmla="*/ 0 w 149"/>
                  <a:gd name="T11" fmla="*/ 24 h 758"/>
                  <a:gd name="T12" fmla="*/ 24 w 149"/>
                  <a:gd name="T13" fmla="*/ 0 h 758"/>
                  <a:gd name="T14" fmla="*/ 125 w 149"/>
                  <a:gd name="T15" fmla="*/ 0 h 758"/>
                  <a:gd name="T16" fmla="*/ 149 w 149"/>
                  <a:gd name="T17" fmla="*/ 24 h 758"/>
                  <a:gd name="T18" fmla="*/ 101 w 149"/>
                  <a:gd name="T19" fmla="*/ 710 h 758"/>
                  <a:gd name="T20" fmla="*/ 101 w 149"/>
                  <a:gd name="T21" fmla="*/ 48 h 758"/>
                  <a:gd name="T22" fmla="*/ 48 w 149"/>
                  <a:gd name="T23" fmla="*/ 48 h 758"/>
                  <a:gd name="T24" fmla="*/ 48 w 149"/>
                  <a:gd name="T25" fmla="*/ 710 h 758"/>
                  <a:gd name="T26" fmla="*/ 101 w 149"/>
                  <a:gd name="T27" fmla="*/ 710 h 758"/>
                  <a:gd name="T28" fmla="*/ 101 w 149"/>
                  <a:gd name="T29" fmla="*/ 710 h 758"/>
                  <a:gd name="T30" fmla="*/ 101 w 149"/>
                  <a:gd name="T31" fmla="*/ 710 h 7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758">
                    <a:moveTo>
                      <a:pt x="149" y="24"/>
                    </a:moveTo>
                    <a:cubicBezTo>
                      <a:pt x="149" y="734"/>
                      <a:pt x="149" y="734"/>
                      <a:pt x="149" y="734"/>
                    </a:cubicBezTo>
                    <a:cubicBezTo>
                      <a:pt x="149" y="747"/>
                      <a:pt x="138" y="758"/>
                      <a:pt x="125" y="758"/>
                    </a:cubicBezTo>
                    <a:cubicBezTo>
                      <a:pt x="24" y="758"/>
                      <a:pt x="24" y="758"/>
                      <a:pt x="24" y="758"/>
                    </a:cubicBezTo>
                    <a:cubicBezTo>
                      <a:pt x="11" y="758"/>
                      <a:pt x="0" y="747"/>
                      <a:pt x="0" y="73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710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710"/>
                      <a:pt x="48" y="710"/>
                      <a:pt x="48" y="710"/>
                    </a:cubicBezTo>
                    <a:lnTo>
                      <a:pt x="101" y="710"/>
                    </a:lnTo>
                    <a:close/>
                    <a:moveTo>
                      <a:pt x="101" y="710"/>
                    </a:moveTo>
                    <a:cubicBezTo>
                      <a:pt x="101" y="710"/>
                      <a:pt x="101" y="710"/>
                      <a:pt x="101" y="710"/>
                    </a:cubicBezTo>
                  </a:path>
                </a:pathLst>
              </a:custGeom>
              <a:solidFill>
                <a:srgbClr val="00206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89" name="Freeform 52">
                <a:extLst>
                  <a:ext uri="{FF2B5EF4-FFF2-40B4-BE49-F238E27FC236}">
                    <a16:creationId xmlns:a16="http://schemas.microsoft.com/office/drawing/2014/main" id="{60CB00CB-EF59-4B44-B41C-F0CB054976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22208" y="5010789"/>
                <a:ext cx="47678" cy="189534"/>
              </a:xfrm>
              <a:custGeom>
                <a:avLst/>
                <a:gdLst>
                  <a:gd name="T0" fmla="*/ 149 w 149"/>
                  <a:gd name="T1" fmla="*/ 24 h 593"/>
                  <a:gd name="T2" fmla="*/ 149 w 149"/>
                  <a:gd name="T3" fmla="*/ 569 h 593"/>
                  <a:gd name="T4" fmla="*/ 125 w 149"/>
                  <a:gd name="T5" fmla="*/ 593 h 593"/>
                  <a:gd name="T6" fmla="*/ 24 w 149"/>
                  <a:gd name="T7" fmla="*/ 593 h 593"/>
                  <a:gd name="T8" fmla="*/ 0 w 149"/>
                  <a:gd name="T9" fmla="*/ 569 h 593"/>
                  <a:gd name="T10" fmla="*/ 0 w 149"/>
                  <a:gd name="T11" fmla="*/ 24 h 593"/>
                  <a:gd name="T12" fmla="*/ 24 w 149"/>
                  <a:gd name="T13" fmla="*/ 0 h 593"/>
                  <a:gd name="T14" fmla="*/ 125 w 149"/>
                  <a:gd name="T15" fmla="*/ 0 h 593"/>
                  <a:gd name="T16" fmla="*/ 149 w 149"/>
                  <a:gd name="T17" fmla="*/ 24 h 593"/>
                  <a:gd name="T18" fmla="*/ 101 w 149"/>
                  <a:gd name="T19" fmla="*/ 545 h 593"/>
                  <a:gd name="T20" fmla="*/ 101 w 149"/>
                  <a:gd name="T21" fmla="*/ 48 h 593"/>
                  <a:gd name="T22" fmla="*/ 48 w 149"/>
                  <a:gd name="T23" fmla="*/ 48 h 593"/>
                  <a:gd name="T24" fmla="*/ 48 w 149"/>
                  <a:gd name="T25" fmla="*/ 545 h 593"/>
                  <a:gd name="T26" fmla="*/ 101 w 149"/>
                  <a:gd name="T27" fmla="*/ 545 h 593"/>
                  <a:gd name="T28" fmla="*/ 101 w 149"/>
                  <a:gd name="T29" fmla="*/ 545 h 593"/>
                  <a:gd name="T30" fmla="*/ 101 w 149"/>
                  <a:gd name="T31" fmla="*/ 545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593">
                    <a:moveTo>
                      <a:pt x="149" y="24"/>
                    </a:moveTo>
                    <a:cubicBezTo>
                      <a:pt x="149" y="569"/>
                      <a:pt x="149" y="569"/>
                      <a:pt x="149" y="569"/>
                    </a:cubicBezTo>
                    <a:cubicBezTo>
                      <a:pt x="149" y="582"/>
                      <a:pt x="138" y="593"/>
                      <a:pt x="125" y="593"/>
                    </a:cubicBezTo>
                    <a:cubicBezTo>
                      <a:pt x="24" y="593"/>
                      <a:pt x="24" y="593"/>
                      <a:pt x="24" y="593"/>
                    </a:cubicBezTo>
                    <a:cubicBezTo>
                      <a:pt x="11" y="593"/>
                      <a:pt x="0" y="582"/>
                      <a:pt x="0" y="56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0"/>
                      <a:pt x="149" y="24"/>
                    </a:cubicBezTo>
                    <a:close/>
                    <a:moveTo>
                      <a:pt x="101" y="545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545"/>
                      <a:pt x="48" y="545"/>
                      <a:pt x="48" y="545"/>
                    </a:cubicBezTo>
                    <a:lnTo>
                      <a:pt x="101" y="545"/>
                    </a:lnTo>
                    <a:close/>
                    <a:moveTo>
                      <a:pt x="101" y="545"/>
                    </a:moveTo>
                    <a:cubicBezTo>
                      <a:pt x="101" y="545"/>
                      <a:pt x="101" y="545"/>
                      <a:pt x="101" y="545"/>
                    </a:cubicBezTo>
                  </a:path>
                </a:pathLst>
              </a:custGeom>
              <a:solidFill>
                <a:srgbClr val="00206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90" name="Freeform 53">
                <a:extLst>
                  <a:ext uri="{FF2B5EF4-FFF2-40B4-BE49-F238E27FC236}">
                    <a16:creationId xmlns:a16="http://schemas.microsoft.com/office/drawing/2014/main" id="{12C0D89F-44CA-4062-B111-98841E16E1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75946" y="4882388"/>
                <a:ext cx="80959" cy="15342"/>
              </a:xfrm>
              <a:custGeom>
                <a:avLst/>
                <a:gdLst>
                  <a:gd name="T0" fmla="*/ 228 w 252"/>
                  <a:gd name="T1" fmla="*/ 0 h 48"/>
                  <a:gd name="T2" fmla="*/ 252 w 252"/>
                  <a:gd name="T3" fmla="*/ 24 h 48"/>
                  <a:gd name="T4" fmla="*/ 228 w 252"/>
                  <a:gd name="T5" fmla="*/ 48 h 48"/>
                  <a:gd name="T6" fmla="*/ 24 w 252"/>
                  <a:gd name="T7" fmla="*/ 48 h 48"/>
                  <a:gd name="T8" fmla="*/ 0 w 252"/>
                  <a:gd name="T9" fmla="*/ 24 h 48"/>
                  <a:gd name="T10" fmla="*/ 24 w 252"/>
                  <a:gd name="T11" fmla="*/ 0 h 48"/>
                  <a:gd name="T12" fmla="*/ 228 w 252"/>
                  <a:gd name="T13" fmla="*/ 0 h 48"/>
                  <a:gd name="T14" fmla="*/ 228 w 252"/>
                  <a:gd name="T15" fmla="*/ 0 h 48"/>
                  <a:gd name="T16" fmla="*/ 228 w 252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2" h="48">
                    <a:moveTo>
                      <a:pt x="228" y="0"/>
                    </a:moveTo>
                    <a:cubicBezTo>
                      <a:pt x="242" y="0"/>
                      <a:pt x="252" y="11"/>
                      <a:pt x="252" y="24"/>
                    </a:cubicBezTo>
                    <a:cubicBezTo>
                      <a:pt x="252" y="37"/>
                      <a:pt x="242" y="48"/>
                      <a:pt x="228" y="48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10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lnTo>
                      <a:pt x="228" y="0"/>
                    </a:lnTo>
                    <a:close/>
                    <a:moveTo>
                      <a:pt x="228" y="0"/>
                    </a:moveTo>
                    <a:cubicBezTo>
                      <a:pt x="228" y="0"/>
                      <a:pt x="228" y="0"/>
                      <a:pt x="228" y="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  <p:sp>
            <p:nvSpPr>
              <p:cNvPr id="191" name="Freeform 55">
                <a:extLst>
                  <a:ext uri="{FF2B5EF4-FFF2-40B4-BE49-F238E27FC236}">
                    <a16:creationId xmlns:a16="http://schemas.microsoft.com/office/drawing/2014/main" id="{0142116F-4CE4-4571-A41D-A79DD17840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64922" y="5063188"/>
                <a:ext cx="45719" cy="137135"/>
              </a:xfrm>
              <a:custGeom>
                <a:avLst/>
                <a:gdLst>
                  <a:gd name="T0" fmla="*/ 149 w 149"/>
                  <a:gd name="T1" fmla="*/ 24 h 429"/>
                  <a:gd name="T2" fmla="*/ 149 w 149"/>
                  <a:gd name="T3" fmla="*/ 405 h 429"/>
                  <a:gd name="T4" fmla="*/ 125 w 149"/>
                  <a:gd name="T5" fmla="*/ 429 h 429"/>
                  <a:gd name="T6" fmla="*/ 24 w 149"/>
                  <a:gd name="T7" fmla="*/ 429 h 429"/>
                  <a:gd name="T8" fmla="*/ 0 w 149"/>
                  <a:gd name="T9" fmla="*/ 405 h 429"/>
                  <a:gd name="T10" fmla="*/ 0 w 149"/>
                  <a:gd name="T11" fmla="*/ 24 h 429"/>
                  <a:gd name="T12" fmla="*/ 24 w 149"/>
                  <a:gd name="T13" fmla="*/ 0 h 429"/>
                  <a:gd name="T14" fmla="*/ 125 w 149"/>
                  <a:gd name="T15" fmla="*/ 0 h 429"/>
                  <a:gd name="T16" fmla="*/ 149 w 149"/>
                  <a:gd name="T17" fmla="*/ 24 h 429"/>
                  <a:gd name="T18" fmla="*/ 101 w 149"/>
                  <a:gd name="T19" fmla="*/ 381 h 429"/>
                  <a:gd name="T20" fmla="*/ 101 w 149"/>
                  <a:gd name="T21" fmla="*/ 48 h 429"/>
                  <a:gd name="T22" fmla="*/ 48 w 149"/>
                  <a:gd name="T23" fmla="*/ 48 h 429"/>
                  <a:gd name="T24" fmla="*/ 48 w 149"/>
                  <a:gd name="T25" fmla="*/ 381 h 429"/>
                  <a:gd name="T26" fmla="*/ 101 w 149"/>
                  <a:gd name="T27" fmla="*/ 381 h 429"/>
                  <a:gd name="T28" fmla="*/ 101 w 149"/>
                  <a:gd name="T29" fmla="*/ 381 h 429"/>
                  <a:gd name="T30" fmla="*/ 101 w 149"/>
                  <a:gd name="T31" fmla="*/ 381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429">
                    <a:moveTo>
                      <a:pt x="149" y="24"/>
                    </a:moveTo>
                    <a:cubicBezTo>
                      <a:pt x="149" y="405"/>
                      <a:pt x="149" y="405"/>
                      <a:pt x="149" y="405"/>
                    </a:cubicBezTo>
                    <a:cubicBezTo>
                      <a:pt x="149" y="418"/>
                      <a:pt x="138" y="429"/>
                      <a:pt x="125" y="429"/>
                    </a:cubicBezTo>
                    <a:cubicBezTo>
                      <a:pt x="24" y="429"/>
                      <a:pt x="24" y="429"/>
                      <a:pt x="24" y="429"/>
                    </a:cubicBezTo>
                    <a:cubicBezTo>
                      <a:pt x="11" y="429"/>
                      <a:pt x="0" y="418"/>
                      <a:pt x="0" y="405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381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381"/>
                      <a:pt x="48" y="381"/>
                      <a:pt x="48" y="381"/>
                    </a:cubicBezTo>
                    <a:lnTo>
                      <a:pt x="101" y="381"/>
                    </a:lnTo>
                    <a:close/>
                    <a:moveTo>
                      <a:pt x="101" y="381"/>
                    </a:moveTo>
                    <a:cubicBezTo>
                      <a:pt x="101" y="381"/>
                      <a:pt x="101" y="381"/>
                      <a:pt x="101" y="381"/>
                    </a:cubicBezTo>
                  </a:path>
                </a:pathLst>
              </a:custGeom>
              <a:solidFill>
                <a:srgbClr val="00206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 dirty="0"/>
              </a:p>
            </p:txBody>
          </p:sp>
          <p:sp>
            <p:nvSpPr>
              <p:cNvPr id="192" name="Freeform 57">
                <a:extLst>
                  <a:ext uri="{FF2B5EF4-FFF2-40B4-BE49-F238E27FC236}">
                    <a16:creationId xmlns:a16="http://schemas.microsoft.com/office/drawing/2014/main" id="{B6AE89D4-577A-466F-B837-720F6AC766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03248" y="5116060"/>
                <a:ext cx="47678" cy="84263"/>
              </a:xfrm>
              <a:custGeom>
                <a:avLst/>
                <a:gdLst>
                  <a:gd name="T0" fmla="*/ 149 w 149"/>
                  <a:gd name="T1" fmla="*/ 24 h 264"/>
                  <a:gd name="T2" fmla="*/ 149 w 149"/>
                  <a:gd name="T3" fmla="*/ 240 h 264"/>
                  <a:gd name="T4" fmla="*/ 125 w 149"/>
                  <a:gd name="T5" fmla="*/ 264 h 264"/>
                  <a:gd name="T6" fmla="*/ 24 w 149"/>
                  <a:gd name="T7" fmla="*/ 264 h 264"/>
                  <a:gd name="T8" fmla="*/ 0 w 149"/>
                  <a:gd name="T9" fmla="*/ 240 h 264"/>
                  <a:gd name="T10" fmla="*/ 0 w 149"/>
                  <a:gd name="T11" fmla="*/ 24 h 264"/>
                  <a:gd name="T12" fmla="*/ 24 w 149"/>
                  <a:gd name="T13" fmla="*/ 0 h 264"/>
                  <a:gd name="T14" fmla="*/ 125 w 149"/>
                  <a:gd name="T15" fmla="*/ 0 h 264"/>
                  <a:gd name="T16" fmla="*/ 149 w 149"/>
                  <a:gd name="T17" fmla="*/ 24 h 264"/>
                  <a:gd name="T18" fmla="*/ 101 w 149"/>
                  <a:gd name="T19" fmla="*/ 216 h 264"/>
                  <a:gd name="T20" fmla="*/ 101 w 149"/>
                  <a:gd name="T21" fmla="*/ 48 h 264"/>
                  <a:gd name="T22" fmla="*/ 48 w 149"/>
                  <a:gd name="T23" fmla="*/ 48 h 264"/>
                  <a:gd name="T24" fmla="*/ 48 w 149"/>
                  <a:gd name="T25" fmla="*/ 216 h 264"/>
                  <a:gd name="T26" fmla="*/ 101 w 149"/>
                  <a:gd name="T27" fmla="*/ 216 h 264"/>
                  <a:gd name="T28" fmla="*/ 101 w 149"/>
                  <a:gd name="T29" fmla="*/ 216 h 264"/>
                  <a:gd name="T30" fmla="*/ 101 w 149"/>
                  <a:gd name="T31" fmla="*/ 216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264">
                    <a:moveTo>
                      <a:pt x="149" y="24"/>
                    </a:moveTo>
                    <a:cubicBezTo>
                      <a:pt x="149" y="240"/>
                      <a:pt x="149" y="240"/>
                      <a:pt x="149" y="240"/>
                    </a:cubicBezTo>
                    <a:cubicBezTo>
                      <a:pt x="149" y="253"/>
                      <a:pt x="138" y="264"/>
                      <a:pt x="125" y="264"/>
                    </a:cubicBezTo>
                    <a:cubicBezTo>
                      <a:pt x="24" y="264"/>
                      <a:pt x="24" y="264"/>
                      <a:pt x="24" y="264"/>
                    </a:cubicBezTo>
                    <a:cubicBezTo>
                      <a:pt x="11" y="264"/>
                      <a:pt x="0" y="253"/>
                      <a:pt x="0" y="24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216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216"/>
                      <a:pt x="48" y="216"/>
                      <a:pt x="48" y="216"/>
                    </a:cubicBezTo>
                    <a:lnTo>
                      <a:pt x="101" y="216"/>
                    </a:lnTo>
                    <a:close/>
                    <a:moveTo>
                      <a:pt x="101" y="216"/>
                    </a:moveTo>
                    <a:cubicBezTo>
                      <a:pt x="101" y="216"/>
                      <a:pt x="101" y="216"/>
                      <a:pt x="101" y="216"/>
                    </a:cubicBezTo>
                  </a:path>
                </a:pathLst>
              </a:custGeom>
              <a:solidFill>
                <a:srgbClr val="00206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/>
              </a:p>
            </p:txBody>
          </p:sp>
        </p:grpSp>
      </p:grpSp>
      <p:sp>
        <p:nvSpPr>
          <p:cNvPr id="175" name="Oval 174">
            <a:extLst>
              <a:ext uri="{FF2B5EF4-FFF2-40B4-BE49-F238E27FC236}">
                <a16:creationId xmlns:a16="http://schemas.microsoft.com/office/drawing/2014/main" id="{0496FDE3-2519-4B37-8B56-FCCA0E497DB3}"/>
              </a:ext>
            </a:extLst>
          </p:cNvPr>
          <p:cNvSpPr/>
          <p:nvPr/>
        </p:nvSpPr>
        <p:spPr>
          <a:xfrm flipH="1">
            <a:off x="7267329" y="1850490"/>
            <a:ext cx="871306" cy="87130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14300" dir="4800000" algn="tl" rotWithShape="0">
              <a:prstClr val="black">
                <a:alpha val="2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IN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3DC4FBE-52E5-4B45-BEEA-85833BE4A7BE}"/>
              </a:ext>
            </a:extLst>
          </p:cNvPr>
          <p:cNvGrpSpPr/>
          <p:nvPr/>
        </p:nvGrpSpPr>
        <p:grpSpPr>
          <a:xfrm>
            <a:off x="4019701" y="1840291"/>
            <a:ext cx="871306" cy="871307"/>
            <a:chOff x="4019701" y="1840291"/>
            <a:chExt cx="871306" cy="871307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62FE7440-D463-4977-AA2E-14AE6C7A3CC3}"/>
                </a:ext>
              </a:extLst>
            </p:cNvPr>
            <p:cNvSpPr/>
            <p:nvPr/>
          </p:nvSpPr>
          <p:spPr>
            <a:xfrm flipH="1">
              <a:off x="4019701" y="1840291"/>
              <a:ext cx="871306" cy="8713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14300" dist="114300" dir="4800000" algn="tl" rotWithShape="0">
                <a:prstClr val="black">
                  <a:alpha val="2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IN" sz="24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04A8A40C-0676-49F0-B9F8-9D146CE79EEE}"/>
                </a:ext>
              </a:extLst>
            </p:cNvPr>
            <p:cNvGrpSpPr/>
            <p:nvPr/>
          </p:nvGrpSpPr>
          <p:grpSpPr>
            <a:xfrm>
              <a:off x="4179001" y="2020277"/>
              <a:ext cx="580305" cy="501470"/>
              <a:chOff x="7086600" y="4859338"/>
              <a:chExt cx="531813" cy="531812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D23F960C-2EF4-4249-A09C-67FD1A088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325" y="4962525"/>
                <a:ext cx="407988" cy="26352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47495A30-F039-4B1C-821D-F1D956CD33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0100" y="4883150"/>
                <a:ext cx="25400" cy="396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0FCEE7E2-5D91-46BD-BB82-189485B501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88200" y="4883150"/>
                <a:ext cx="12700" cy="396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8F401C4B-A1EA-4E1F-8C9A-F7575F0050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29475" y="4883150"/>
                <a:ext cx="15875" cy="396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6" name="Freeform 294">
                <a:extLst>
                  <a:ext uri="{FF2B5EF4-FFF2-40B4-BE49-F238E27FC236}">
                    <a16:creationId xmlns:a16="http://schemas.microsoft.com/office/drawing/2014/main" id="{22BD2978-4B80-4CE8-9178-00CF635E2A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27875" y="4943475"/>
                <a:ext cx="474663" cy="336550"/>
              </a:xfrm>
              <a:custGeom>
                <a:avLst/>
                <a:gdLst>
                  <a:gd name="T0" fmla="*/ 0 w 899"/>
                  <a:gd name="T1" fmla="*/ 579 h 636"/>
                  <a:gd name="T2" fmla="*/ 50 w 899"/>
                  <a:gd name="T3" fmla="*/ 579 h 636"/>
                  <a:gd name="T4" fmla="*/ 50 w 899"/>
                  <a:gd name="T5" fmla="*/ 18 h 636"/>
                  <a:gd name="T6" fmla="*/ 50 w 899"/>
                  <a:gd name="T7" fmla="*/ 0 h 636"/>
                  <a:gd name="T8" fmla="*/ 66 w 899"/>
                  <a:gd name="T9" fmla="*/ 0 h 636"/>
                  <a:gd name="T10" fmla="*/ 879 w 899"/>
                  <a:gd name="T11" fmla="*/ 0 h 636"/>
                  <a:gd name="T12" fmla="*/ 895 w 899"/>
                  <a:gd name="T13" fmla="*/ 0 h 636"/>
                  <a:gd name="T14" fmla="*/ 895 w 899"/>
                  <a:gd name="T15" fmla="*/ 18 h 636"/>
                  <a:gd name="T16" fmla="*/ 895 w 899"/>
                  <a:gd name="T17" fmla="*/ 579 h 636"/>
                  <a:gd name="T18" fmla="*/ 899 w 899"/>
                  <a:gd name="T19" fmla="*/ 579 h 636"/>
                  <a:gd name="T20" fmla="*/ 899 w 899"/>
                  <a:gd name="T21" fmla="*/ 636 h 636"/>
                  <a:gd name="T22" fmla="*/ 0 w 899"/>
                  <a:gd name="T23" fmla="*/ 636 h 636"/>
                  <a:gd name="T24" fmla="*/ 0 w 899"/>
                  <a:gd name="T25" fmla="*/ 579 h 636"/>
                  <a:gd name="T26" fmla="*/ 84 w 899"/>
                  <a:gd name="T27" fmla="*/ 579 h 636"/>
                  <a:gd name="T28" fmla="*/ 861 w 899"/>
                  <a:gd name="T29" fmla="*/ 579 h 636"/>
                  <a:gd name="T30" fmla="*/ 861 w 899"/>
                  <a:gd name="T31" fmla="*/ 35 h 636"/>
                  <a:gd name="T32" fmla="*/ 84 w 899"/>
                  <a:gd name="T33" fmla="*/ 35 h 636"/>
                  <a:gd name="T34" fmla="*/ 84 w 899"/>
                  <a:gd name="T35" fmla="*/ 579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99" h="636">
                    <a:moveTo>
                      <a:pt x="0" y="579"/>
                    </a:moveTo>
                    <a:lnTo>
                      <a:pt x="50" y="579"/>
                    </a:lnTo>
                    <a:lnTo>
                      <a:pt x="50" y="18"/>
                    </a:lnTo>
                    <a:lnTo>
                      <a:pt x="50" y="0"/>
                    </a:lnTo>
                    <a:lnTo>
                      <a:pt x="66" y="0"/>
                    </a:lnTo>
                    <a:lnTo>
                      <a:pt x="879" y="0"/>
                    </a:lnTo>
                    <a:lnTo>
                      <a:pt x="895" y="0"/>
                    </a:lnTo>
                    <a:lnTo>
                      <a:pt x="895" y="18"/>
                    </a:lnTo>
                    <a:lnTo>
                      <a:pt x="895" y="579"/>
                    </a:lnTo>
                    <a:lnTo>
                      <a:pt x="899" y="579"/>
                    </a:lnTo>
                    <a:lnTo>
                      <a:pt x="899" y="636"/>
                    </a:lnTo>
                    <a:lnTo>
                      <a:pt x="0" y="636"/>
                    </a:lnTo>
                    <a:lnTo>
                      <a:pt x="0" y="579"/>
                    </a:lnTo>
                    <a:close/>
                    <a:moveTo>
                      <a:pt x="84" y="579"/>
                    </a:moveTo>
                    <a:lnTo>
                      <a:pt x="861" y="579"/>
                    </a:lnTo>
                    <a:lnTo>
                      <a:pt x="861" y="35"/>
                    </a:lnTo>
                    <a:lnTo>
                      <a:pt x="84" y="35"/>
                    </a:lnTo>
                    <a:lnTo>
                      <a:pt x="84" y="57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7" name="Freeform 295">
                <a:extLst>
                  <a:ext uri="{FF2B5EF4-FFF2-40B4-BE49-F238E27FC236}">
                    <a16:creationId xmlns:a16="http://schemas.microsoft.com/office/drawing/2014/main" id="{5580846C-5172-4BE8-9545-C787C5CA2C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2950" y="4859338"/>
                <a:ext cx="511175" cy="403225"/>
              </a:xfrm>
              <a:custGeom>
                <a:avLst/>
                <a:gdLst>
                  <a:gd name="T0" fmla="*/ 35 w 968"/>
                  <a:gd name="T1" fmla="*/ 762 h 762"/>
                  <a:gd name="T2" fmla="*/ 35 w 968"/>
                  <a:gd name="T3" fmla="*/ 34 h 762"/>
                  <a:gd name="T4" fmla="*/ 345 w 968"/>
                  <a:gd name="T5" fmla="*/ 34 h 762"/>
                  <a:gd name="T6" fmla="*/ 404 w 968"/>
                  <a:gd name="T7" fmla="*/ 103 h 762"/>
                  <a:gd name="T8" fmla="*/ 409 w 968"/>
                  <a:gd name="T9" fmla="*/ 110 h 762"/>
                  <a:gd name="T10" fmla="*/ 417 w 968"/>
                  <a:gd name="T11" fmla="*/ 110 h 762"/>
                  <a:gd name="T12" fmla="*/ 933 w 968"/>
                  <a:gd name="T13" fmla="*/ 110 h 762"/>
                  <a:gd name="T14" fmla="*/ 933 w 968"/>
                  <a:gd name="T15" fmla="*/ 161 h 762"/>
                  <a:gd name="T16" fmla="*/ 945 w 968"/>
                  <a:gd name="T17" fmla="*/ 161 h 762"/>
                  <a:gd name="T18" fmla="*/ 961 w 968"/>
                  <a:gd name="T19" fmla="*/ 161 h 762"/>
                  <a:gd name="T20" fmla="*/ 961 w 968"/>
                  <a:gd name="T21" fmla="*/ 171 h 762"/>
                  <a:gd name="T22" fmla="*/ 968 w 968"/>
                  <a:gd name="T23" fmla="*/ 171 h 762"/>
                  <a:gd name="T24" fmla="*/ 968 w 968"/>
                  <a:gd name="T25" fmla="*/ 92 h 762"/>
                  <a:gd name="T26" fmla="*/ 968 w 968"/>
                  <a:gd name="T27" fmla="*/ 75 h 762"/>
                  <a:gd name="T28" fmla="*/ 950 w 968"/>
                  <a:gd name="T29" fmla="*/ 75 h 762"/>
                  <a:gd name="T30" fmla="*/ 426 w 968"/>
                  <a:gd name="T31" fmla="*/ 75 h 762"/>
                  <a:gd name="T32" fmla="*/ 365 w 968"/>
                  <a:gd name="T33" fmla="*/ 6 h 762"/>
                  <a:gd name="T34" fmla="*/ 360 w 968"/>
                  <a:gd name="T35" fmla="*/ 0 h 762"/>
                  <a:gd name="T36" fmla="*/ 353 w 968"/>
                  <a:gd name="T37" fmla="*/ 0 h 762"/>
                  <a:gd name="T38" fmla="*/ 18 w 968"/>
                  <a:gd name="T39" fmla="*/ 0 h 762"/>
                  <a:gd name="T40" fmla="*/ 0 w 968"/>
                  <a:gd name="T41" fmla="*/ 0 h 762"/>
                  <a:gd name="T42" fmla="*/ 0 w 968"/>
                  <a:gd name="T43" fmla="*/ 16 h 762"/>
                  <a:gd name="T44" fmla="*/ 0 w 968"/>
                  <a:gd name="T45" fmla="*/ 762 h 762"/>
                  <a:gd name="T46" fmla="*/ 35 w 968"/>
                  <a:gd name="T47" fmla="*/ 762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68" h="762">
                    <a:moveTo>
                      <a:pt x="35" y="762"/>
                    </a:moveTo>
                    <a:lnTo>
                      <a:pt x="35" y="34"/>
                    </a:lnTo>
                    <a:lnTo>
                      <a:pt x="345" y="34"/>
                    </a:lnTo>
                    <a:lnTo>
                      <a:pt x="404" y="103"/>
                    </a:lnTo>
                    <a:lnTo>
                      <a:pt x="409" y="110"/>
                    </a:lnTo>
                    <a:lnTo>
                      <a:pt x="417" y="110"/>
                    </a:lnTo>
                    <a:lnTo>
                      <a:pt x="933" y="110"/>
                    </a:lnTo>
                    <a:lnTo>
                      <a:pt x="933" y="161"/>
                    </a:lnTo>
                    <a:lnTo>
                      <a:pt x="945" y="161"/>
                    </a:lnTo>
                    <a:lnTo>
                      <a:pt x="961" y="161"/>
                    </a:lnTo>
                    <a:lnTo>
                      <a:pt x="961" y="171"/>
                    </a:lnTo>
                    <a:lnTo>
                      <a:pt x="968" y="171"/>
                    </a:lnTo>
                    <a:lnTo>
                      <a:pt x="968" y="92"/>
                    </a:lnTo>
                    <a:lnTo>
                      <a:pt x="968" y="75"/>
                    </a:lnTo>
                    <a:lnTo>
                      <a:pt x="950" y="75"/>
                    </a:lnTo>
                    <a:lnTo>
                      <a:pt x="426" y="75"/>
                    </a:lnTo>
                    <a:lnTo>
                      <a:pt x="365" y="6"/>
                    </a:lnTo>
                    <a:lnTo>
                      <a:pt x="360" y="0"/>
                    </a:lnTo>
                    <a:lnTo>
                      <a:pt x="35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0" y="762"/>
                    </a:lnTo>
                    <a:lnTo>
                      <a:pt x="35" y="7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8" name="Freeform 296">
                <a:extLst>
                  <a:ext uri="{FF2B5EF4-FFF2-40B4-BE49-F238E27FC236}">
                    <a16:creationId xmlns:a16="http://schemas.microsoft.com/office/drawing/2014/main" id="{8425A8D2-B0DC-4F18-995D-58825365E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6600" y="5280025"/>
                <a:ext cx="531813" cy="111125"/>
              </a:xfrm>
              <a:custGeom>
                <a:avLst/>
                <a:gdLst>
                  <a:gd name="T0" fmla="*/ 0 w 1004"/>
                  <a:gd name="T1" fmla="*/ 102 h 209"/>
                  <a:gd name="T2" fmla="*/ 438 w 1004"/>
                  <a:gd name="T3" fmla="*/ 102 h 209"/>
                  <a:gd name="T4" fmla="*/ 444 w 1004"/>
                  <a:gd name="T5" fmla="*/ 93 h 209"/>
                  <a:gd name="T6" fmla="*/ 452 w 1004"/>
                  <a:gd name="T7" fmla="*/ 84 h 209"/>
                  <a:gd name="T8" fmla="*/ 461 w 1004"/>
                  <a:gd name="T9" fmla="*/ 78 h 209"/>
                  <a:gd name="T10" fmla="*/ 471 w 1004"/>
                  <a:gd name="T11" fmla="*/ 72 h 209"/>
                  <a:gd name="T12" fmla="*/ 471 w 1004"/>
                  <a:gd name="T13" fmla="*/ 0 h 209"/>
                  <a:gd name="T14" fmla="*/ 533 w 1004"/>
                  <a:gd name="T15" fmla="*/ 0 h 209"/>
                  <a:gd name="T16" fmla="*/ 533 w 1004"/>
                  <a:gd name="T17" fmla="*/ 72 h 209"/>
                  <a:gd name="T18" fmla="*/ 542 w 1004"/>
                  <a:gd name="T19" fmla="*/ 78 h 209"/>
                  <a:gd name="T20" fmla="*/ 551 w 1004"/>
                  <a:gd name="T21" fmla="*/ 84 h 209"/>
                  <a:gd name="T22" fmla="*/ 558 w 1004"/>
                  <a:gd name="T23" fmla="*/ 93 h 209"/>
                  <a:gd name="T24" fmla="*/ 565 w 1004"/>
                  <a:gd name="T25" fmla="*/ 102 h 209"/>
                  <a:gd name="T26" fmla="*/ 1004 w 1004"/>
                  <a:gd name="T27" fmla="*/ 102 h 209"/>
                  <a:gd name="T28" fmla="*/ 1004 w 1004"/>
                  <a:gd name="T29" fmla="*/ 172 h 209"/>
                  <a:gd name="T30" fmla="*/ 565 w 1004"/>
                  <a:gd name="T31" fmla="*/ 172 h 209"/>
                  <a:gd name="T32" fmla="*/ 560 w 1004"/>
                  <a:gd name="T33" fmla="*/ 179 h 209"/>
                  <a:gd name="T34" fmla="*/ 553 w 1004"/>
                  <a:gd name="T35" fmla="*/ 187 h 209"/>
                  <a:gd name="T36" fmla="*/ 547 w 1004"/>
                  <a:gd name="T37" fmla="*/ 193 h 209"/>
                  <a:gd name="T38" fmla="*/ 539 w 1004"/>
                  <a:gd name="T39" fmla="*/ 198 h 209"/>
                  <a:gd name="T40" fmla="*/ 530 w 1004"/>
                  <a:gd name="T41" fmla="*/ 204 h 209"/>
                  <a:gd name="T42" fmla="*/ 521 w 1004"/>
                  <a:gd name="T43" fmla="*/ 206 h 209"/>
                  <a:gd name="T44" fmla="*/ 512 w 1004"/>
                  <a:gd name="T45" fmla="*/ 209 h 209"/>
                  <a:gd name="T46" fmla="*/ 502 w 1004"/>
                  <a:gd name="T47" fmla="*/ 209 h 209"/>
                  <a:gd name="T48" fmla="*/ 492 w 1004"/>
                  <a:gd name="T49" fmla="*/ 209 h 209"/>
                  <a:gd name="T50" fmla="*/ 481 w 1004"/>
                  <a:gd name="T51" fmla="*/ 206 h 209"/>
                  <a:gd name="T52" fmla="*/ 472 w 1004"/>
                  <a:gd name="T53" fmla="*/ 204 h 209"/>
                  <a:gd name="T54" fmla="*/ 464 w 1004"/>
                  <a:gd name="T55" fmla="*/ 198 h 209"/>
                  <a:gd name="T56" fmla="*/ 456 w 1004"/>
                  <a:gd name="T57" fmla="*/ 193 h 209"/>
                  <a:gd name="T58" fmla="*/ 449 w 1004"/>
                  <a:gd name="T59" fmla="*/ 187 h 209"/>
                  <a:gd name="T60" fmla="*/ 443 w 1004"/>
                  <a:gd name="T61" fmla="*/ 179 h 209"/>
                  <a:gd name="T62" fmla="*/ 438 w 1004"/>
                  <a:gd name="T63" fmla="*/ 172 h 209"/>
                  <a:gd name="T64" fmla="*/ 0 w 1004"/>
                  <a:gd name="T65" fmla="*/ 172 h 209"/>
                  <a:gd name="T66" fmla="*/ 0 w 1004"/>
                  <a:gd name="T67" fmla="*/ 102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04" h="209">
                    <a:moveTo>
                      <a:pt x="0" y="102"/>
                    </a:moveTo>
                    <a:lnTo>
                      <a:pt x="438" y="102"/>
                    </a:lnTo>
                    <a:lnTo>
                      <a:pt x="444" y="93"/>
                    </a:lnTo>
                    <a:lnTo>
                      <a:pt x="452" y="84"/>
                    </a:lnTo>
                    <a:lnTo>
                      <a:pt x="461" y="78"/>
                    </a:lnTo>
                    <a:lnTo>
                      <a:pt x="471" y="72"/>
                    </a:lnTo>
                    <a:lnTo>
                      <a:pt x="471" y="0"/>
                    </a:lnTo>
                    <a:lnTo>
                      <a:pt x="533" y="0"/>
                    </a:lnTo>
                    <a:lnTo>
                      <a:pt x="533" y="72"/>
                    </a:lnTo>
                    <a:lnTo>
                      <a:pt x="542" y="78"/>
                    </a:lnTo>
                    <a:lnTo>
                      <a:pt x="551" y="84"/>
                    </a:lnTo>
                    <a:lnTo>
                      <a:pt x="558" y="93"/>
                    </a:lnTo>
                    <a:lnTo>
                      <a:pt x="565" y="102"/>
                    </a:lnTo>
                    <a:lnTo>
                      <a:pt x="1004" y="102"/>
                    </a:lnTo>
                    <a:lnTo>
                      <a:pt x="1004" y="172"/>
                    </a:lnTo>
                    <a:lnTo>
                      <a:pt x="565" y="172"/>
                    </a:lnTo>
                    <a:lnTo>
                      <a:pt x="560" y="179"/>
                    </a:lnTo>
                    <a:lnTo>
                      <a:pt x="553" y="187"/>
                    </a:lnTo>
                    <a:lnTo>
                      <a:pt x="547" y="193"/>
                    </a:lnTo>
                    <a:lnTo>
                      <a:pt x="539" y="198"/>
                    </a:lnTo>
                    <a:lnTo>
                      <a:pt x="530" y="204"/>
                    </a:lnTo>
                    <a:lnTo>
                      <a:pt x="521" y="206"/>
                    </a:lnTo>
                    <a:lnTo>
                      <a:pt x="512" y="209"/>
                    </a:lnTo>
                    <a:lnTo>
                      <a:pt x="502" y="209"/>
                    </a:lnTo>
                    <a:lnTo>
                      <a:pt x="492" y="209"/>
                    </a:lnTo>
                    <a:lnTo>
                      <a:pt x="481" y="206"/>
                    </a:lnTo>
                    <a:lnTo>
                      <a:pt x="472" y="204"/>
                    </a:lnTo>
                    <a:lnTo>
                      <a:pt x="464" y="198"/>
                    </a:lnTo>
                    <a:lnTo>
                      <a:pt x="456" y="193"/>
                    </a:lnTo>
                    <a:lnTo>
                      <a:pt x="449" y="187"/>
                    </a:lnTo>
                    <a:lnTo>
                      <a:pt x="443" y="179"/>
                    </a:lnTo>
                    <a:lnTo>
                      <a:pt x="438" y="172"/>
                    </a:lnTo>
                    <a:lnTo>
                      <a:pt x="0" y="172"/>
                    </a:lnTo>
                    <a:lnTo>
                      <a:pt x="0" y="10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69EAA5BD-4848-408B-ADF3-ED752E93DF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64425" y="4984750"/>
                <a:ext cx="95250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36816040-1691-4E3D-A190-5C7D8D81D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64425" y="5008563"/>
                <a:ext cx="65088" cy="23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</p:grp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B74D0C7D-8906-471C-BFBE-DAAACB981CAD}"/>
              </a:ext>
            </a:extLst>
          </p:cNvPr>
          <p:cNvGrpSpPr/>
          <p:nvPr/>
        </p:nvGrpSpPr>
        <p:grpSpPr>
          <a:xfrm>
            <a:off x="7416999" y="1981576"/>
            <a:ext cx="642319" cy="586448"/>
            <a:chOff x="-3390901" y="1392237"/>
            <a:chExt cx="4237038" cy="3884614"/>
          </a:xfrm>
          <a:solidFill>
            <a:srgbClr val="92D050"/>
          </a:solidFill>
        </p:grpSpPr>
        <p:sp>
          <p:nvSpPr>
            <p:cNvPr id="144" name="Freeform 19">
              <a:extLst>
                <a:ext uri="{FF2B5EF4-FFF2-40B4-BE49-F238E27FC236}">
                  <a16:creationId xmlns:a16="http://schemas.microsoft.com/office/drawing/2014/main" id="{71322412-0210-4C58-A4D3-5ACD60F37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67013" y="4745038"/>
              <a:ext cx="660400" cy="531813"/>
            </a:xfrm>
            <a:custGeom>
              <a:avLst/>
              <a:gdLst>
                <a:gd name="T0" fmla="*/ 416 w 416"/>
                <a:gd name="T1" fmla="*/ 94 h 335"/>
                <a:gd name="T2" fmla="*/ 279 w 416"/>
                <a:gd name="T3" fmla="*/ 335 h 335"/>
                <a:gd name="T4" fmla="*/ 0 w 416"/>
                <a:gd name="T5" fmla="*/ 335 h 335"/>
                <a:gd name="T6" fmla="*/ 190 w 416"/>
                <a:gd name="T7" fmla="*/ 0 h 335"/>
                <a:gd name="T8" fmla="*/ 416 w 416"/>
                <a:gd name="T9" fmla="*/ 9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335">
                  <a:moveTo>
                    <a:pt x="416" y="94"/>
                  </a:moveTo>
                  <a:lnTo>
                    <a:pt x="279" y="335"/>
                  </a:lnTo>
                  <a:lnTo>
                    <a:pt x="0" y="335"/>
                  </a:lnTo>
                  <a:lnTo>
                    <a:pt x="190" y="0"/>
                  </a:lnTo>
                  <a:lnTo>
                    <a:pt x="416" y="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5" name="Freeform 20">
              <a:extLst>
                <a:ext uri="{FF2B5EF4-FFF2-40B4-BE49-F238E27FC236}">
                  <a16:creationId xmlns:a16="http://schemas.microsoft.com/office/drawing/2014/main" id="{CB2AA821-D9A6-4F12-842A-D09804210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93788" y="4745038"/>
              <a:ext cx="660400" cy="531813"/>
            </a:xfrm>
            <a:custGeom>
              <a:avLst/>
              <a:gdLst>
                <a:gd name="T0" fmla="*/ 0 w 416"/>
                <a:gd name="T1" fmla="*/ 94 h 335"/>
                <a:gd name="T2" fmla="*/ 137 w 416"/>
                <a:gd name="T3" fmla="*/ 335 h 335"/>
                <a:gd name="T4" fmla="*/ 416 w 416"/>
                <a:gd name="T5" fmla="*/ 335 h 335"/>
                <a:gd name="T6" fmla="*/ 226 w 416"/>
                <a:gd name="T7" fmla="*/ 0 h 335"/>
                <a:gd name="T8" fmla="*/ 0 w 416"/>
                <a:gd name="T9" fmla="*/ 9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335">
                  <a:moveTo>
                    <a:pt x="0" y="94"/>
                  </a:moveTo>
                  <a:lnTo>
                    <a:pt x="137" y="335"/>
                  </a:lnTo>
                  <a:lnTo>
                    <a:pt x="416" y="335"/>
                  </a:lnTo>
                  <a:lnTo>
                    <a:pt x="226" y="0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079D6D0F-FD2A-4190-AD29-9A64A91284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390901" y="1392237"/>
              <a:ext cx="3581402" cy="3575049"/>
            </a:xfrm>
            <a:custGeom>
              <a:avLst/>
              <a:gdLst>
                <a:gd name="connsiteX0" fmla="*/ 1790700 w 3581400"/>
                <a:gd name="connsiteY0" fmla="*/ 0 h 3575050"/>
                <a:gd name="connsiteX1" fmla="*/ 3581400 w 3581400"/>
                <a:gd name="connsiteY1" fmla="*/ 1787525 h 3575050"/>
                <a:gd name="connsiteX2" fmla="*/ 1790700 w 3581400"/>
                <a:gd name="connsiteY2" fmla="*/ 3575050 h 3575050"/>
                <a:gd name="connsiteX3" fmla="*/ 0 w 3581400"/>
                <a:gd name="connsiteY3" fmla="*/ 1787525 h 3575050"/>
                <a:gd name="connsiteX4" fmla="*/ 1790700 w 3581400"/>
                <a:gd name="connsiteY4" fmla="*/ 0 h 3575050"/>
                <a:gd name="connsiteX5" fmla="*/ 1790701 w 3581400"/>
                <a:gd name="connsiteY5" fmla="*/ 550863 h 3575050"/>
                <a:gd name="connsiteX6" fmla="*/ 550863 w 3581400"/>
                <a:gd name="connsiteY6" fmla="*/ 1787526 h 3575050"/>
                <a:gd name="connsiteX7" fmla="*/ 1790701 w 3581400"/>
                <a:gd name="connsiteY7" fmla="*/ 3024189 h 3575050"/>
                <a:gd name="connsiteX8" fmla="*/ 3030539 w 3581400"/>
                <a:gd name="connsiteY8" fmla="*/ 1787526 h 3575050"/>
                <a:gd name="connsiteX9" fmla="*/ 1790701 w 3581400"/>
                <a:gd name="connsiteY9" fmla="*/ 550863 h 357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81400" h="3575050">
                  <a:moveTo>
                    <a:pt x="1790700" y="0"/>
                  </a:moveTo>
                  <a:cubicBezTo>
                    <a:pt x="2779676" y="0"/>
                    <a:pt x="3581400" y="800302"/>
                    <a:pt x="3581400" y="1787525"/>
                  </a:cubicBezTo>
                  <a:cubicBezTo>
                    <a:pt x="3581400" y="2774748"/>
                    <a:pt x="2779676" y="3575050"/>
                    <a:pt x="1790700" y="3575050"/>
                  </a:cubicBezTo>
                  <a:cubicBezTo>
                    <a:pt x="801724" y="3575050"/>
                    <a:pt x="0" y="2774748"/>
                    <a:pt x="0" y="1787525"/>
                  </a:cubicBezTo>
                  <a:cubicBezTo>
                    <a:pt x="0" y="800302"/>
                    <a:pt x="801724" y="0"/>
                    <a:pt x="1790700" y="0"/>
                  </a:cubicBezTo>
                  <a:close/>
                  <a:moveTo>
                    <a:pt x="1790701" y="550863"/>
                  </a:moveTo>
                  <a:cubicBezTo>
                    <a:pt x="1105957" y="550863"/>
                    <a:pt x="550863" y="1104536"/>
                    <a:pt x="550863" y="1787526"/>
                  </a:cubicBezTo>
                  <a:cubicBezTo>
                    <a:pt x="550863" y="2470516"/>
                    <a:pt x="1105957" y="3024189"/>
                    <a:pt x="1790701" y="3024189"/>
                  </a:cubicBezTo>
                  <a:cubicBezTo>
                    <a:pt x="2475445" y="3024189"/>
                    <a:pt x="3030539" y="2470516"/>
                    <a:pt x="3030539" y="1787526"/>
                  </a:cubicBezTo>
                  <a:cubicBezTo>
                    <a:pt x="3030539" y="1104536"/>
                    <a:pt x="2475445" y="550863"/>
                    <a:pt x="1790701" y="5508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B229648B-975E-4440-AF2C-96C8121EB9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366963" y="2414588"/>
              <a:ext cx="1533526" cy="1530350"/>
            </a:xfrm>
            <a:custGeom>
              <a:avLst/>
              <a:gdLst>
                <a:gd name="connsiteX0" fmla="*/ 766763 w 1533526"/>
                <a:gd name="connsiteY0" fmla="*/ 0 h 1530350"/>
                <a:gd name="connsiteX1" fmla="*/ 1533526 w 1533526"/>
                <a:gd name="connsiteY1" fmla="*/ 765175 h 1530350"/>
                <a:gd name="connsiteX2" fmla="*/ 766763 w 1533526"/>
                <a:gd name="connsiteY2" fmla="*/ 1530350 h 1530350"/>
                <a:gd name="connsiteX3" fmla="*/ 0 w 1533526"/>
                <a:gd name="connsiteY3" fmla="*/ 765175 h 1530350"/>
                <a:gd name="connsiteX4" fmla="*/ 766763 w 1533526"/>
                <a:gd name="connsiteY4" fmla="*/ 0 h 153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3526" h="1530350">
                  <a:moveTo>
                    <a:pt x="766763" y="0"/>
                  </a:moveTo>
                  <a:cubicBezTo>
                    <a:pt x="1190235" y="0"/>
                    <a:pt x="1533526" y="342581"/>
                    <a:pt x="1533526" y="765175"/>
                  </a:cubicBezTo>
                  <a:cubicBezTo>
                    <a:pt x="1533526" y="1187769"/>
                    <a:pt x="1190235" y="1530350"/>
                    <a:pt x="766763" y="1530350"/>
                  </a:cubicBezTo>
                  <a:cubicBezTo>
                    <a:pt x="343291" y="1530350"/>
                    <a:pt x="0" y="1187769"/>
                    <a:pt x="0" y="765175"/>
                  </a:cubicBezTo>
                  <a:cubicBezTo>
                    <a:pt x="0" y="342581"/>
                    <a:pt x="343291" y="0"/>
                    <a:pt x="7667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sp>
          <p:nvSpPr>
            <p:cNvPr id="148" name="Freeform 24">
              <a:extLst>
                <a:ext uri="{FF2B5EF4-FFF2-40B4-BE49-F238E27FC236}">
                  <a16:creationId xmlns:a16="http://schemas.microsoft.com/office/drawing/2014/main" id="{13A604AB-0ECE-4E33-8834-35CC62021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0363" y="2819401"/>
              <a:ext cx="1206500" cy="720725"/>
            </a:xfrm>
            <a:custGeom>
              <a:avLst/>
              <a:gdLst>
                <a:gd name="T0" fmla="*/ 228 w 760"/>
                <a:gd name="T1" fmla="*/ 0 h 454"/>
                <a:gd name="T2" fmla="*/ 0 w 760"/>
                <a:gd name="T3" fmla="*/ 227 h 454"/>
                <a:gd name="T4" fmla="*/ 228 w 760"/>
                <a:gd name="T5" fmla="*/ 454 h 454"/>
                <a:gd name="T6" fmla="*/ 760 w 760"/>
                <a:gd name="T7" fmla="*/ 454 h 454"/>
                <a:gd name="T8" fmla="*/ 532 w 760"/>
                <a:gd name="T9" fmla="*/ 227 h 454"/>
                <a:gd name="T10" fmla="*/ 760 w 760"/>
                <a:gd name="T11" fmla="*/ 0 h 454"/>
                <a:gd name="T12" fmla="*/ 228 w 760"/>
                <a:gd name="T13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0" h="454">
                  <a:moveTo>
                    <a:pt x="228" y="0"/>
                  </a:moveTo>
                  <a:lnTo>
                    <a:pt x="0" y="227"/>
                  </a:lnTo>
                  <a:lnTo>
                    <a:pt x="228" y="454"/>
                  </a:lnTo>
                  <a:lnTo>
                    <a:pt x="760" y="454"/>
                  </a:lnTo>
                  <a:lnTo>
                    <a:pt x="532" y="227"/>
                  </a:lnTo>
                  <a:lnTo>
                    <a:pt x="760" y="0"/>
                  </a:lnTo>
                  <a:lnTo>
                    <a:pt x="2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0C2097BD-C3EA-45AF-8B37-9013B47D0631}"/>
              </a:ext>
            </a:extLst>
          </p:cNvPr>
          <p:cNvGrpSpPr/>
          <p:nvPr/>
        </p:nvGrpSpPr>
        <p:grpSpPr>
          <a:xfrm>
            <a:off x="790500" y="1746356"/>
            <a:ext cx="2954893" cy="729597"/>
            <a:chOff x="8150620" y="1319673"/>
            <a:chExt cx="2949881" cy="729597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FCD84680-4060-40EE-9450-4C8731B2A7EA}"/>
                </a:ext>
              </a:extLst>
            </p:cNvPr>
            <p:cNvSpPr txBox="1"/>
            <p:nvPr/>
          </p:nvSpPr>
          <p:spPr>
            <a:xfrm>
              <a:off x="8150620" y="1741493"/>
              <a:ext cx="2949881" cy="30777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 defTabSz="1218987">
                <a:defRPr/>
              </a:pPr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obotic automation, Online System 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2F7EB7FE-F777-410A-B429-207C6C7F01D8}"/>
                </a:ext>
              </a:extLst>
            </p:cNvPr>
            <p:cNvSpPr txBox="1"/>
            <p:nvPr/>
          </p:nvSpPr>
          <p:spPr>
            <a:xfrm>
              <a:off x="8150620" y="1319673"/>
              <a:ext cx="2949881" cy="40011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 defTabSz="1218987">
                <a:defRPr/>
              </a:pPr>
              <a:r>
                <a:rPr lang="en-US" sz="20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ulti-Form Technolog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605020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verview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1337289" y="1417407"/>
            <a:ext cx="4064951" cy="4473828"/>
            <a:chOff x="937269" y="1398245"/>
            <a:chExt cx="4457057" cy="4905375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993775" y="3857626"/>
              <a:ext cx="774700" cy="606425"/>
            </a:xfrm>
            <a:custGeom>
              <a:avLst/>
              <a:gdLst>
                <a:gd name="T0" fmla="*/ 1075 w 1463"/>
                <a:gd name="T1" fmla="*/ 1144 h 1144"/>
                <a:gd name="T2" fmla="*/ 1463 w 1463"/>
                <a:gd name="T3" fmla="*/ 0 h 1144"/>
                <a:gd name="T4" fmla="*/ 0 w 1463"/>
                <a:gd name="T5" fmla="*/ 0 h 1144"/>
                <a:gd name="T6" fmla="*/ 1075 w 1463"/>
                <a:gd name="T7" fmla="*/ 1144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3" h="1144">
                  <a:moveTo>
                    <a:pt x="1075" y="1144"/>
                  </a:moveTo>
                  <a:lnTo>
                    <a:pt x="1463" y="0"/>
                  </a:lnTo>
                  <a:lnTo>
                    <a:pt x="0" y="0"/>
                  </a:lnTo>
                  <a:lnTo>
                    <a:pt x="1075" y="1144"/>
                  </a:lnTo>
                  <a:close/>
                </a:path>
              </a:pathLst>
            </a:custGeom>
            <a:gradFill>
              <a:gsLst>
                <a:gs pos="3000">
                  <a:schemeClr val="accent1">
                    <a:lumMod val="5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" name="Freeform 5"/>
            <p:cNvSpPr>
              <a:spLocks/>
            </p:cNvSpPr>
            <p:nvPr/>
          </p:nvSpPr>
          <p:spPr bwMode="auto">
            <a:xfrm>
              <a:off x="937269" y="1398245"/>
              <a:ext cx="4418013" cy="4905375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>
              <a:gsLst>
                <a:gs pos="62808">
                  <a:schemeClr val="tx1">
                    <a:lumMod val="50000"/>
                    <a:lumOff val="50000"/>
                    <a:alpha val="64000"/>
                  </a:schemeClr>
                </a:gs>
                <a:gs pos="34000">
                  <a:schemeClr val="tx1">
                    <a:lumMod val="50000"/>
                    <a:lumOff val="50000"/>
                    <a:alpha val="45000"/>
                  </a:schemeClr>
                </a:gs>
                <a:gs pos="0">
                  <a:srgbClr val="DCE1E7"/>
                </a:gs>
                <a:gs pos="82000">
                  <a:srgbClr val="DCE1E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976313" y="1398245"/>
              <a:ext cx="4418013" cy="4905374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rgbClr val="E5E8ED"/>
                </a:gs>
                <a:gs pos="0">
                  <a:srgbClr val="E6E9EE"/>
                </a:gs>
                <a:gs pos="100000">
                  <a:srgbClr val="E5E8ED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993775" y="2255838"/>
              <a:ext cx="2878138" cy="1601788"/>
            </a:xfrm>
            <a:custGeom>
              <a:avLst/>
              <a:gdLst>
                <a:gd name="T0" fmla="*/ 0 w 5438"/>
                <a:gd name="T1" fmla="*/ 3028 h 3028"/>
                <a:gd name="T2" fmla="*/ 1463 w 5438"/>
                <a:gd name="T3" fmla="*/ 3028 h 3028"/>
                <a:gd name="T4" fmla="*/ 4002 w 5438"/>
                <a:gd name="T5" fmla="*/ 3028 h 3028"/>
                <a:gd name="T6" fmla="*/ 5438 w 5438"/>
                <a:gd name="T7" fmla="*/ 1555 h 3028"/>
                <a:gd name="T8" fmla="*/ 4937 w 5438"/>
                <a:gd name="T9" fmla="*/ 0 h 3028"/>
                <a:gd name="T10" fmla="*/ 926 w 5438"/>
                <a:gd name="T11" fmla="*/ 0 h 3028"/>
                <a:gd name="T12" fmla="*/ 0 w 5438"/>
                <a:gd name="T13" fmla="*/ 3028 h 3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8" h="3028">
                  <a:moveTo>
                    <a:pt x="0" y="3028"/>
                  </a:moveTo>
                  <a:lnTo>
                    <a:pt x="1463" y="3028"/>
                  </a:lnTo>
                  <a:lnTo>
                    <a:pt x="4002" y="3028"/>
                  </a:lnTo>
                  <a:lnTo>
                    <a:pt x="5438" y="1555"/>
                  </a:lnTo>
                  <a:lnTo>
                    <a:pt x="4937" y="0"/>
                  </a:lnTo>
                  <a:lnTo>
                    <a:pt x="926" y="0"/>
                  </a:lnTo>
                  <a:lnTo>
                    <a:pt x="0" y="3028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cxnSp>
        <p:nvCxnSpPr>
          <p:cNvPr id="18" name="Straight Connector 17"/>
          <p:cNvCxnSpPr/>
          <p:nvPr/>
        </p:nvCxnSpPr>
        <p:spPr>
          <a:xfrm>
            <a:off x="2896230" y="5896434"/>
            <a:ext cx="72240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/>
          <p:cNvGrpSpPr/>
          <p:nvPr/>
        </p:nvGrpSpPr>
        <p:grpSpPr>
          <a:xfrm>
            <a:off x="4528486" y="1417407"/>
            <a:ext cx="4064951" cy="4473828"/>
            <a:chOff x="937269" y="1398245"/>
            <a:chExt cx="4457057" cy="4905375"/>
          </a:xfrm>
        </p:grpSpPr>
        <p:sp>
          <p:nvSpPr>
            <p:cNvPr id="51" name="Freeform 6"/>
            <p:cNvSpPr>
              <a:spLocks/>
            </p:cNvSpPr>
            <p:nvPr/>
          </p:nvSpPr>
          <p:spPr bwMode="auto">
            <a:xfrm>
              <a:off x="993775" y="3857626"/>
              <a:ext cx="774700" cy="606425"/>
            </a:xfrm>
            <a:custGeom>
              <a:avLst/>
              <a:gdLst>
                <a:gd name="T0" fmla="*/ 1075 w 1463"/>
                <a:gd name="T1" fmla="*/ 1144 h 1144"/>
                <a:gd name="T2" fmla="*/ 1463 w 1463"/>
                <a:gd name="T3" fmla="*/ 0 h 1144"/>
                <a:gd name="T4" fmla="*/ 0 w 1463"/>
                <a:gd name="T5" fmla="*/ 0 h 1144"/>
                <a:gd name="T6" fmla="*/ 1075 w 1463"/>
                <a:gd name="T7" fmla="*/ 1144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3" h="1144">
                  <a:moveTo>
                    <a:pt x="1075" y="1144"/>
                  </a:moveTo>
                  <a:lnTo>
                    <a:pt x="1463" y="0"/>
                  </a:lnTo>
                  <a:lnTo>
                    <a:pt x="0" y="0"/>
                  </a:lnTo>
                  <a:lnTo>
                    <a:pt x="1075" y="1144"/>
                  </a:lnTo>
                  <a:close/>
                </a:path>
              </a:pathLst>
            </a:custGeom>
            <a:gradFill>
              <a:gsLst>
                <a:gs pos="3000">
                  <a:srgbClr val="67214C"/>
                </a:gs>
                <a:gs pos="100000">
                  <a:srgbClr val="5E1C45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2" name="Freeform 5"/>
            <p:cNvSpPr>
              <a:spLocks/>
            </p:cNvSpPr>
            <p:nvPr/>
          </p:nvSpPr>
          <p:spPr bwMode="auto">
            <a:xfrm>
              <a:off x="937269" y="1398245"/>
              <a:ext cx="4418013" cy="4905375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>
              <a:gsLst>
                <a:gs pos="62808">
                  <a:schemeClr val="tx1">
                    <a:lumMod val="50000"/>
                    <a:lumOff val="50000"/>
                    <a:alpha val="64000"/>
                  </a:schemeClr>
                </a:gs>
                <a:gs pos="34000">
                  <a:schemeClr val="tx1">
                    <a:lumMod val="50000"/>
                    <a:lumOff val="50000"/>
                    <a:alpha val="45000"/>
                  </a:schemeClr>
                </a:gs>
                <a:gs pos="0">
                  <a:srgbClr val="DCE1E7"/>
                </a:gs>
                <a:gs pos="82000">
                  <a:srgbClr val="DCE1E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3" name="Freeform 5"/>
            <p:cNvSpPr>
              <a:spLocks/>
            </p:cNvSpPr>
            <p:nvPr/>
          </p:nvSpPr>
          <p:spPr bwMode="auto">
            <a:xfrm>
              <a:off x="976313" y="1398245"/>
              <a:ext cx="4418013" cy="4905374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rgbClr val="E5E8ED"/>
                </a:gs>
                <a:gs pos="0">
                  <a:srgbClr val="E6E9EE"/>
                </a:gs>
                <a:gs pos="100000">
                  <a:srgbClr val="E5E8ED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4" name="Freeform 7"/>
            <p:cNvSpPr>
              <a:spLocks/>
            </p:cNvSpPr>
            <p:nvPr/>
          </p:nvSpPr>
          <p:spPr bwMode="auto">
            <a:xfrm>
              <a:off x="993775" y="2255838"/>
              <a:ext cx="2878138" cy="1601788"/>
            </a:xfrm>
            <a:custGeom>
              <a:avLst/>
              <a:gdLst>
                <a:gd name="T0" fmla="*/ 0 w 5438"/>
                <a:gd name="T1" fmla="*/ 3028 h 3028"/>
                <a:gd name="T2" fmla="*/ 1463 w 5438"/>
                <a:gd name="T3" fmla="*/ 3028 h 3028"/>
                <a:gd name="T4" fmla="*/ 4002 w 5438"/>
                <a:gd name="T5" fmla="*/ 3028 h 3028"/>
                <a:gd name="T6" fmla="*/ 5438 w 5438"/>
                <a:gd name="T7" fmla="*/ 1555 h 3028"/>
                <a:gd name="T8" fmla="*/ 4937 w 5438"/>
                <a:gd name="T9" fmla="*/ 0 h 3028"/>
                <a:gd name="T10" fmla="*/ 926 w 5438"/>
                <a:gd name="T11" fmla="*/ 0 h 3028"/>
                <a:gd name="T12" fmla="*/ 0 w 5438"/>
                <a:gd name="T13" fmla="*/ 3028 h 3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8" h="3028">
                  <a:moveTo>
                    <a:pt x="0" y="3028"/>
                  </a:moveTo>
                  <a:lnTo>
                    <a:pt x="1463" y="3028"/>
                  </a:lnTo>
                  <a:lnTo>
                    <a:pt x="4002" y="3028"/>
                  </a:lnTo>
                  <a:lnTo>
                    <a:pt x="5438" y="1555"/>
                  </a:lnTo>
                  <a:lnTo>
                    <a:pt x="4937" y="0"/>
                  </a:lnTo>
                  <a:lnTo>
                    <a:pt x="926" y="0"/>
                  </a:lnTo>
                  <a:lnTo>
                    <a:pt x="0" y="3028"/>
                  </a:lnTo>
                  <a:close/>
                </a:path>
              </a:pathLst>
            </a:custGeom>
            <a:gradFill flip="none" rotWithShape="1">
              <a:gsLst>
                <a:gs pos="40000">
                  <a:schemeClr val="accent2">
                    <a:lumMod val="70000"/>
                    <a:lumOff val="30000"/>
                  </a:schemeClr>
                </a:gs>
                <a:gs pos="87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cxnSp>
        <p:nvCxnSpPr>
          <p:cNvPr id="50" name="Straight Connector 49"/>
          <p:cNvCxnSpPr/>
          <p:nvPr/>
        </p:nvCxnSpPr>
        <p:spPr>
          <a:xfrm>
            <a:off x="6072433" y="5896434"/>
            <a:ext cx="722405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/>
        </p:nvGrpSpPr>
        <p:grpSpPr>
          <a:xfrm>
            <a:off x="7719682" y="1417407"/>
            <a:ext cx="4064951" cy="4473828"/>
            <a:chOff x="937269" y="1398245"/>
            <a:chExt cx="4457057" cy="4905375"/>
          </a:xfrm>
        </p:grpSpPr>
        <p:sp>
          <p:nvSpPr>
            <p:cNvPr id="58" name="Freeform 6"/>
            <p:cNvSpPr>
              <a:spLocks/>
            </p:cNvSpPr>
            <p:nvPr/>
          </p:nvSpPr>
          <p:spPr bwMode="auto">
            <a:xfrm>
              <a:off x="993775" y="3857626"/>
              <a:ext cx="774700" cy="606425"/>
            </a:xfrm>
            <a:custGeom>
              <a:avLst/>
              <a:gdLst>
                <a:gd name="T0" fmla="*/ 1075 w 1463"/>
                <a:gd name="T1" fmla="*/ 1144 h 1144"/>
                <a:gd name="T2" fmla="*/ 1463 w 1463"/>
                <a:gd name="T3" fmla="*/ 0 h 1144"/>
                <a:gd name="T4" fmla="*/ 0 w 1463"/>
                <a:gd name="T5" fmla="*/ 0 h 1144"/>
                <a:gd name="T6" fmla="*/ 1075 w 1463"/>
                <a:gd name="T7" fmla="*/ 1144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3" h="1144">
                  <a:moveTo>
                    <a:pt x="1075" y="1144"/>
                  </a:moveTo>
                  <a:lnTo>
                    <a:pt x="1463" y="0"/>
                  </a:lnTo>
                  <a:lnTo>
                    <a:pt x="0" y="0"/>
                  </a:lnTo>
                  <a:lnTo>
                    <a:pt x="1075" y="1144"/>
                  </a:lnTo>
                  <a:close/>
                </a:path>
              </a:pathLst>
            </a:custGeom>
            <a:gradFill>
              <a:gsLst>
                <a:gs pos="3000">
                  <a:srgbClr val="463967"/>
                </a:gs>
                <a:gs pos="100000">
                  <a:srgbClr val="423563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9" name="Freeform 5"/>
            <p:cNvSpPr>
              <a:spLocks/>
            </p:cNvSpPr>
            <p:nvPr/>
          </p:nvSpPr>
          <p:spPr bwMode="auto">
            <a:xfrm>
              <a:off x="937269" y="1398245"/>
              <a:ext cx="4418013" cy="4905375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>
              <a:gsLst>
                <a:gs pos="62808">
                  <a:schemeClr val="tx1">
                    <a:lumMod val="50000"/>
                    <a:lumOff val="50000"/>
                    <a:alpha val="64000"/>
                  </a:schemeClr>
                </a:gs>
                <a:gs pos="34000">
                  <a:schemeClr val="tx1">
                    <a:lumMod val="50000"/>
                    <a:lumOff val="50000"/>
                    <a:alpha val="45000"/>
                  </a:schemeClr>
                </a:gs>
                <a:gs pos="0">
                  <a:srgbClr val="DCE1E7"/>
                </a:gs>
                <a:gs pos="82000">
                  <a:srgbClr val="DCE1E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0" name="Freeform 5"/>
            <p:cNvSpPr>
              <a:spLocks/>
            </p:cNvSpPr>
            <p:nvPr/>
          </p:nvSpPr>
          <p:spPr bwMode="auto">
            <a:xfrm>
              <a:off x="976313" y="1398245"/>
              <a:ext cx="4418013" cy="4905374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rgbClr val="E5E8ED"/>
                </a:gs>
                <a:gs pos="0">
                  <a:srgbClr val="E6E9EE"/>
                </a:gs>
                <a:gs pos="100000">
                  <a:srgbClr val="E5E8ED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1" name="Freeform 7"/>
            <p:cNvSpPr>
              <a:spLocks/>
            </p:cNvSpPr>
            <p:nvPr/>
          </p:nvSpPr>
          <p:spPr bwMode="auto">
            <a:xfrm>
              <a:off x="993775" y="2255838"/>
              <a:ext cx="2878138" cy="1601788"/>
            </a:xfrm>
            <a:custGeom>
              <a:avLst/>
              <a:gdLst>
                <a:gd name="T0" fmla="*/ 0 w 5438"/>
                <a:gd name="T1" fmla="*/ 3028 h 3028"/>
                <a:gd name="T2" fmla="*/ 1463 w 5438"/>
                <a:gd name="T3" fmla="*/ 3028 h 3028"/>
                <a:gd name="T4" fmla="*/ 4002 w 5438"/>
                <a:gd name="T5" fmla="*/ 3028 h 3028"/>
                <a:gd name="T6" fmla="*/ 5438 w 5438"/>
                <a:gd name="T7" fmla="*/ 1555 h 3028"/>
                <a:gd name="T8" fmla="*/ 4937 w 5438"/>
                <a:gd name="T9" fmla="*/ 0 h 3028"/>
                <a:gd name="T10" fmla="*/ 926 w 5438"/>
                <a:gd name="T11" fmla="*/ 0 h 3028"/>
                <a:gd name="T12" fmla="*/ 0 w 5438"/>
                <a:gd name="T13" fmla="*/ 3028 h 3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8" h="3028">
                  <a:moveTo>
                    <a:pt x="0" y="3028"/>
                  </a:moveTo>
                  <a:lnTo>
                    <a:pt x="1463" y="3028"/>
                  </a:lnTo>
                  <a:lnTo>
                    <a:pt x="4002" y="3028"/>
                  </a:lnTo>
                  <a:lnTo>
                    <a:pt x="5438" y="1555"/>
                  </a:lnTo>
                  <a:lnTo>
                    <a:pt x="4937" y="0"/>
                  </a:lnTo>
                  <a:lnTo>
                    <a:pt x="926" y="0"/>
                  </a:lnTo>
                  <a:lnTo>
                    <a:pt x="0" y="3028"/>
                  </a:lnTo>
                  <a:close/>
                </a:path>
              </a:pathLst>
            </a:custGeom>
            <a:gradFill flip="none" rotWithShape="1">
              <a:gsLst>
                <a:gs pos="40000">
                  <a:schemeClr val="accent3">
                    <a:lumMod val="75000"/>
                    <a:lumOff val="25000"/>
                  </a:schemeClr>
                </a:gs>
                <a:gs pos="87000">
                  <a:schemeClr val="accent3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cxnSp>
        <p:nvCxnSpPr>
          <p:cNvPr id="57" name="Straight Connector 56"/>
          <p:cNvCxnSpPr/>
          <p:nvPr/>
        </p:nvCxnSpPr>
        <p:spPr>
          <a:xfrm>
            <a:off x="9352790" y="5896434"/>
            <a:ext cx="722405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>
            <a:spLocks/>
          </p:cNvSpPr>
          <p:nvPr/>
        </p:nvSpPr>
        <p:spPr>
          <a:xfrm>
            <a:off x="2161734" y="3921113"/>
            <a:ext cx="219139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218987"/>
            <a:r>
              <a:rPr lang="en-US" sz="1600" b="1" kern="0" dirty="0">
                <a:latin typeface="Arial" pitchFamily="34" charset="0"/>
                <a:cs typeface="Arial" pitchFamily="34" charset="0"/>
              </a:rPr>
              <a:t>Fully Automatic IOT Based System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>
            <a:spLocks/>
          </p:cNvSpPr>
          <p:nvPr/>
        </p:nvSpPr>
        <p:spPr>
          <a:xfrm>
            <a:off x="5317321" y="3835844"/>
            <a:ext cx="219139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218987"/>
            <a:r>
              <a:rPr lang="en-US" sz="1600" b="1" kern="0" dirty="0">
                <a:latin typeface="Arial" pitchFamily="34" charset="0"/>
                <a:cs typeface="Arial" pitchFamily="34" charset="0"/>
              </a:rPr>
              <a:t>Android Semi-Automatic System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>
            <a:spLocks/>
          </p:cNvSpPr>
          <p:nvPr/>
        </p:nvSpPr>
        <p:spPr>
          <a:xfrm>
            <a:off x="8657949" y="3840798"/>
            <a:ext cx="219139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218987"/>
            <a:r>
              <a:rPr lang="en-US" sz="1600" b="1" kern="0" dirty="0">
                <a:latin typeface="Arial" pitchFamily="34" charset="0"/>
                <a:cs typeface="Arial" pitchFamily="34" charset="0"/>
              </a:rPr>
              <a:t>Online Web Interfa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/>
          <p:nvPr/>
        </p:nvSpPr>
        <p:spPr>
          <a:xfrm rot="156748">
            <a:off x="2037524" y="2079899"/>
            <a:ext cx="1560173" cy="1538883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3000000" lon="0" rev="21299999"/>
            </a:camera>
            <a:lightRig rig="threePt" dir="t"/>
          </a:scene3d>
        </p:spPr>
        <p:txBody>
          <a:bodyPr wrap="square" lIns="0" tIns="0" rIns="0" bIns="0" rtlCol="0" anchor="b" anchorCtr="0">
            <a:spAutoFit/>
            <a:scene3d>
              <a:camera prst="perspectiveRelaxed"/>
              <a:lightRig rig="threePt" dir="t"/>
            </a:scene3d>
          </a:bodyPr>
          <a:lstStyle/>
          <a:p>
            <a:pPr algn="ctr" defTabSz="1218987"/>
            <a:r>
              <a:rPr lang="en-US" sz="10000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/>
          <p:nvPr/>
        </p:nvSpPr>
        <p:spPr>
          <a:xfrm>
            <a:off x="5361802" y="2079898"/>
            <a:ext cx="1560173" cy="1538883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3000000" lon="0" rev="21593999"/>
            </a:camera>
            <a:lightRig rig="threePt" dir="t"/>
          </a:scene3d>
        </p:spPr>
        <p:txBody>
          <a:bodyPr wrap="square" lIns="0" tIns="0" rIns="0" bIns="0" rtlCol="0" anchor="b" anchorCtr="0">
            <a:spAutoFit/>
            <a:scene3d>
              <a:camera prst="perspectiveRelaxed"/>
              <a:lightRig rig="threePt" dir="t"/>
            </a:scene3d>
          </a:bodyPr>
          <a:lstStyle/>
          <a:p>
            <a:pPr algn="ctr" defTabSz="1218987"/>
            <a:r>
              <a:rPr lang="en-US" sz="10000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/>
          <p:nvPr/>
        </p:nvSpPr>
        <p:spPr>
          <a:xfrm>
            <a:off x="8517389" y="2079898"/>
            <a:ext cx="1560173" cy="1538883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3000000" lon="0" rev="21593999"/>
            </a:camera>
            <a:lightRig rig="threePt" dir="t"/>
          </a:scene3d>
        </p:spPr>
        <p:txBody>
          <a:bodyPr wrap="square" lIns="0" tIns="0" rIns="0" bIns="0" rtlCol="0" anchor="b" anchorCtr="0">
            <a:spAutoFit/>
            <a:scene3d>
              <a:camera prst="perspectiveRelaxed"/>
              <a:lightRig rig="threePt" dir="t"/>
            </a:scene3d>
          </a:bodyPr>
          <a:lstStyle/>
          <a:p>
            <a:pPr algn="ctr" defTabSz="1218987"/>
            <a:r>
              <a:rPr lang="en-US" sz="10000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pic>
        <p:nvPicPr>
          <p:cNvPr id="11" name="Graphic 10" descr="Gears">
            <a:extLst>
              <a:ext uri="{FF2B5EF4-FFF2-40B4-BE49-F238E27FC236}">
                <a16:creationId xmlns:a16="http://schemas.microsoft.com/office/drawing/2014/main" id="{F03903DB-A0F6-4052-940B-0C0B9AFA8A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3808" y="5405017"/>
            <a:ext cx="467244" cy="467244"/>
          </a:xfrm>
          <a:prstGeom prst="rect">
            <a:avLst/>
          </a:prstGeom>
        </p:spPr>
      </p:pic>
      <p:sp>
        <p:nvSpPr>
          <p:cNvPr id="36" name="Rounded Rectangle 12">
            <a:extLst>
              <a:ext uri="{FF2B5EF4-FFF2-40B4-BE49-F238E27FC236}">
                <a16:creationId xmlns:a16="http://schemas.microsoft.com/office/drawing/2014/main" id="{D6E939B7-B7A2-45F6-ADEE-9A2EC2111768}"/>
              </a:ext>
            </a:extLst>
          </p:cNvPr>
          <p:cNvSpPr>
            <a:spLocks noChangeAspect="1"/>
          </p:cNvSpPr>
          <p:nvPr/>
        </p:nvSpPr>
        <p:spPr>
          <a:xfrm>
            <a:off x="6257048" y="5405017"/>
            <a:ext cx="353173" cy="420869"/>
          </a:xfrm>
          <a:custGeom>
            <a:avLst/>
            <a:gdLst/>
            <a:ahLst/>
            <a:cxnLst/>
            <a:rect l="l" t="t" r="r" b="b"/>
            <a:pathLst>
              <a:path w="3312367" h="3947283">
                <a:moveTo>
                  <a:pt x="2537615" y="3705909"/>
                </a:moveTo>
                <a:cubicBezTo>
                  <a:pt x="2512344" y="3705909"/>
                  <a:pt x="2491857" y="3726396"/>
                  <a:pt x="2491857" y="3751667"/>
                </a:cubicBezTo>
                <a:cubicBezTo>
                  <a:pt x="2491857" y="3776938"/>
                  <a:pt x="2512344" y="3797425"/>
                  <a:pt x="2537615" y="3797425"/>
                </a:cubicBezTo>
                <a:lnTo>
                  <a:pt x="2762175" y="3797425"/>
                </a:lnTo>
                <a:cubicBezTo>
                  <a:pt x="2787446" y="3797425"/>
                  <a:pt x="2807933" y="3776938"/>
                  <a:pt x="2807933" y="3751667"/>
                </a:cubicBezTo>
                <a:cubicBezTo>
                  <a:pt x="2807933" y="3726396"/>
                  <a:pt x="2787446" y="3705909"/>
                  <a:pt x="2762175" y="3705909"/>
                </a:cubicBezTo>
                <a:close/>
                <a:moveTo>
                  <a:pt x="1141114" y="3408594"/>
                </a:moveTo>
                <a:cubicBezTo>
                  <a:pt x="1097903" y="3408594"/>
                  <a:pt x="1062874" y="3443623"/>
                  <a:pt x="1062874" y="3486834"/>
                </a:cubicBezTo>
                <a:cubicBezTo>
                  <a:pt x="1062874" y="3530045"/>
                  <a:pt x="1097903" y="3565073"/>
                  <a:pt x="1141114" y="3565073"/>
                </a:cubicBezTo>
                <a:lnTo>
                  <a:pt x="1525078" y="3565074"/>
                </a:lnTo>
                <a:cubicBezTo>
                  <a:pt x="1568289" y="3565074"/>
                  <a:pt x="1603318" y="3530045"/>
                  <a:pt x="1603318" y="3486834"/>
                </a:cubicBezTo>
                <a:lnTo>
                  <a:pt x="1603319" y="3486834"/>
                </a:lnTo>
                <a:cubicBezTo>
                  <a:pt x="1603319" y="3443623"/>
                  <a:pt x="1568290" y="3408594"/>
                  <a:pt x="1525079" y="3408594"/>
                </a:cubicBezTo>
                <a:close/>
                <a:moveTo>
                  <a:pt x="2129393" y="1705414"/>
                </a:moveTo>
                <a:lnTo>
                  <a:pt x="2129393" y="3580170"/>
                </a:lnTo>
                <a:lnTo>
                  <a:pt x="3126216" y="3580170"/>
                </a:lnTo>
                <a:lnTo>
                  <a:pt x="3126216" y="1705414"/>
                </a:lnTo>
                <a:close/>
                <a:moveTo>
                  <a:pt x="2481193" y="1533789"/>
                </a:moveTo>
                <a:cubicBezTo>
                  <a:pt x="2462682" y="1533789"/>
                  <a:pt x="2447676" y="1548795"/>
                  <a:pt x="2447676" y="1567306"/>
                </a:cubicBezTo>
                <a:lnTo>
                  <a:pt x="2447676" y="1572258"/>
                </a:lnTo>
                <a:cubicBezTo>
                  <a:pt x="2447676" y="1590769"/>
                  <a:pt x="2462682" y="1605775"/>
                  <a:pt x="2481193" y="1605775"/>
                </a:cubicBezTo>
                <a:lnTo>
                  <a:pt x="2774415" y="1605775"/>
                </a:lnTo>
                <a:cubicBezTo>
                  <a:pt x="2792926" y="1605775"/>
                  <a:pt x="2807932" y="1590769"/>
                  <a:pt x="2807932" y="1572258"/>
                </a:cubicBezTo>
                <a:lnTo>
                  <a:pt x="2807932" y="1567306"/>
                </a:lnTo>
                <a:cubicBezTo>
                  <a:pt x="2807932" y="1548795"/>
                  <a:pt x="2792926" y="1533789"/>
                  <a:pt x="2774415" y="1533789"/>
                </a:cubicBezTo>
                <a:close/>
                <a:moveTo>
                  <a:pt x="2113478" y="1418392"/>
                </a:moveTo>
                <a:lnTo>
                  <a:pt x="3142130" y="1418392"/>
                </a:lnTo>
                <a:cubicBezTo>
                  <a:pt x="3236149" y="1418392"/>
                  <a:pt x="3312367" y="1494610"/>
                  <a:pt x="3312367" y="1588629"/>
                </a:cubicBezTo>
                <a:lnTo>
                  <a:pt x="3312367" y="3777046"/>
                </a:lnTo>
                <a:cubicBezTo>
                  <a:pt x="3312367" y="3871065"/>
                  <a:pt x="3236149" y="3947283"/>
                  <a:pt x="3142130" y="3947283"/>
                </a:cubicBezTo>
                <a:lnTo>
                  <a:pt x="2113478" y="3947283"/>
                </a:lnTo>
                <a:cubicBezTo>
                  <a:pt x="2019459" y="3947283"/>
                  <a:pt x="1943241" y="3871065"/>
                  <a:pt x="1943241" y="3777046"/>
                </a:cubicBezTo>
                <a:lnTo>
                  <a:pt x="1943241" y="1588629"/>
                </a:lnTo>
                <a:cubicBezTo>
                  <a:pt x="1943241" y="1494610"/>
                  <a:pt x="2019459" y="1418392"/>
                  <a:pt x="2113478" y="1418392"/>
                </a:cubicBezTo>
                <a:close/>
                <a:moveTo>
                  <a:pt x="1006317" y="157391"/>
                </a:moveTo>
                <a:cubicBezTo>
                  <a:pt x="987806" y="157391"/>
                  <a:pt x="972800" y="172397"/>
                  <a:pt x="972800" y="190908"/>
                </a:cubicBezTo>
                <a:lnTo>
                  <a:pt x="972800" y="195860"/>
                </a:lnTo>
                <a:cubicBezTo>
                  <a:pt x="972800" y="214371"/>
                  <a:pt x="987806" y="229377"/>
                  <a:pt x="1006317" y="229377"/>
                </a:cubicBezTo>
                <a:lnTo>
                  <a:pt x="1659876" y="229377"/>
                </a:lnTo>
                <a:cubicBezTo>
                  <a:pt x="1678387" y="229377"/>
                  <a:pt x="1693393" y="214371"/>
                  <a:pt x="1693393" y="195860"/>
                </a:cubicBezTo>
                <a:lnTo>
                  <a:pt x="1693393" y="190908"/>
                </a:lnTo>
                <a:cubicBezTo>
                  <a:pt x="1693393" y="172397"/>
                  <a:pt x="1678387" y="157391"/>
                  <a:pt x="1659876" y="157391"/>
                </a:cubicBezTo>
                <a:close/>
                <a:moveTo>
                  <a:pt x="264780" y="0"/>
                </a:moveTo>
                <a:lnTo>
                  <a:pt x="2401413" y="0"/>
                </a:lnTo>
                <a:cubicBezTo>
                  <a:pt x="2547647" y="0"/>
                  <a:pt x="2666193" y="118546"/>
                  <a:pt x="2666193" y="264780"/>
                </a:cubicBezTo>
                <a:lnTo>
                  <a:pt x="2666193" y="1345374"/>
                </a:lnTo>
                <a:lnTo>
                  <a:pt x="2369517" y="1345374"/>
                </a:lnTo>
                <a:lnTo>
                  <a:pt x="2369517" y="366783"/>
                </a:lnTo>
                <a:lnTo>
                  <a:pt x="296676" y="366783"/>
                </a:lnTo>
                <a:lnTo>
                  <a:pt x="296676" y="3219873"/>
                </a:lnTo>
                <a:lnTo>
                  <a:pt x="1867527" y="3219873"/>
                </a:lnTo>
                <a:lnTo>
                  <a:pt x="1867527" y="3778374"/>
                </a:lnTo>
                <a:lnTo>
                  <a:pt x="264780" y="3778374"/>
                </a:lnTo>
                <a:cubicBezTo>
                  <a:pt x="118546" y="3778374"/>
                  <a:pt x="0" y="3659828"/>
                  <a:pt x="0" y="3513594"/>
                </a:cubicBezTo>
                <a:lnTo>
                  <a:pt x="0" y="264780"/>
                </a:lnTo>
                <a:cubicBezTo>
                  <a:pt x="0" y="118546"/>
                  <a:pt x="118546" y="0"/>
                  <a:pt x="26478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BB374D5-0452-4122-BE6E-93401BE27284}"/>
              </a:ext>
            </a:extLst>
          </p:cNvPr>
          <p:cNvGrpSpPr/>
          <p:nvPr/>
        </p:nvGrpSpPr>
        <p:grpSpPr>
          <a:xfrm>
            <a:off x="9563632" y="5370112"/>
            <a:ext cx="412744" cy="455774"/>
            <a:chOff x="10533744" y="5175480"/>
            <a:chExt cx="457200" cy="530225"/>
          </a:xfrm>
        </p:grpSpPr>
        <p:sp>
          <p:nvSpPr>
            <p:cNvPr id="39" name="Freeform 304">
              <a:extLst>
                <a:ext uri="{FF2B5EF4-FFF2-40B4-BE49-F238E27FC236}">
                  <a16:creationId xmlns:a16="http://schemas.microsoft.com/office/drawing/2014/main" id="{8AAF5E16-352F-4500-A97D-C9D02A7C7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5182" y="5285018"/>
              <a:ext cx="311150" cy="309563"/>
            </a:xfrm>
            <a:custGeom>
              <a:avLst/>
              <a:gdLst>
                <a:gd name="T0" fmla="*/ 323 w 587"/>
                <a:gd name="T1" fmla="*/ 1 h 587"/>
                <a:gd name="T2" fmla="*/ 367 w 587"/>
                <a:gd name="T3" fmla="*/ 9 h 587"/>
                <a:gd name="T4" fmla="*/ 408 w 587"/>
                <a:gd name="T5" fmla="*/ 23 h 587"/>
                <a:gd name="T6" fmla="*/ 446 w 587"/>
                <a:gd name="T7" fmla="*/ 42 h 587"/>
                <a:gd name="T8" fmla="*/ 481 w 587"/>
                <a:gd name="T9" fmla="*/ 67 h 587"/>
                <a:gd name="T10" fmla="*/ 511 w 587"/>
                <a:gd name="T11" fmla="*/ 96 h 587"/>
                <a:gd name="T12" fmla="*/ 537 w 587"/>
                <a:gd name="T13" fmla="*/ 130 h 587"/>
                <a:gd name="T14" fmla="*/ 558 w 587"/>
                <a:gd name="T15" fmla="*/ 167 h 587"/>
                <a:gd name="T16" fmla="*/ 574 w 587"/>
                <a:gd name="T17" fmla="*/ 206 h 587"/>
                <a:gd name="T18" fmla="*/ 583 w 587"/>
                <a:gd name="T19" fmla="*/ 249 h 587"/>
                <a:gd name="T20" fmla="*/ 587 w 587"/>
                <a:gd name="T21" fmla="*/ 294 h 587"/>
                <a:gd name="T22" fmla="*/ 583 w 587"/>
                <a:gd name="T23" fmla="*/ 339 h 587"/>
                <a:gd name="T24" fmla="*/ 574 w 587"/>
                <a:gd name="T25" fmla="*/ 381 h 587"/>
                <a:gd name="T26" fmla="*/ 558 w 587"/>
                <a:gd name="T27" fmla="*/ 421 h 587"/>
                <a:gd name="T28" fmla="*/ 537 w 587"/>
                <a:gd name="T29" fmla="*/ 458 h 587"/>
                <a:gd name="T30" fmla="*/ 511 w 587"/>
                <a:gd name="T31" fmla="*/ 491 h 587"/>
                <a:gd name="T32" fmla="*/ 481 w 587"/>
                <a:gd name="T33" fmla="*/ 521 h 587"/>
                <a:gd name="T34" fmla="*/ 446 w 587"/>
                <a:gd name="T35" fmla="*/ 545 h 587"/>
                <a:gd name="T36" fmla="*/ 408 w 587"/>
                <a:gd name="T37" fmla="*/ 564 h 587"/>
                <a:gd name="T38" fmla="*/ 367 w 587"/>
                <a:gd name="T39" fmla="*/ 578 h 587"/>
                <a:gd name="T40" fmla="*/ 323 w 587"/>
                <a:gd name="T41" fmla="*/ 586 h 587"/>
                <a:gd name="T42" fmla="*/ 278 w 587"/>
                <a:gd name="T43" fmla="*/ 587 h 587"/>
                <a:gd name="T44" fmla="*/ 235 w 587"/>
                <a:gd name="T45" fmla="*/ 581 h 587"/>
                <a:gd name="T46" fmla="*/ 192 w 587"/>
                <a:gd name="T47" fmla="*/ 569 h 587"/>
                <a:gd name="T48" fmla="*/ 154 w 587"/>
                <a:gd name="T49" fmla="*/ 551 h 587"/>
                <a:gd name="T50" fmla="*/ 118 w 587"/>
                <a:gd name="T51" fmla="*/ 528 h 587"/>
                <a:gd name="T52" fmla="*/ 86 w 587"/>
                <a:gd name="T53" fmla="*/ 501 h 587"/>
                <a:gd name="T54" fmla="*/ 59 w 587"/>
                <a:gd name="T55" fmla="*/ 469 h 587"/>
                <a:gd name="T56" fmla="*/ 36 w 587"/>
                <a:gd name="T57" fmla="*/ 433 h 587"/>
                <a:gd name="T58" fmla="*/ 18 w 587"/>
                <a:gd name="T59" fmla="*/ 395 h 587"/>
                <a:gd name="T60" fmla="*/ 7 w 587"/>
                <a:gd name="T61" fmla="*/ 353 h 587"/>
                <a:gd name="T62" fmla="*/ 0 w 587"/>
                <a:gd name="T63" fmla="*/ 309 h 587"/>
                <a:gd name="T64" fmla="*/ 1 w 587"/>
                <a:gd name="T65" fmla="*/ 263 h 587"/>
                <a:gd name="T66" fmla="*/ 9 w 587"/>
                <a:gd name="T67" fmla="*/ 221 h 587"/>
                <a:gd name="T68" fmla="*/ 23 w 587"/>
                <a:gd name="T69" fmla="*/ 180 h 587"/>
                <a:gd name="T70" fmla="*/ 42 w 587"/>
                <a:gd name="T71" fmla="*/ 141 h 587"/>
                <a:gd name="T72" fmla="*/ 67 w 587"/>
                <a:gd name="T73" fmla="*/ 107 h 587"/>
                <a:gd name="T74" fmla="*/ 96 w 587"/>
                <a:gd name="T75" fmla="*/ 76 h 587"/>
                <a:gd name="T76" fmla="*/ 130 w 587"/>
                <a:gd name="T77" fmla="*/ 50 h 587"/>
                <a:gd name="T78" fmla="*/ 167 w 587"/>
                <a:gd name="T79" fmla="*/ 30 h 587"/>
                <a:gd name="T80" fmla="*/ 206 w 587"/>
                <a:gd name="T81" fmla="*/ 13 h 587"/>
                <a:gd name="T82" fmla="*/ 249 w 587"/>
                <a:gd name="T83" fmla="*/ 4 h 587"/>
                <a:gd name="T84" fmla="*/ 294 w 587"/>
                <a:gd name="T85" fmla="*/ 0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87" h="587">
                  <a:moveTo>
                    <a:pt x="294" y="0"/>
                  </a:moveTo>
                  <a:lnTo>
                    <a:pt x="309" y="0"/>
                  </a:lnTo>
                  <a:lnTo>
                    <a:pt x="323" y="1"/>
                  </a:lnTo>
                  <a:lnTo>
                    <a:pt x="338" y="4"/>
                  </a:lnTo>
                  <a:lnTo>
                    <a:pt x="353" y="7"/>
                  </a:lnTo>
                  <a:lnTo>
                    <a:pt x="367" y="9"/>
                  </a:lnTo>
                  <a:lnTo>
                    <a:pt x="381" y="13"/>
                  </a:lnTo>
                  <a:lnTo>
                    <a:pt x="395" y="18"/>
                  </a:lnTo>
                  <a:lnTo>
                    <a:pt x="408" y="23"/>
                  </a:lnTo>
                  <a:lnTo>
                    <a:pt x="420" y="30"/>
                  </a:lnTo>
                  <a:lnTo>
                    <a:pt x="433" y="36"/>
                  </a:lnTo>
                  <a:lnTo>
                    <a:pt x="446" y="42"/>
                  </a:lnTo>
                  <a:lnTo>
                    <a:pt x="458" y="50"/>
                  </a:lnTo>
                  <a:lnTo>
                    <a:pt x="469" y="58"/>
                  </a:lnTo>
                  <a:lnTo>
                    <a:pt x="481" y="67"/>
                  </a:lnTo>
                  <a:lnTo>
                    <a:pt x="491" y="76"/>
                  </a:lnTo>
                  <a:lnTo>
                    <a:pt x="501" y="86"/>
                  </a:lnTo>
                  <a:lnTo>
                    <a:pt x="511" y="96"/>
                  </a:lnTo>
                  <a:lnTo>
                    <a:pt x="520" y="107"/>
                  </a:lnTo>
                  <a:lnTo>
                    <a:pt x="529" y="118"/>
                  </a:lnTo>
                  <a:lnTo>
                    <a:pt x="537" y="130"/>
                  </a:lnTo>
                  <a:lnTo>
                    <a:pt x="545" y="141"/>
                  </a:lnTo>
                  <a:lnTo>
                    <a:pt x="551" y="154"/>
                  </a:lnTo>
                  <a:lnTo>
                    <a:pt x="558" y="167"/>
                  </a:lnTo>
                  <a:lnTo>
                    <a:pt x="564" y="180"/>
                  </a:lnTo>
                  <a:lnTo>
                    <a:pt x="569" y="192"/>
                  </a:lnTo>
                  <a:lnTo>
                    <a:pt x="574" y="206"/>
                  </a:lnTo>
                  <a:lnTo>
                    <a:pt x="578" y="221"/>
                  </a:lnTo>
                  <a:lnTo>
                    <a:pt x="581" y="235"/>
                  </a:lnTo>
                  <a:lnTo>
                    <a:pt x="583" y="249"/>
                  </a:lnTo>
                  <a:lnTo>
                    <a:pt x="586" y="263"/>
                  </a:lnTo>
                  <a:lnTo>
                    <a:pt x="587" y="278"/>
                  </a:lnTo>
                  <a:lnTo>
                    <a:pt x="587" y="294"/>
                  </a:lnTo>
                  <a:lnTo>
                    <a:pt x="587" y="309"/>
                  </a:lnTo>
                  <a:lnTo>
                    <a:pt x="586" y="323"/>
                  </a:lnTo>
                  <a:lnTo>
                    <a:pt x="583" y="339"/>
                  </a:lnTo>
                  <a:lnTo>
                    <a:pt x="581" y="353"/>
                  </a:lnTo>
                  <a:lnTo>
                    <a:pt x="578" y="367"/>
                  </a:lnTo>
                  <a:lnTo>
                    <a:pt x="574" y="381"/>
                  </a:lnTo>
                  <a:lnTo>
                    <a:pt x="569" y="395"/>
                  </a:lnTo>
                  <a:lnTo>
                    <a:pt x="564" y="408"/>
                  </a:lnTo>
                  <a:lnTo>
                    <a:pt x="558" y="421"/>
                  </a:lnTo>
                  <a:lnTo>
                    <a:pt x="551" y="433"/>
                  </a:lnTo>
                  <a:lnTo>
                    <a:pt x="545" y="446"/>
                  </a:lnTo>
                  <a:lnTo>
                    <a:pt x="537" y="458"/>
                  </a:lnTo>
                  <a:lnTo>
                    <a:pt x="529" y="469"/>
                  </a:lnTo>
                  <a:lnTo>
                    <a:pt x="520" y="481"/>
                  </a:lnTo>
                  <a:lnTo>
                    <a:pt x="511" y="491"/>
                  </a:lnTo>
                  <a:lnTo>
                    <a:pt x="501" y="501"/>
                  </a:lnTo>
                  <a:lnTo>
                    <a:pt x="491" y="510"/>
                  </a:lnTo>
                  <a:lnTo>
                    <a:pt x="481" y="521"/>
                  </a:lnTo>
                  <a:lnTo>
                    <a:pt x="469" y="528"/>
                  </a:lnTo>
                  <a:lnTo>
                    <a:pt x="458" y="537"/>
                  </a:lnTo>
                  <a:lnTo>
                    <a:pt x="446" y="545"/>
                  </a:lnTo>
                  <a:lnTo>
                    <a:pt x="433" y="551"/>
                  </a:lnTo>
                  <a:lnTo>
                    <a:pt x="420" y="558"/>
                  </a:lnTo>
                  <a:lnTo>
                    <a:pt x="408" y="564"/>
                  </a:lnTo>
                  <a:lnTo>
                    <a:pt x="395" y="569"/>
                  </a:lnTo>
                  <a:lnTo>
                    <a:pt x="381" y="574"/>
                  </a:lnTo>
                  <a:lnTo>
                    <a:pt x="367" y="578"/>
                  </a:lnTo>
                  <a:lnTo>
                    <a:pt x="353" y="581"/>
                  </a:lnTo>
                  <a:lnTo>
                    <a:pt x="338" y="583"/>
                  </a:lnTo>
                  <a:lnTo>
                    <a:pt x="323" y="586"/>
                  </a:lnTo>
                  <a:lnTo>
                    <a:pt x="309" y="587"/>
                  </a:lnTo>
                  <a:lnTo>
                    <a:pt x="294" y="587"/>
                  </a:lnTo>
                  <a:lnTo>
                    <a:pt x="278" y="587"/>
                  </a:lnTo>
                  <a:lnTo>
                    <a:pt x="264" y="586"/>
                  </a:lnTo>
                  <a:lnTo>
                    <a:pt x="249" y="583"/>
                  </a:lnTo>
                  <a:lnTo>
                    <a:pt x="235" y="581"/>
                  </a:lnTo>
                  <a:lnTo>
                    <a:pt x="221" y="578"/>
                  </a:lnTo>
                  <a:lnTo>
                    <a:pt x="206" y="574"/>
                  </a:lnTo>
                  <a:lnTo>
                    <a:pt x="192" y="569"/>
                  </a:lnTo>
                  <a:lnTo>
                    <a:pt x="180" y="564"/>
                  </a:lnTo>
                  <a:lnTo>
                    <a:pt x="167" y="558"/>
                  </a:lnTo>
                  <a:lnTo>
                    <a:pt x="154" y="551"/>
                  </a:lnTo>
                  <a:lnTo>
                    <a:pt x="141" y="545"/>
                  </a:lnTo>
                  <a:lnTo>
                    <a:pt x="130" y="537"/>
                  </a:lnTo>
                  <a:lnTo>
                    <a:pt x="118" y="528"/>
                  </a:lnTo>
                  <a:lnTo>
                    <a:pt x="107" y="521"/>
                  </a:lnTo>
                  <a:lnTo>
                    <a:pt x="96" y="510"/>
                  </a:lnTo>
                  <a:lnTo>
                    <a:pt x="86" y="501"/>
                  </a:lnTo>
                  <a:lnTo>
                    <a:pt x="77" y="491"/>
                  </a:lnTo>
                  <a:lnTo>
                    <a:pt x="67" y="481"/>
                  </a:lnTo>
                  <a:lnTo>
                    <a:pt x="59" y="469"/>
                  </a:lnTo>
                  <a:lnTo>
                    <a:pt x="50" y="458"/>
                  </a:lnTo>
                  <a:lnTo>
                    <a:pt x="42" y="446"/>
                  </a:lnTo>
                  <a:lnTo>
                    <a:pt x="36" y="433"/>
                  </a:lnTo>
                  <a:lnTo>
                    <a:pt x="30" y="421"/>
                  </a:lnTo>
                  <a:lnTo>
                    <a:pt x="23" y="408"/>
                  </a:lnTo>
                  <a:lnTo>
                    <a:pt x="18" y="395"/>
                  </a:lnTo>
                  <a:lnTo>
                    <a:pt x="13" y="381"/>
                  </a:lnTo>
                  <a:lnTo>
                    <a:pt x="9" y="367"/>
                  </a:lnTo>
                  <a:lnTo>
                    <a:pt x="7" y="353"/>
                  </a:lnTo>
                  <a:lnTo>
                    <a:pt x="4" y="339"/>
                  </a:lnTo>
                  <a:lnTo>
                    <a:pt x="1" y="323"/>
                  </a:lnTo>
                  <a:lnTo>
                    <a:pt x="0" y="309"/>
                  </a:lnTo>
                  <a:lnTo>
                    <a:pt x="0" y="294"/>
                  </a:lnTo>
                  <a:lnTo>
                    <a:pt x="0" y="278"/>
                  </a:lnTo>
                  <a:lnTo>
                    <a:pt x="1" y="263"/>
                  </a:lnTo>
                  <a:lnTo>
                    <a:pt x="4" y="249"/>
                  </a:lnTo>
                  <a:lnTo>
                    <a:pt x="7" y="235"/>
                  </a:lnTo>
                  <a:lnTo>
                    <a:pt x="9" y="221"/>
                  </a:lnTo>
                  <a:lnTo>
                    <a:pt x="13" y="206"/>
                  </a:lnTo>
                  <a:lnTo>
                    <a:pt x="18" y="192"/>
                  </a:lnTo>
                  <a:lnTo>
                    <a:pt x="23" y="180"/>
                  </a:lnTo>
                  <a:lnTo>
                    <a:pt x="30" y="167"/>
                  </a:lnTo>
                  <a:lnTo>
                    <a:pt x="36" y="154"/>
                  </a:lnTo>
                  <a:lnTo>
                    <a:pt x="42" y="141"/>
                  </a:lnTo>
                  <a:lnTo>
                    <a:pt x="50" y="130"/>
                  </a:lnTo>
                  <a:lnTo>
                    <a:pt x="59" y="118"/>
                  </a:lnTo>
                  <a:lnTo>
                    <a:pt x="67" y="107"/>
                  </a:lnTo>
                  <a:lnTo>
                    <a:pt x="77" y="96"/>
                  </a:lnTo>
                  <a:lnTo>
                    <a:pt x="86" y="86"/>
                  </a:lnTo>
                  <a:lnTo>
                    <a:pt x="96" y="76"/>
                  </a:lnTo>
                  <a:lnTo>
                    <a:pt x="107" y="67"/>
                  </a:lnTo>
                  <a:lnTo>
                    <a:pt x="118" y="58"/>
                  </a:lnTo>
                  <a:lnTo>
                    <a:pt x="130" y="50"/>
                  </a:lnTo>
                  <a:lnTo>
                    <a:pt x="141" y="42"/>
                  </a:lnTo>
                  <a:lnTo>
                    <a:pt x="154" y="36"/>
                  </a:lnTo>
                  <a:lnTo>
                    <a:pt x="167" y="30"/>
                  </a:lnTo>
                  <a:lnTo>
                    <a:pt x="180" y="23"/>
                  </a:lnTo>
                  <a:lnTo>
                    <a:pt x="192" y="18"/>
                  </a:lnTo>
                  <a:lnTo>
                    <a:pt x="206" y="13"/>
                  </a:lnTo>
                  <a:lnTo>
                    <a:pt x="221" y="9"/>
                  </a:lnTo>
                  <a:lnTo>
                    <a:pt x="235" y="7"/>
                  </a:lnTo>
                  <a:lnTo>
                    <a:pt x="249" y="4"/>
                  </a:lnTo>
                  <a:lnTo>
                    <a:pt x="264" y="1"/>
                  </a:lnTo>
                  <a:lnTo>
                    <a:pt x="278" y="0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305">
              <a:extLst>
                <a:ext uri="{FF2B5EF4-FFF2-40B4-BE49-F238E27FC236}">
                  <a16:creationId xmlns:a16="http://schemas.microsoft.com/office/drawing/2014/main" id="{DE9265C9-D805-400E-B1C6-EEA9F3F82D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84545" y="5230938"/>
              <a:ext cx="344488" cy="315913"/>
            </a:xfrm>
            <a:custGeom>
              <a:avLst/>
              <a:gdLst>
                <a:gd name="T0" fmla="*/ 386 w 650"/>
                <a:gd name="T1" fmla="*/ 201 h 598"/>
                <a:gd name="T2" fmla="*/ 432 w 650"/>
                <a:gd name="T3" fmla="*/ 221 h 598"/>
                <a:gd name="T4" fmla="*/ 473 w 650"/>
                <a:gd name="T5" fmla="*/ 252 h 598"/>
                <a:gd name="T6" fmla="*/ 508 w 650"/>
                <a:gd name="T7" fmla="*/ 300 h 598"/>
                <a:gd name="T8" fmla="*/ 528 w 650"/>
                <a:gd name="T9" fmla="*/ 355 h 598"/>
                <a:gd name="T10" fmla="*/ 532 w 650"/>
                <a:gd name="T11" fmla="*/ 407 h 598"/>
                <a:gd name="T12" fmla="*/ 527 w 650"/>
                <a:gd name="T13" fmla="*/ 442 h 598"/>
                <a:gd name="T14" fmla="*/ 650 w 650"/>
                <a:gd name="T15" fmla="*/ 562 h 598"/>
                <a:gd name="T16" fmla="*/ 487 w 650"/>
                <a:gd name="T17" fmla="*/ 524 h 598"/>
                <a:gd name="T18" fmla="*/ 442 w 650"/>
                <a:gd name="T19" fmla="*/ 564 h 598"/>
                <a:gd name="T20" fmla="*/ 390 w 650"/>
                <a:gd name="T21" fmla="*/ 589 h 598"/>
                <a:gd name="T22" fmla="*/ 330 w 650"/>
                <a:gd name="T23" fmla="*/ 598 h 598"/>
                <a:gd name="T24" fmla="*/ 269 w 650"/>
                <a:gd name="T25" fmla="*/ 589 h 598"/>
                <a:gd name="T26" fmla="*/ 217 w 650"/>
                <a:gd name="T27" fmla="*/ 564 h 598"/>
                <a:gd name="T28" fmla="*/ 171 w 650"/>
                <a:gd name="T29" fmla="*/ 521 h 598"/>
                <a:gd name="T30" fmla="*/ 0 w 650"/>
                <a:gd name="T31" fmla="*/ 558 h 598"/>
                <a:gd name="T32" fmla="*/ 132 w 650"/>
                <a:gd name="T33" fmla="*/ 439 h 598"/>
                <a:gd name="T34" fmla="*/ 128 w 650"/>
                <a:gd name="T35" fmla="*/ 375 h 598"/>
                <a:gd name="T36" fmla="*/ 143 w 650"/>
                <a:gd name="T37" fmla="*/ 316 h 598"/>
                <a:gd name="T38" fmla="*/ 173 w 650"/>
                <a:gd name="T39" fmla="*/ 266 h 598"/>
                <a:gd name="T40" fmla="*/ 216 w 650"/>
                <a:gd name="T41" fmla="*/ 228 h 598"/>
                <a:gd name="T42" fmla="*/ 267 w 650"/>
                <a:gd name="T43" fmla="*/ 203 h 598"/>
                <a:gd name="T44" fmla="*/ 324 w 650"/>
                <a:gd name="T45" fmla="*/ 193 h 598"/>
                <a:gd name="T46" fmla="*/ 350 w 650"/>
                <a:gd name="T47" fmla="*/ 194 h 598"/>
                <a:gd name="T48" fmla="*/ 262 w 650"/>
                <a:gd name="T49" fmla="*/ 344 h 598"/>
                <a:gd name="T50" fmla="*/ 155 w 650"/>
                <a:gd name="T51" fmla="*/ 369 h 598"/>
                <a:gd name="T52" fmla="*/ 154 w 650"/>
                <a:gd name="T53" fmla="*/ 411 h 598"/>
                <a:gd name="T54" fmla="*/ 262 w 650"/>
                <a:gd name="T55" fmla="*/ 319 h 598"/>
                <a:gd name="T56" fmla="*/ 231 w 650"/>
                <a:gd name="T57" fmla="*/ 248 h 598"/>
                <a:gd name="T58" fmla="*/ 195 w 650"/>
                <a:gd name="T59" fmla="*/ 282 h 598"/>
                <a:gd name="T60" fmla="*/ 171 w 650"/>
                <a:gd name="T61" fmla="*/ 319 h 598"/>
                <a:gd name="T62" fmla="*/ 372 w 650"/>
                <a:gd name="T63" fmla="*/ 319 h 598"/>
                <a:gd name="T64" fmla="*/ 351 w 650"/>
                <a:gd name="T65" fmla="*/ 220 h 598"/>
                <a:gd name="T66" fmla="*/ 319 w 650"/>
                <a:gd name="T67" fmla="*/ 219 h 598"/>
                <a:gd name="T68" fmla="*/ 287 w 650"/>
                <a:gd name="T69" fmla="*/ 224 h 598"/>
                <a:gd name="T70" fmla="*/ 488 w 650"/>
                <a:gd name="T71" fmla="*/ 319 h 598"/>
                <a:gd name="T72" fmla="*/ 464 w 650"/>
                <a:gd name="T73" fmla="*/ 282 h 598"/>
                <a:gd name="T74" fmla="*/ 428 w 650"/>
                <a:gd name="T75" fmla="*/ 248 h 598"/>
                <a:gd name="T76" fmla="*/ 499 w 650"/>
                <a:gd name="T77" fmla="*/ 344 h 598"/>
                <a:gd name="T78" fmla="*/ 504 w 650"/>
                <a:gd name="T79" fmla="*/ 428 h 598"/>
                <a:gd name="T80" fmla="*/ 505 w 650"/>
                <a:gd name="T81" fmla="*/ 383 h 598"/>
                <a:gd name="T82" fmla="*/ 499 w 650"/>
                <a:gd name="T83" fmla="*/ 344 h 598"/>
                <a:gd name="T84" fmla="*/ 398 w 650"/>
                <a:gd name="T85" fmla="*/ 558 h 598"/>
                <a:gd name="T86" fmla="*/ 442 w 650"/>
                <a:gd name="T87" fmla="*/ 532 h 598"/>
                <a:gd name="T88" fmla="*/ 480 w 650"/>
                <a:gd name="T89" fmla="*/ 489 h 598"/>
                <a:gd name="T90" fmla="*/ 372 w 650"/>
                <a:gd name="T91" fmla="*/ 567 h 598"/>
                <a:gd name="T92" fmla="*/ 287 w 650"/>
                <a:gd name="T93" fmla="*/ 567 h 598"/>
                <a:gd name="T94" fmla="*/ 319 w 650"/>
                <a:gd name="T95" fmla="*/ 571 h 598"/>
                <a:gd name="T96" fmla="*/ 351 w 650"/>
                <a:gd name="T97" fmla="*/ 571 h 598"/>
                <a:gd name="T98" fmla="*/ 262 w 650"/>
                <a:gd name="T99" fmla="*/ 558 h 598"/>
                <a:gd name="T100" fmla="*/ 171 w 650"/>
                <a:gd name="T101" fmla="*/ 471 h 598"/>
                <a:gd name="T102" fmla="*/ 205 w 650"/>
                <a:gd name="T103" fmla="*/ 520 h 598"/>
                <a:gd name="T104" fmla="*/ 246 w 650"/>
                <a:gd name="T105" fmla="*/ 551 h 598"/>
                <a:gd name="T106" fmla="*/ 372 w 650"/>
                <a:gd name="T107" fmla="*/ 428 h 598"/>
                <a:gd name="T108" fmla="*/ 287 w 650"/>
                <a:gd name="T109" fmla="*/ 42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50" h="598">
                  <a:moveTo>
                    <a:pt x="350" y="194"/>
                  </a:moveTo>
                  <a:lnTo>
                    <a:pt x="368" y="197"/>
                  </a:lnTo>
                  <a:lnTo>
                    <a:pt x="386" y="201"/>
                  </a:lnTo>
                  <a:lnTo>
                    <a:pt x="401" y="206"/>
                  </a:lnTo>
                  <a:lnTo>
                    <a:pt x="418" y="214"/>
                  </a:lnTo>
                  <a:lnTo>
                    <a:pt x="432" y="221"/>
                  </a:lnTo>
                  <a:lnTo>
                    <a:pt x="447" y="230"/>
                  </a:lnTo>
                  <a:lnTo>
                    <a:pt x="460" y="241"/>
                  </a:lnTo>
                  <a:lnTo>
                    <a:pt x="473" y="252"/>
                  </a:lnTo>
                  <a:lnTo>
                    <a:pt x="486" y="266"/>
                  </a:lnTo>
                  <a:lnTo>
                    <a:pt x="497" y="283"/>
                  </a:lnTo>
                  <a:lnTo>
                    <a:pt x="508" y="300"/>
                  </a:lnTo>
                  <a:lnTo>
                    <a:pt x="517" y="316"/>
                  </a:lnTo>
                  <a:lnTo>
                    <a:pt x="523" y="335"/>
                  </a:lnTo>
                  <a:lnTo>
                    <a:pt x="528" y="355"/>
                  </a:lnTo>
                  <a:lnTo>
                    <a:pt x="531" y="375"/>
                  </a:lnTo>
                  <a:lnTo>
                    <a:pt x="532" y="396"/>
                  </a:lnTo>
                  <a:lnTo>
                    <a:pt x="532" y="407"/>
                  </a:lnTo>
                  <a:lnTo>
                    <a:pt x="531" y="419"/>
                  </a:lnTo>
                  <a:lnTo>
                    <a:pt x="529" y="430"/>
                  </a:lnTo>
                  <a:lnTo>
                    <a:pt x="527" y="442"/>
                  </a:lnTo>
                  <a:lnTo>
                    <a:pt x="521" y="464"/>
                  </a:lnTo>
                  <a:lnTo>
                    <a:pt x="512" y="484"/>
                  </a:lnTo>
                  <a:lnTo>
                    <a:pt x="650" y="562"/>
                  </a:lnTo>
                  <a:lnTo>
                    <a:pt x="637" y="585"/>
                  </a:lnTo>
                  <a:lnTo>
                    <a:pt x="499" y="507"/>
                  </a:lnTo>
                  <a:lnTo>
                    <a:pt x="487" y="524"/>
                  </a:lnTo>
                  <a:lnTo>
                    <a:pt x="473" y="539"/>
                  </a:lnTo>
                  <a:lnTo>
                    <a:pt x="459" y="552"/>
                  </a:lnTo>
                  <a:lnTo>
                    <a:pt x="442" y="564"/>
                  </a:lnTo>
                  <a:lnTo>
                    <a:pt x="426" y="574"/>
                  </a:lnTo>
                  <a:lnTo>
                    <a:pt x="409" y="583"/>
                  </a:lnTo>
                  <a:lnTo>
                    <a:pt x="390" y="589"/>
                  </a:lnTo>
                  <a:lnTo>
                    <a:pt x="371" y="594"/>
                  </a:lnTo>
                  <a:lnTo>
                    <a:pt x="350" y="597"/>
                  </a:lnTo>
                  <a:lnTo>
                    <a:pt x="330" y="598"/>
                  </a:lnTo>
                  <a:lnTo>
                    <a:pt x="309" y="597"/>
                  </a:lnTo>
                  <a:lnTo>
                    <a:pt x="289" y="594"/>
                  </a:lnTo>
                  <a:lnTo>
                    <a:pt x="269" y="589"/>
                  </a:lnTo>
                  <a:lnTo>
                    <a:pt x="251" y="583"/>
                  </a:lnTo>
                  <a:lnTo>
                    <a:pt x="233" y="574"/>
                  </a:lnTo>
                  <a:lnTo>
                    <a:pt x="217" y="564"/>
                  </a:lnTo>
                  <a:lnTo>
                    <a:pt x="201" y="552"/>
                  </a:lnTo>
                  <a:lnTo>
                    <a:pt x="186" y="539"/>
                  </a:lnTo>
                  <a:lnTo>
                    <a:pt x="171" y="521"/>
                  </a:lnTo>
                  <a:lnTo>
                    <a:pt x="158" y="503"/>
                  </a:lnTo>
                  <a:lnTo>
                    <a:pt x="13" y="581"/>
                  </a:lnTo>
                  <a:lnTo>
                    <a:pt x="0" y="558"/>
                  </a:lnTo>
                  <a:lnTo>
                    <a:pt x="145" y="480"/>
                  </a:lnTo>
                  <a:lnTo>
                    <a:pt x="137" y="460"/>
                  </a:lnTo>
                  <a:lnTo>
                    <a:pt x="132" y="439"/>
                  </a:lnTo>
                  <a:lnTo>
                    <a:pt x="128" y="417"/>
                  </a:lnTo>
                  <a:lnTo>
                    <a:pt x="127" y="396"/>
                  </a:lnTo>
                  <a:lnTo>
                    <a:pt x="128" y="375"/>
                  </a:lnTo>
                  <a:lnTo>
                    <a:pt x="131" y="355"/>
                  </a:lnTo>
                  <a:lnTo>
                    <a:pt x="136" y="335"/>
                  </a:lnTo>
                  <a:lnTo>
                    <a:pt x="143" y="316"/>
                  </a:lnTo>
                  <a:lnTo>
                    <a:pt x="151" y="300"/>
                  </a:lnTo>
                  <a:lnTo>
                    <a:pt x="162" y="283"/>
                  </a:lnTo>
                  <a:lnTo>
                    <a:pt x="173" y="266"/>
                  </a:lnTo>
                  <a:lnTo>
                    <a:pt x="186" y="252"/>
                  </a:lnTo>
                  <a:lnTo>
                    <a:pt x="200" y="239"/>
                  </a:lnTo>
                  <a:lnTo>
                    <a:pt x="216" y="228"/>
                  </a:lnTo>
                  <a:lnTo>
                    <a:pt x="232" y="219"/>
                  </a:lnTo>
                  <a:lnTo>
                    <a:pt x="249" y="210"/>
                  </a:lnTo>
                  <a:lnTo>
                    <a:pt x="267" y="203"/>
                  </a:lnTo>
                  <a:lnTo>
                    <a:pt x="286" y="198"/>
                  </a:lnTo>
                  <a:lnTo>
                    <a:pt x="305" y="194"/>
                  </a:lnTo>
                  <a:lnTo>
                    <a:pt x="324" y="193"/>
                  </a:lnTo>
                  <a:lnTo>
                    <a:pt x="324" y="0"/>
                  </a:lnTo>
                  <a:lnTo>
                    <a:pt x="350" y="0"/>
                  </a:lnTo>
                  <a:lnTo>
                    <a:pt x="350" y="194"/>
                  </a:lnTo>
                  <a:close/>
                  <a:moveTo>
                    <a:pt x="155" y="428"/>
                  </a:moveTo>
                  <a:lnTo>
                    <a:pt x="262" y="428"/>
                  </a:lnTo>
                  <a:lnTo>
                    <a:pt x="262" y="344"/>
                  </a:lnTo>
                  <a:lnTo>
                    <a:pt x="160" y="344"/>
                  </a:lnTo>
                  <a:lnTo>
                    <a:pt x="158" y="357"/>
                  </a:lnTo>
                  <a:lnTo>
                    <a:pt x="155" y="369"/>
                  </a:lnTo>
                  <a:lnTo>
                    <a:pt x="154" y="383"/>
                  </a:lnTo>
                  <a:lnTo>
                    <a:pt x="153" y="396"/>
                  </a:lnTo>
                  <a:lnTo>
                    <a:pt x="154" y="411"/>
                  </a:lnTo>
                  <a:lnTo>
                    <a:pt x="155" y="428"/>
                  </a:lnTo>
                  <a:close/>
                  <a:moveTo>
                    <a:pt x="171" y="319"/>
                  </a:moveTo>
                  <a:lnTo>
                    <a:pt x="262" y="319"/>
                  </a:lnTo>
                  <a:lnTo>
                    <a:pt x="262" y="233"/>
                  </a:lnTo>
                  <a:lnTo>
                    <a:pt x="246" y="241"/>
                  </a:lnTo>
                  <a:lnTo>
                    <a:pt x="231" y="248"/>
                  </a:lnTo>
                  <a:lnTo>
                    <a:pt x="218" y="259"/>
                  </a:lnTo>
                  <a:lnTo>
                    <a:pt x="205" y="270"/>
                  </a:lnTo>
                  <a:lnTo>
                    <a:pt x="195" y="282"/>
                  </a:lnTo>
                  <a:lnTo>
                    <a:pt x="186" y="293"/>
                  </a:lnTo>
                  <a:lnTo>
                    <a:pt x="178" y="306"/>
                  </a:lnTo>
                  <a:lnTo>
                    <a:pt x="171" y="319"/>
                  </a:lnTo>
                  <a:close/>
                  <a:moveTo>
                    <a:pt x="287" y="224"/>
                  </a:moveTo>
                  <a:lnTo>
                    <a:pt x="287" y="319"/>
                  </a:lnTo>
                  <a:lnTo>
                    <a:pt x="372" y="319"/>
                  </a:lnTo>
                  <a:lnTo>
                    <a:pt x="372" y="224"/>
                  </a:lnTo>
                  <a:lnTo>
                    <a:pt x="362" y="221"/>
                  </a:lnTo>
                  <a:lnTo>
                    <a:pt x="351" y="220"/>
                  </a:lnTo>
                  <a:lnTo>
                    <a:pt x="340" y="219"/>
                  </a:lnTo>
                  <a:lnTo>
                    <a:pt x="330" y="219"/>
                  </a:lnTo>
                  <a:lnTo>
                    <a:pt x="319" y="219"/>
                  </a:lnTo>
                  <a:lnTo>
                    <a:pt x="308" y="220"/>
                  </a:lnTo>
                  <a:lnTo>
                    <a:pt x="298" y="221"/>
                  </a:lnTo>
                  <a:lnTo>
                    <a:pt x="287" y="224"/>
                  </a:lnTo>
                  <a:close/>
                  <a:moveTo>
                    <a:pt x="398" y="233"/>
                  </a:moveTo>
                  <a:lnTo>
                    <a:pt x="398" y="319"/>
                  </a:lnTo>
                  <a:lnTo>
                    <a:pt x="488" y="319"/>
                  </a:lnTo>
                  <a:lnTo>
                    <a:pt x="482" y="306"/>
                  </a:lnTo>
                  <a:lnTo>
                    <a:pt x="473" y="293"/>
                  </a:lnTo>
                  <a:lnTo>
                    <a:pt x="464" y="282"/>
                  </a:lnTo>
                  <a:lnTo>
                    <a:pt x="454" y="270"/>
                  </a:lnTo>
                  <a:lnTo>
                    <a:pt x="442" y="259"/>
                  </a:lnTo>
                  <a:lnTo>
                    <a:pt x="428" y="248"/>
                  </a:lnTo>
                  <a:lnTo>
                    <a:pt x="413" y="239"/>
                  </a:lnTo>
                  <a:lnTo>
                    <a:pt x="398" y="233"/>
                  </a:lnTo>
                  <a:close/>
                  <a:moveTo>
                    <a:pt x="499" y="344"/>
                  </a:moveTo>
                  <a:lnTo>
                    <a:pt x="398" y="344"/>
                  </a:lnTo>
                  <a:lnTo>
                    <a:pt x="398" y="428"/>
                  </a:lnTo>
                  <a:lnTo>
                    <a:pt x="504" y="428"/>
                  </a:lnTo>
                  <a:lnTo>
                    <a:pt x="505" y="411"/>
                  </a:lnTo>
                  <a:lnTo>
                    <a:pt x="506" y="396"/>
                  </a:lnTo>
                  <a:lnTo>
                    <a:pt x="505" y="383"/>
                  </a:lnTo>
                  <a:lnTo>
                    <a:pt x="504" y="369"/>
                  </a:lnTo>
                  <a:lnTo>
                    <a:pt x="501" y="357"/>
                  </a:lnTo>
                  <a:lnTo>
                    <a:pt x="499" y="344"/>
                  </a:lnTo>
                  <a:close/>
                  <a:moveTo>
                    <a:pt x="496" y="453"/>
                  </a:moveTo>
                  <a:lnTo>
                    <a:pt x="398" y="453"/>
                  </a:lnTo>
                  <a:lnTo>
                    <a:pt x="398" y="558"/>
                  </a:lnTo>
                  <a:lnTo>
                    <a:pt x="413" y="551"/>
                  </a:lnTo>
                  <a:lnTo>
                    <a:pt x="428" y="542"/>
                  </a:lnTo>
                  <a:lnTo>
                    <a:pt x="442" y="532"/>
                  </a:lnTo>
                  <a:lnTo>
                    <a:pt x="454" y="520"/>
                  </a:lnTo>
                  <a:lnTo>
                    <a:pt x="468" y="506"/>
                  </a:lnTo>
                  <a:lnTo>
                    <a:pt x="480" y="489"/>
                  </a:lnTo>
                  <a:lnTo>
                    <a:pt x="488" y="471"/>
                  </a:lnTo>
                  <a:lnTo>
                    <a:pt x="496" y="453"/>
                  </a:lnTo>
                  <a:close/>
                  <a:moveTo>
                    <a:pt x="372" y="567"/>
                  </a:moveTo>
                  <a:lnTo>
                    <a:pt x="372" y="453"/>
                  </a:lnTo>
                  <a:lnTo>
                    <a:pt x="287" y="453"/>
                  </a:lnTo>
                  <a:lnTo>
                    <a:pt x="287" y="567"/>
                  </a:lnTo>
                  <a:lnTo>
                    <a:pt x="298" y="569"/>
                  </a:lnTo>
                  <a:lnTo>
                    <a:pt x="308" y="571"/>
                  </a:lnTo>
                  <a:lnTo>
                    <a:pt x="319" y="571"/>
                  </a:lnTo>
                  <a:lnTo>
                    <a:pt x="330" y="573"/>
                  </a:lnTo>
                  <a:lnTo>
                    <a:pt x="340" y="571"/>
                  </a:lnTo>
                  <a:lnTo>
                    <a:pt x="351" y="571"/>
                  </a:lnTo>
                  <a:lnTo>
                    <a:pt x="362" y="569"/>
                  </a:lnTo>
                  <a:lnTo>
                    <a:pt x="372" y="567"/>
                  </a:lnTo>
                  <a:close/>
                  <a:moveTo>
                    <a:pt x="262" y="558"/>
                  </a:moveTo>
                  <a:lnTo>
                    <a:pt x="262" y="453"/>
                  </a:lnTo>
                  <a:lnTo>
                    <a:pt x="163" y="453"/>
                  </a:lnTo>
                  <a:lnTo>
                    <a:pt x="171" y="471"/>
                  </a:lnTo>
                  <a:lnTo>
                    <a:pt x="180" y="489"/>
                  </a:lnTo>
                  <a:lnTo>
                    <a:pt x="191" y="506"/>
                  </a:lnTo>
                  <a:lnTo>
                    <a:pt x="205" y="520"/>
                  </a:lnTo>
                  <a:lnTo>
                    <a:pt x="218" y="532"/>
                  </a:lnTo>
                  <a:lnTo>
                    <a:pt x="231" y="542"/>
                  </a:lnTo>
                  <a:lnTo>
                    <a:pt x="246" y="551"/>
                  </a:lnTo>
                  <a:lnTo>
                    <a:pt x="262" y="558"/>
                  </a:lnTo>
                  <a:close/>
                  <a:moveTo>
                    <a:pt x="287" y="428"/>
                  </a:moveTo>
                  <a:lnTo>
                    <a:pt x="372" y="428"/>
                  </a:lnTo>
                  <a:lnTo>
                    <a:pt x="372" y="344"/>
                  </a:lnTo>
                  <a:lnTo>
                    <a:pt x="287" y="344"/>
                  </a:lnTo>
                  <a:lnTo>
                    <a:pt x="287" y="42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306">
              <a:extLst>
                <a:ext uri="{FF2B5EF4-FFF2-40B4-BE49-F238E27FC236}">
                  <a16:creationId xmlns:a16="http://schemas.microsoft.com/office/drawing/2014/main" id="{E31233F0-4545-4BB6-9814-7C55566855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54407" y="5594580"/>
              <a:ext cx="14288" cy="5556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311">
              <a:extLst>
                <a:ext uri="{FF2B5EF4-FFF2-40B4-BE49-F238E27FC236}">
                  <a16:creationId xmlns:a16="http://schemas.microsoft.com/office/drawing/2014/main" id="{A606092A-869F-4918-A68B-4930ABA3A0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22682" y="5519968"/>
              <a:ext cx="55563" cy="55563"/>
            </a:xfrm>
            <a:custGeom>
              <a:avLst/>
              <a:gdLst>
                <a:gd name="T0" fmla="*/ 64 w 106"/>
                <a:gd name="T1" fmla="*/ 1 h 106"/>
                <a:gd name="T2" fmla="*/ 83 w 106"/>
                <a:gd name="T3" fmla="*/ 9 h 106"/>
                <a:gd name="T4" fmla="*/ 97 w 106"/>
                <a:gd name="T5" fmla="*/ 23 h 106"/>
                <a:gd name="T6" fmla="*/ 105 w 106"/>
                <a:gd name="T7" fmla="*/ 42 h 106"/>
                <a:gd name="T8" fmla="*/ 105 w 106"/>
                <a:gd name="T9" fmla="*/ 64 h 106"/>
                <a:gd name="T10" fmla="*/ 97 w 106"/>
                <a:gd name="T11" fmla="*/ 83 h 106"/>
                <a:gd name="T12" fmla="*/ 83 w 106"/>
                <a:gd name="T13" fmla="*/ 97 h 106"/>
                <a:gd name="T14" fmla="*/ 64 w 106"/>
                <a:gd name="T15" fmla="*/ 105 h 106"/>
                <a:gd name="T16" fmla="*/ 42 w 106"/>
                <a:gd name="T17" fmla="*/ 105 h 106"/>
                <a:gd name="T18" fmla="*/ 23 w 106"/>
                <a:gd name="T19" fmla="*/ 97 h 106"/>
                <a:gd name="T20" fmla="*/ 9 w 106"/>
                <a:gd name="T21" fmla="*/ 83 h 106"/>
                <a:gd name="T22" fmla="*/ 1 w 106"/>
                <a:gd name="T23" fmla="*/ 64 h 106"/>
                <a:gd name="T24" fmla="*/ 1 w 106"/>
                <a:gd name="T25" fmla="*/ 42 h 106"/>
                <a:gd name="T26" fmla="*/ 9 w 106"/>
                <a:gd name="T27" fmla="*/ 23 h 106"/>
                <a:gd name="T28" fmla="*/ 23 w 106"/>
                <a:gd name="T29" fmla="*/ 9 h 106"/>
                <a:gd name="T30" fmla="*/ 42 w 106"/>
                <a:gd name="T31" fmla="*/ 1 h 106"/>
                <a:gd name="T32" fmla="*/ 54 w 106"/>
                <a:gd name="T33" fmla="*/ 28 h 106"/>
                <a:gd name="T34" fmla="*/ 63 w 106"/>
                <a:gd name="T35" fmla="*/ 31 h 106"/>
                <a:gd name="T36" fmla="*/ 72 w 106"/>
                <a:gd name="T37" fmla="*/ 36 h 106"/>
                <a:gd name="T38" fmla="*/ 77 w 106"/>
                <a:gd name="T39" fmla="*/ 43 h 106"/>
                <a:gd name="T40" fmla="*/ 78 w 106"/>
                <a:gd name="T41" fmla="*/ 54 h 106"/>
                <a:gd name="T42" fmla="*/ 77 w 106"/>
                <a:gd name="T43" fmla="*/ 63 h 106"/>
                <a:gd name="T44" fmla="*/ 72 w 106"/>
                <a:gd name="T45" fmla="*/ 72 h 106"/>
                <a:gd name="T46" fmla="*/ 63 w 106"/>
                <a:gd name="T47" fmla="*/ 77 h 106"/>
                <a:gd name="T48" fmla="*/ 54 w 106"/>
                <a:gd name="T49" fmla="*/ 78 h 106"/>
                <a:gd name="T50" fmla="*/ 43 w 106"/>
                <a:gd name="T51" fmla="*/ 77 h 106"/>
                <a:gd name="T52" fmla="*/ 36 w 106"/>
                <a:gd name="T53" fmla="*/ 72 h 106"/>
                <a:gd name="T54" fmla="*/ 31 w 106"/>
                <a:gd name="T55" fmla="*/ 63 h 106"/>
                <a:gd name="T56" fmla="*/ 28 w 106"/>
                <a:gd name="T57" fmla="*/ 54 h 106"/>
                <a:gd name="T58" fmla="*/ 31 w 106"/>
                <a:gd name="T59" fmla="*/ 43 h 106"/>
                <a:gd name="T60" fmla="*/ 36 w 106"/>
                <a:gd name="T61" fmla="*/ 36 h 106"/>
                <a:gd name="T62" fmla="*/ 43 w 106"/>
                <a:gd name="T63" fmla="*/ 31 h 106"/>
                <a:gd name="T64" fmla="*/ 54 w 106"/>
                <a:gd name="T65" fmla="*/ 2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" h="106">
                  <a:moveTo>
                    <a:pt x="54" y="0"/>
                  </a:moveTo>
                  <a:lnTo>
                    <a:pt x="64" y="1"/>
                  </a:lnTo>
                  <a:lnTo>
                    <a:pt x="74" y="4"/>
                  </a:lnTo>
                  <a:lnTo>
                    <a:pt x="83" y="9"/>
                  </a:lnTo>
                  <a:lnTo>
                    <a:pt x="91" y="15"/>
                  </a:lnTo>
                  <a:lnTo>
                    <a:pt x="97" y="23"/>
                  </a:lnTo>
                  <a:lnTo>
                    <a:pt x="102" y="32"/>
                  </a:lnTo>
                  <a:lnTo>
                    <a:pt x="105" y="42"/>
                  </a:lnTo>
                  <a:lnTo>
                    <a:pt x="106" y="54"/>
                  </a:lnTo>
                  <a:lnTo>
                    <a:pt x="105" y="64"/>
                  </a:lnTo>
                  <a:lnTo>
                    <a:pt x="102" y="74"/>
                  </a:lnTo>
                  <a:lnTo>
                    <a:pt x="97" y="83"/>
                  </a:lnTo>
                  <a:lnTo>
                    <a:pt x="91" y="91"/>
                  </a:lnTo>
                  <a:lnTo>
                    <a:pt x="83" y="97"/>
                  </a:lnTo>
                  <a:lnTo>
                    <a:pt x="74" y="102"/>
                  </a:lnTo>
                  <a:lnTo>
                    <a:pt x="64" y="105"/>
                  </a:lnTo>
                  <a:lnTo>
                    <a:pt x="54" y="106"/>
                  </a:lnTo>
                  <a:lnTo>
                    <a:pt x="42" y="105"/>
                  </a:lnTo>
                  <a:lnTo>
                    <a:pt x="33" y="102"/>
                  </a:lnTo>
                  <a:lnTo>
                    <a:pt x="23" y="97"/>
                  </a:lnTo>
                  <a:lnTo>
                    <a:pt x="15" y="91"/>
                  </a:lnTo>
                  <a:lnTo>
                    <a:pt x="9" y="83"/>
                  </a:lnTo>
                  <a:lnTo>
                    <a:pt x="4" y="74"/>
                  </a:lnTo>
                  <a:lnTo>
                    <a:pt x="1" y="64"/>
                  </a:lnTo>
                  <a:lnTo>
                    <a:pt x="0" y="54"/>
                  </a:lnTo>
                  <a:lnTo>
                    <a:pt x="1" y="42"/>
                  </a:lnTo>
                  <a:lnTo>
                    <a:pt x="4" y="32"/>
                  </a:lnTo>
                  <a:lnTo>
                    <a:pt x="9" y="23"/>
                  </a:lnTo>
                  <a:lnTo>
                    <a:pt x="15" y="15"/>
                  </a:lnTo>
                  <a:lnTo>
                    <a:pt x="23" y="9"/>
                  </a:lnTo>
                  <a:lnTo>
                    <a:pt x="33" y="4"/>
                  </a:lnTo>
                  <a:lnTo>
                    <a:pt x="42" y="1"/>
                  </a:lnTo>
                  <a:lnTo>
                    <a:pt x="54" y="0"/>
                  </a:lnTo>
                  <a:close/>
                  <a:moveTo>
                    <a:pt x="54" y="28"/>
                  </a:moveTo>
                  <a:lnTo>
                    <a:pt x="59" y="28"/>
                  </a:lnTo>
                  <a:lnTo>
                    <a:pt x="63" y="31"/>
                  </a:lnTo>
                  <a:lnTo>
                    <a:pt x="68" y="32"/>
                  </a:lnTo>
                  <a:lnTo>
                    <a:pt x="72" y="36"/>
                  </a:lnTo>
                  <a:lnTo>
                    <a:pt x="74" y="40"/>
                  </a:lnTo>
                  <a:lnTo>
                    <a:pt x="77" y="43"/>
                  </a:lnTo>
                  <a:lnTo>
                    <a:pt x="78" y="49"/>
                  </a:lnTo>
                  <a:lnTo>
                    <a:pt x="78" y="54"/>
                  </a:lnTo>
                  <a:lnTo>
                    <a:pt x="78" y="59"/>
                  </a:lnTo>
                  <a:lnTo>
                    <a:pt x="77" y="63"/>
                  </a:lnTo>
                  <a:lnTo>
                    <a:pt x="74" y="68"/>
                  </a:lnTo>
                  <a:lnTo>
                    <a:pt x="72" y="72"/>
                  </a:lnTo>
                  <a:lnTo>
                    <a:pt x="68" y="74"/>
                  </a:lnTo>
                  <a:lnTo>
                    <a:pt x="63" y="77"/>
                  </a:lnTo>
                  <a:lnTo>
                    <a:pt x="59" y="78"/>
                  </a:lnTo>
                  <a:lnTo>
                    <a:pt x="54" y="78"/>
                  </a:lnTo>
                  <a:lnTo>
                    <a:pt x="49" y="78"/>
                  </a:lnTo>
                  <a:lnTo>
                    <a:pt x="43" y="77"/>
                  </a:lnTo>
                  <a:lnTo>
                    <a:pt x="40" y="74"/>
                  </a:lnTo>
                  <a:lnTo>
                    <a:pt x="36" y="72"/>
                  </a:lnTo>
                  <a:lnTo>
                    <a:pt x="32" y="68"/>
                  </a:lnTo>
                  <a:lnTo>
                    <a:pt x="31" y="63"/>
                  </a:lnTo>
                  <a:lnTo>
                    <a:pt x="28" y="59"/>
                  </a:lnTo>
                  <a:lnTo>
                    <a:pt x="28" y="54"/>
                  </a:lnTo>
                  <a:lnTo>
                    <a:pt x="28" y="49"/>
                  </a:lnTo>
                  <a:lnTo>
                    <a:pt x="31" y="43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2"/>
                  </a:lnTo>
                  <a:lnTo>
                    <a:pt x="43" y="31"/>
                  </a:lnTo>
                  <a:lnTo>
                    <a:pt x="49" y="28"/>
                  </a:lnTo>
                  <a:lnTo>
                    <a:pt x="54" y="2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313">
              <a:extLst>
                <a:ext uri="{FF2B5EF4-FFF2-40B4-BE49-F238E27FC236}">
                  <a16:creationId xmlns:a16="http://schemas.microsoft.com/office/drawing/2014/main" id="{5496E24A-19DE-4B2B-923C-C6F01C9ED0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38507" y="5515205"/>
              <a:ext cx="55563" cy="57150"/>
            </a:xfrm>
            <a:custGeom>
              <a:avLst/>
              <a:gdLst>
                <a:gd name="T0" fmla="*/ 64 w 107"/>
                <a:gd name="T1" fmla="*/ 1 h 107"/>
                <a:gd name="T2" fmla="*/ 84 w 107"/>
                <a:gd name="T3" fmla="*/ 9 h 107"/>
                <a:gd name="T4" fmla="*/ 98 w 107"/>
                <a:gd name="T5" fmla="*/ 23 h 107"/>
                <a:gd name="T6" fmla="*/ 105 w 107"/>
                <a:gd name="T7" fmla="*/ 42 h 107"/>
                <a:gd name="T8" fmla="*/ 105 w 107"/>
                <a:gd name="T9" fmla="*/ 64 h 107"/>
                <a:gd name="T10" fmla="*/ 98 w 107"/>
                <a:gd name="T11" fmla="*/ 84 h 107"/>
                <a:gd name="T12" fmla="*/ 84 w 107"/>
                <a:gd name="T13" fmla="*/ 98 h 107"/>
                <a:gd name="T14" fmla="*/ 64 w 107"/>
                <a:gd name="T15" fmla="*/ 105 h 107"/>
                <a:gd name="T16" fmla="*/ 43 w 107"/>
                <a:gd name="T17" fmla="*/ 105 h 107"/>
                <a:gd name="T18" fmla="*/ 23 w 107"/>
                <a:gd name="T19" fmla="*/ 98 h 107"/>
                <a:gd name="T20" fmla="*/ 9 w 107"/>
                <a:gd name="T21" fmla="*/ 84 h 107"/>
                <a:gd name="T22" fmla="*/ 2 w 107"/>
                <a:gd name="T23" fmla="*/ 64 h 107"/>
                <a:gd name="T24" fmla="*/ 2 w 107"/>
                <a:gd name="T25" fmla="*/ 42 h 107"/>
                <a:gd name="T26" fmla="*/ 9 w 107"/>
                <a:gd name="T27" fmla="*/ 23 h 107"/>
                <a:gd name="T28" fmla="*/ 23 w 107"/>
                <a:gd name="T29" fmla="*/ 9 h 107"/>
                <a:gd name="T30" fmla="*/ 43 w 107"/>
                <a:gd name="T31" fmla="*/ 1 h 107"/>
                <a:gd name="T32" fmla="*/ 54 w 107"/>
                <a:gd name="T33" fmla="*/ 28 h 107"/>
                <a:gd name="T34" fmla="*/ 63 w 107"/>
                <a:gd name="T35" fmla="*/ 30 h 107"/>
                <a:gd name="T36" fmla="*/ 72 w 107"/>
                <a:gd name="T37" fmla="*/ 36 h 107"/>
                <a:gd name="T38" fmla="*/ 77 w 107"/>
                <a:gd name="T39" fmla="*/ 44 h 107"/>
                <a:gd name="T40" fmla="*/ 78 w 107"/>
                <a:gd name="T41" fmla="*/ 54 h 107"/>
                <a:gd name="T42" fmla="*/ 77 w 107"/>
                <a:gd name="T43" fmla="*/ 63 h 107"/>
                <a:gd name="T44" fmla="*/ 72 w 107"/>
                <a:gd name="T45" fmla="*/ 72 h 107"/>
                <a:gd name="T46" fmla="*/ 63 w 107"/>
                <a:gd name="T47" fmla="*/ 77 h 107"/>
                <a:gd name="T48" fmla="*/ 54 w 107"/>
                <a:gd name="T49" fmla="*/ 78 h 107"/>
                <a:gd name="T50" fmla="*/ 44 w 107"/>
                <a:gd name="T51" fmla="*/ 77 h 107"/>
                <a:gd name="T52" fmla="*/ 36 w 107"/>
                <a:gd name="T53" fmla="*/ 72 h 107"/>
                <a:gd name="T54" fmla="*/ 31 w 107"/>
                <a:gd name="T55" fmla="*/ 63 h 107"/>
                <a:gd name="T56" fmla="*/ 28 w 107"/>
                <a:gd name="T57" fmla="*/ 54 h 107"/>
                <a:gd name="T58" fmla="*/ 31 w 107"/>
                <a:gd name="T59" fmla="*/ 44 h 107"/>
                <a:gd name="T60" fmla="*/ 36 w 107"/>
                <a:gd name="T61" fmla="*/ 36 h 107"/>
                <a:gd name="T62" fmla="*/ 44 w 107"/>
                <a:gd name="T63" fmla="*/ 30 h 107"/>
                <a:gd name="T64" fmla="*/ 54 w 107"/>
                <a:gd name="T65" fmla="*/ 2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64" y="1"/>
                  </a:lnTo>
                  <a:lnTo>
                    <a:pt x="75" y="4"/>
                  </a:lnTo>
                  <a:lnTo>
                    <a:pt x="84" y="9"/>
                  </a:lnTo>
                  <a:lnTo>
                    <a:pt x="91" y="16"/>
                  </a:lnTo>
                  <a:lnTo>
                    <a:pt x="98" y="23"/>
                  </a:lnTo>
                  <a:lnTo>
                    <a:pt x="103" y="32"/>
                  </a:lnTo>
                  <a:lnTo>
                    <a:pt x="105" y="42"/>
                  </a:lnTo>
                  <a:lnTo>
                    <a:pt x="107" y="54"/>
                  </a:lnTo>
                  <a:lnTo>
                    <a:pt x="105" y="64"/>
                  </a:lnTo>
                  <a:lnTo>
                    <a:pt x="103" y="75"/>
                  </a:lnTo>
                  <a:lnTo>
                    <a:pt x="98" y="84"/>
                  </a:lnTo>
                  <a:lnTo>
                    <a:pt x="91" y="91"/>
                  </a:lnTo>
                  <a:lnTo>
                    <a:pt x="84" y="98"/>
                  </a:lnTo>
                  <a:lnTo>
                    <a:pt x="75" y="103"/>
                  </a:lnTo>
                  <a:lnTo>
                    <a:pt x="64" y="105"/>
                  </a:lnTo>
                  <a:lnTo>
                    <a:pt x="54" y="107"/>
                  </a:lnTo>
                  <a:lnTo>
                    <a:pt x="43" y="105"/>
                  </a:lnTo>
                  <a:lnTo>
                    <a:pt x="34" y="103"/>
                  </a:lnTo>
                  <a:lnTo>
                    <a:pt x="23" y="98"/>
                  </a:lnTo>
                  <a:lnTo>
                    <a:pt x="16" y="91"/>
                  </a:lnTo>
                  <a:lnTo>
                    <a:pt x="9" y="84"/>
                  </a:lnTo>
                  <a:lnTo>
                    <a:pt x="4" y="75"/>
                  </a:lnTo>
                  <a:lnTo>
                    <a:pt x="2" y="64"/>
                  </a:lnTo>
                  <a:lnTo>
                    <a:pt x="0" y="54"/>
                  </a:lnTo>
                  <a:lnTo>
                    <a:pt x="2" y="42"/>
                  </a:lnTo>
                  <a:lnTo>
                    <a:pt x="4" y="32"/>
                  </a:lnTo>
                  <a:lnTo>
                    <a:pt x="9" y="23"/>
                  </a:lnTo>
                  <a:lnTo>
                    <a:pt x="16" y="16"/>
                  </a:lnTo>
                  <a:lnTo>
                    <a:pt x="23" y="9"/>
                  </a:lnTo>
                  <a:lnTo>
                    <a:pt x="34" y="4"/>
                  </a:lnTo>
                  <a:lnTo>
                    <a:pt x="43" y="1"/>
                  </a:lnTo>
                  <a:lnTo>
                    <a:pt x="54" y="0"/>
                  </a:lnTo>
                  <a:close/>
                  <a:moveTo>
                    <a:pt x="54" y="28"/>
                  </a:moveTo>
                  <a:lnTo>
                    <a:pt x="59" y="28"/>
                  </a:lnTo>
                  <a:lnTo>
                    <a:pt x="63" y="30"/>
                  </a:lnTo>
                  <a:lnTo>
                    <a:pt x="68" y="32"/>
                  </a:lnTo>
                  <a:lnTo>
                    <a:pt x="72" y="36"/>
                  </a:lnTo>
                  <a:lnTo>
                    <a:pt x="75" y="40"/>
                  </a:lnTo>
                  <a:lnTo>
                    <a:pt x="77" y="44"/>
                  </a:lnTo>
                  <a:lnTo>
                    <a:pt x="78" y="49"/>
                  </a:lnTo>
                  <a:lnTo>
                    <a:pt x="78" y="54"/>
                  </a:lnTo>
                  <a:lnTo>
                    <a:pt x="78" y="59"/>
                  </a:lnTo>
                  <a:lnTo>
                    <a:pt x="77" y="63"/>
                  </a:lnTo>
                  <a:lnTo>
                    <a:pt x="75" y="68"/>
                  </a:lnTo>
                  <a:lnTo>
                    <a:pt x="72" y="72"/>
                  </a:lnTo>
                  <a:lnTo>
                    <a:pt x="68" y="75"/>
                  </a:lnTo>
                  <a:lnTo>
                    <a:pt x="63" y="77"/>
                  </a:lnTo>
                  <a:lnTo>
                    <a:pt x="59" y="78"/>
                  </a:lnTo>
                  <a:lnTo>
                    <a:pt x="54" y="78"/>
                  </a:lnTo>
                  <a:lnTo>
                    <a:pt x="49" y="78"/>
                  </a:lnTo>
                  <a:lnTo>
                    <a:pt x="44" y="77"/>
                  </a:lnTo>
                  <a:lnTo>
                    <a:pt x="40" y="75"/>
                  </a:lnTo>
                  <a:lnTo>
                    <a:pt x="36" y="72"/>
                  </a:lnTo>
                  <a:lnTo>
                    <a:pt x="32" y="68"/>
                  </a:lnTo>
                  <a:lnTo>
                    <a:pt x="31" y="63"/>
                  </a:lnTo>
                  <a:lnTo>
                    <a:pt x="28" y="59"/>
                  </a:lnTo>
                  <a:lnTo>
                    <a:pt x="28" y="54"/>
                  </a:lnTo>
                  <a:lnTo>
                    <a:pt x="28" y="49"/>
                  </a:lnTo>
                  <a:lnTo>
                    <a:pt x="31" y="44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2"/>
                  </a:lnTo>
                  <a:lnTo>
                    <a:pt x="44" y="30"/>
                  </a:lnTo>
                  <a:lnTo>
                    <a:pt x="49" y="28"/>
                  </a:lnTo>
                  <a:lnTo>
                    <a:pt x="54" y="2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314">
              <a:extLst>
                <a:ext uri="{FF2B5EF4-FFF2-40B4-BE49-F238E27FC236}">
                  <a16:creationId xmlns:a16="http://schemas.microsoft.com/office/drawing/2014/main" id="{AAEAE1FF-42F2-4BDD-817E-A7D86519A3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2182" y="5648555"/>
              <a:ext cx="57150" cy="57150"/>
            </a:xfrm>
            <a:custGeom>
              <a:avLst/>
              <a:gdLst>
                <a:gd name="T0" fmla="*/ 64 w 106"/>
                <a:gd name="T1" fmla="*/ 2 h 107"/>
                <a:gd name="T2" fmla="*/ 83 w 106"/>
                <a:gd name="T3" fmla="*/ 9 h 107"/>
                <a:gd name="T4" fmla="*/ 97 w 106"/>
                <a:gd name="T5" fmla="*/ 25 h 107"/>
                <a:gd name="T6" fmla="*/ 105 w 106"/>
                <a:gd name="T7" fmla="*/ 43 h 107"/>
                <a:gd name="T8" fmla="*/ 105 w 106"/>
                <a:gd name="T9" fmla="*/ 64 h 107"/>
                <a:gd name="T10" fmla="*/ 97 w 106"/>
                <a:gd name="T11" fmla="*/ 84 h 107"/>
                <a:gd name="T12" fmla="*/ 83 w 106"/>
                <a:gd name="T13" fmla="*/ 98 h 107"/>
                <a:gd name="T14" fmla="*/ 64 w 106"/>
                <a:gd name="T15" fmla="*/ 105 h 107"/>
                <a:gd name="T16" fmla="*/ 42 w 106"/>
                <a:gd name="T17" fmla="*/ 105 h 107"/>
                <a:gd name="T18" fmla="*/ 23 w 106"/>
                <a:gd name="T19" fmla="*/ 98 h 107"/>
                <a:gd name="T20" fmla="*/ 9 w 106"/>
                <a:gd name="T21" fmla="*/ 84 h 107"/>
                <a:gd name="T22" fmla="*/ 1 w 106"/>
                <a:gd name="T23" fmla="*/ 64 h 107"/>
                <a:gd name="T24" fmla="*/ 1 w 106"/>
                <a:gd name="T25" fmla="*/ 43 h 107"/>
                <a:gd name="T26" fmla="*/ 9 w 106"/>
                <a:gd name="T27" fmla="*/ 25 h 107"/>
                <a:gd name="T28" fmla="*/ 23 w 106"/>
                <a:gd name="T29" fmla="*/ 9 h 107"/>
                <a:gd name="T30" fmla="*/ 42 w 106"/>
                <a:gd name="T31" fmla="*/ 2 h 107"/>
                <a:gd name="T32" fmla="*/ 54 w 106"/>
                <a:gd name="T33" fmla="*/ 29 h 107"/>
                <a:gd name="T34" fmla="*/ 63 w 106"/>
                <a:gd name="T35" fmla="*/ 31 h 107"/>
                <a:gd name="T36" fmla="*/ 72 w 106"/>
                <a:gd name="T37" fmla="*/ 36 h 107"/>
                <a:gd name="T38" fmla="*/ 77 w 106"/>
                <a:gd name="T39" fmla="*/ 44 h 107"/>
                <a:gd name="T40" fmla="*/ 78 w 106"/>
                <a:gd name="T41" fmla="*/ 54 h 107"/>
                <a:gd name="T42" fmla="*/ 77 w 106"/>
                <a:gd name="T43" fmla="*/ 63 h 107"/>
                <a:gd name="T44" fmla="*/ 72 w 106"/>
                <a:gd name="T45" fmla="*/ 72 h 107"/>
                <a:gd name="T46" fmla="*/ 63 w 106"/>
                <a:gd name="T47" fmla="*/ 77 h 107"/>
                <a:gd name="T48" fmla="*/ 54 w 106"/>
                <a:gd name="T49" fmla="*/ 79 h 107"/>
                <a:gd name="T50" fmla="*/ 44 w 106"/>
                <a:gd name="T51" fmla="*/ 77 h 107"/>
                <a:gd name="T52" fmla="*/ 36 w 106"/>
                <a:gd name="T53" fmla="*/ 72 h 107"/>
                <a:gd name="T54" fmla="*/ 30 w 106"/>
                <a:gd name="T55" fmla="*/ 63 h 107"/>
                <a:gd name="T56" fmla="*/ 28 w 106"/>
                <a:gd name="T57" fmla="*/ 54 h 107"/>
                <a:gd name="T58" fmla="*/ 30 w 106"/>
                <a:gd name="T59" fmla="*/ 44 h 107"/>
                <a:gd name="T60" fmla="*/ 36 w 106"/>
                <a:gd name="T61" fmla="*/ 36 h 107"/>
                <a:gd name="T62" fmla="*/ 44 w 106"/>
                <a:gd name="T63" fmla="*/ 31 h 107"/>
                <a:gd name="T64" fmla="*/ 54 w 106"/>
                <a:gd name="T65" fmla="*/ 2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" h="107">
                  <a:moveTo>
                    <a:pt x="54" y="0"/>
                  </a:moveTo>
                  <a:lnTo>
                    <a:pt x="64" y="2"/>
                  </a:lnTo>
                  <a:lnTo>
                    <a:pt x="74" y="6"/>
                  </a:lnTo>
                  <a:lnTo>
                    <a:pt x="83" y="9"/>
                  </a:lnTo>
                  <a:lnTo>
                    <a:pt x="91" y="17"/>
                  </a:lnTo>
                  <a:lnTo>
                    <a:pt x="97" y="25"/>
                  </a:lnTo>
                  <a:lnTo>
                    <a:pt x="103" y="34"/>
                  </a:lnTo>
                  <a:lnTo>
                    <a:pt x="105" y="43"/>
                  </a:lnTo>
                  <a:lnTo>
                    <a:pt x="106" y="54"/>
                  </a:lnTo>
                  <a:lnTo>
                    <a:pt x="105" y="64"/>
                  </a:lnTo>
                  <a:lnTo>
                    <a:pt x="103" y="75"/>
                  </a:lnTo>
                  <a:lnTo>
                    <a:pt x="97" y="84"/>
                  </a:lnTo>
                  <a:lnTo>
                    <a:pt x="91" y="91"/>
                  </a:lnTo>
                  <a:lnTo>
                    <a:pt x="83" y="98"/>
                  </a:lnTo>
                  <a:lnTo>
                    <a:pt x="74" y="103"/>
                  </a:lnTo>
                  <a:lnTo>
                    <a:pt x="64" y="105"/>
                  </a:lnTo>
                  <a:lnTo>
                    <a:pt x="54" y="107"/>
                  </a:lnTo>
                  <a:lnTo>
                    <a:pt x="42" y="105"/>
                  </a:lnTo>
                  <a:lnTo>
                    <a:pt x="32" y="103"/>
                  </a:lnTo>
                  <a:lnTo>
                    <a:pt x="23" y="98"/>
                  </a:lnTo>
                  <a:lnTo>
                    <a:pt x="15" y="91"/>
                  </a:lnTo>
                  <a:lnTo>
                    <a:pt x="9" y="84"/>
                  </a:lnTo>
                  <a:lnTo>
                    <a:pt x="4" y="75"/>
                  </a:lnTo>
                  <a:lnTo>
                    <a:pt x="1" y="64"/>
                  </a:lnTo>
                  <a:lnTo>
                    <a:pt x="0" y="54"/>
                  </a:lnTo>
                  <a:lnTo>
                    <a:pt x="1" y="43"/>
                  </a:lnTo>
                  <a:lnTo>
                    <a:pt x="4" y="34"/>
                  </a:lnTo>
                  <a:lnTo>
                    <a:pt x="9" y="25"/>
                  </a:lnTo>
                  <a:lnTo>
                    <a:pt x="15" y="17"/>
                  </a:lnTo>
                  <a:lnTo>
                    <a:pt x="23" y="9"/>
                  </a:lnTo>
                  <a:lnTo>
                    <a:pt x="32" y="6"/>
                  </a:lnTo>
                  <a:lnTo>
                    <a:pt x="42" y="2"/>
                  </a:lnTo>
                  <a:lnTo>
                    <a:pt x="54" y="0"/>
                  </a:lnTo>
                  <a:close/>
                  <a:moveTo>
                    <a:pt x="54" y="29"/>
                  </a:moveTo>
                  <a:lnTo>
                    <a:pt x="59" y="30"/>
                  </a:lnTo>
                  <a:lnTo>
                    <a:pt x="63" y="31"/>
                  </a:lnTo>
                  <a:lnTo>
                    <a:pt x="68" y="34"/>
                  </a:lnTo>
                  <a:lnTo>
                    <a:pt x="72" y="36"/>
                  </a:lnTo>
                  <a:lnTo>
                    <a:pt x="74" y="40"/>
                  </a:lnTo>
                  <a:lnTo>
                    <a:pt x="77" y="44"/>
                  </a:lnTo>
                  <a:lnTo>
                    <a:pt x="78" y="49"/>
                  </a:lnTo>
                  <a:lnTo>
                    <a:pt x="78" y="54"/>
                  </a:lnTo>
                  <a:lnTo>
                    <a:pt x="78" y="59"/>
                  </a:lnTo>
                  <a:lnTo>
                    <a:pt x="77" y="63"/>
                  </a:lnTo>
                  <a:lnTo>
                    <a:pt x="74" y="68"/>
                  </a:lnTo>
                  <a:lnTo>
                    <a:pt x="72" y="72"/>
                  </a:lnTo>
                  <a:lnTo>
                    <a:pt x="68" y="75"/>
                  </a:lnTo>
                  <a:lnTo>
                    <a:pt x="63" y="77"/>
                  </a:lnTo>
                  <a:lnTo>
                    <a:pt x="59" y="79"/>
                  </a:lnTo>
                  <a:lnTo>
                    <a:pt x="54" y="79"/>
                  </a:lnTo>
                  <a:lnTo>
                    <a:pt x="49" y="79"/>
                  </a:lnTo>
                  <a:lnTo>
                    <a:pt x="44" y="77"/>
                  </a:lnTo>
                  <a:lnTo>
                    <a:pt x="40" y="75"/>
                  </a:lnTo>
                  <a:lnTo>
                    <a:pt x="36" y="72"/>
                  </a:lnTo>
                  <a:lnTo>
                    <a:pt x="32" y="68"/>
                  </a:lnTo>
                  <a:lnTo>
                    <a:pt x="30" y="63"/>
                  </a:lnTo>
                  <a:lnTo>
                    <a:pt x="28" y="59"/>
                  </a:lnTo>
                  <a:lnTo>
                    <a:pt x="28" y="54"/>
                  </a:lnTo>
                  <a:lnTo>
                    <a:pt x="28" y="49"/>
                  </a:lnTo>
                  <a:lnTo>
                    <a:pt x="30" y="44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4"/>
                  </a:lnTo>
                  <a:lnTo>
                    <a:pt x="44" y="31"/>
                  </a:lnTo>
                  <a:lnTo>
                    <a:pt x="49" y="30"/>
                  </a:lnTo>
                  <a:lnTo>
                    <a:pt x="54" y="2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Rectangle 315">
              <a:extLst>
                <a:ext uri="{FF2B5EF4-FFF2-40B4-BE49-F238E27FC236}">
                  <a16:creationId xmlns:a16="http://schemas.microsoft.com/office/drawing/2014/main" id="{0801EC66-7839-47D9-83B2-606FE17EE6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63907" y="5373918"/>
              <a:ext cx="14288" cy="1301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309">
              <a:extLst>
                <a:ext uri="{FF2B5EF4-FFF2-40B4-BE49-F238E27FC236}">
                  <a16:creationId xmlns:a16="http://schemas.microsoft.com/office/drawing/2014/main" id="{48F0B683-B95D-46FE-AD11-BB4335AEC0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8532" y="5175480"/>
              <a:ext cx="55563" cy="55563"/>
            </a:xfrm>
            <a:custGeom>
              <a:avLst/>
              <a:gdLst>
                <a:gd name="T0" fmla="*/ 64 w 107"/>
                <a:gd name="T1" fmla="*/ 1 h 106"/>
                <a:gd name="T2" fmla="*/ 82 w 107"/>
                <a:gd name="T3" fmla="*/ 8 h 106"/>
                <a:gd name="T4" fmla="*/ 98 w 107"/>
                <a:gd name="T5" fmla="*/ 23 h 106"/>
                <a:gd name="T6" fmla="*/ 105 w 107"/>
                <a:gd name="T7" fmla="*/ 42 h 106"/>
                <a:gd name="T8" fmla="*/ 105 w 107"/>
                <a:gd name="T9" fmla="*/ 64 h 106"/>
                <a:gd name="T10" fmla="*/ 98 w 107"/>
                <a:gd name="T11" fmla="*/ 83 h 106"/>
                <a:gd name="T12" fmla="*/ 82 w 107"/>
                <a:gd name="T13" fmla="*/ 97 h 106"/>
                <a:gd name="T14" fmla="*/ 64 w 107"/>
                <a:gd name="T15" fmla="*/ 105 h 106"/>
                <a:gd name="T16" fmla="*/ 43 w 107"/>
                <a:gd name="T17" fmla="*/ 105 h 106"/>
                <a:gd name="T18" fmla="*/ 23 w 107"/>
                <a:gd name="T19" fmla="*/ 97 h 106"/>
                <a:gd name="T20" fmla="*/ 9 w 107"/>
                <a:gd name="T21" fmla="*/ 83 h 106"/>
                <a:gd name="T22" fmla="*/ 2 w 107"/>
                <a:gd name="T23" fmla="*/ 64 h 106"/>
                <a:gd name="T24" fmla="*/ 2 w 107"/>
                <a:gd name="T25" fmla="*/ 42 h 106"/>
                <a:gd name="T26" fmla="*/ 9 w 107"/>
                <a:gd name="T27" fmla="*/ 23 h 106"/>
                <a:gd name="T28" fmla="*/ 23 w 107"/>
                <a:gd name="T29" fmla="*/ 8 h 106"/>
                <a:gd name="T30" fmla="*/ 43 w 107"/>
                <a:gd name="T31" fmla="*/ 1 h 106"/>
                <a:gd name="T32" fmla="*/ 53 w 107"/>
                <a:gd name="T33" fmla="*/ 28 h 106"/>
                <a:gd name="T34" fmla="*/ 63 w 107"/>
                <a:gd name="T35" fmla="*/ 29 h 106"/>
                <a:gd name="T36" fmla="*/ 71 w 107"/>
                <a:gd name="T37" fmla="*/ 35 h 106"/>
                <a:gd name="T38" fmla="*/ 76 w 107"/>
                <a:gd name="T39" fmla="*/ 43 h 106"/>
                <a:gd name="T40" fmla="*/ 78 w 107"/>
                <a:gd name="T41" fmla="*/ 52 h 106"/>
                <a:gd name="T42" fmla="*/ 76 w 107"/>
                <a:gd name="T43" fmla="*/ 62 h 106"/>
                <a:gd name="T44" fmla="*/ 71 w 107"/>
                <a:gd name="T45" fmla="*/ 70 h 106"/>
                <a:gd name="T46" fmla="*/ 63 w 107"/>
                <a:gd name="T47" fmla="*/ 76 h 106"/>
                <a:gd name="T48" fmla="*/ 53 w 107"/>
                <a:gd name="T49" fmla="*/ 78 h 106"/>
                <a:gd name="T50" fmla="*/ 44 w 107"/>
                <a:gd name="T51" fmla="*/ 76 h 106"/>
                <a:gd name="T52" fmla="*/ 35 w 107"/>
                <a:gd name="T53" fmla="*/ 70 h 106"/>
                <a:gd name="T54" fmla="*/ 30 w 107"/>
                <a:gd name="T55" fmla="*/ 62 h 106"/>
                <a:gd name="T56" fmla="*/ 27 w 107"/>
                <a:gd name="T57" fmla="*/ 52 h 106"/>
                <a:gd name="T58" fmla="*/ 30 w 107"/>
                <a:gd name="T59" fmla="*/ 43 h 106"/>
                <a:gd name="T60" fmla="*/ 35 w 107"/>
                <a:gd name="T61" fmla="*/ 35 h 106"/>
                <a:gd name="T62" fmla="*/ 44 w 107"/>
                <a:gd name="T63" fmla="*/ 29 h 106"/>
                <a:gd name="T64" fmla="*/ 53 w 107"/>
                <a:gd name="T65" fmla="*/ 2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7" h="106">
                  <a:moveTo>
                    <a:pt x="53" y="0"/>
                  </a:moveTo>
                  <a:lnTo>
                    <a:pt x="64" y="1"/>
                  </a:lnTo>
                  <a:lnTo>
                    <a:pt x="73" y="3"/>
                  </a:lnTo>
                  <a:lnTo>
                    <a:pt x="82" y="8"/>
                  </a:lnTo>
                  <a:lnTo>
                    <a:pt x="90" y="15"/>
                  </a:lnTo>
                  <a:lnTo>
                    <a:pt x="98" y="23"/>
                  </a:lnTo>
                  <a:lnTo>
                    <a:pt x="102" y="32"/>
                  </a:lnTo>
                  <a:lnTo>
                    <a:pt x="105" y="42"/>
                  </a:lnTo>
                  <a:lnTo>
                    <a:pt x="107" y="52"/>
                  </a:lnTo>
                  <a:lnTo>
                    <a:pt x="105" y="64"/>
                  </a:lnTo>
                  <a:lnTo>
                    <a:pt x="102" y="74"/>
                  </a:lnTo>
                  <a:lnTo>
                    <a:pt x="98" y="83"/>
                  </a:lnTo>
                  <a:lnTo>
                    <a:pt x="90" y="91"/>
                  </a:lnTo>
                  <a:lnTo>
                    <a:pt x="82" y="97"/>
                  </a:lnTo>
                  <a:lnTo>
                    <a:pt x="73" y="102"/>
                  </a:lnTo>
                  <a:lnTo>
                    <a:pt x="64" y="105"/>
                  </a:lnTo>
                  <a:lnTo>
                    <a:pt x="53" y="106"/>
                  </a:lnTo>
                  <a:lnTo>
                    <a:pt x="43" y="105"/>
                  </a:lnTo>
                  <a:lnTo>
                    <a:pt x="32" y="102"/>
                  </a:lnTo>
                  <a:lnTo>
                    <a:pt x="23" y="97"/>
                  </a:lnTo>
                  <a:lnTo>
                    <a:pt x="16" y="91"/>
                  </a:lnTo>
                  <a:lnTo>
                    <a:pt x="9" y="83"/>
                  </a:lnTo>
                  <a:lnTo>
                    <a:pt x="4" y="74"/>
                  </a:lnTo>
                  <a:lnTo>
                    <a:pt x="2" y="64"/>
                  </a:lnTo>
                  <a:lnTo>
                    <a:pt x="0" y="52"/>
                  </a:lnTo>
                  <a:lnTo>
                    <a:pt x="2" y="42"/>
                  </a:lnTo>
                  <a:lnTo>
                    <a:pt x="4" y="32"/>
                  </a:lnTo>
                  <a:lnTo>
                    <a:pt x="9" y="23"/>
                  </a:lnTo>
                  <a:lnTo>
                    <a:pt x="16" y="15"/>
                  </a:lnTo>
                  <a:lnTo>
                    <a:pt x="23" y="8"/>
                  </a:lnTo>
                  <a:lnTo>
                    <a:pt x="32" y="3"/>
                  </a:lnTo>
                  <a:lnTo>
                    <a:pt x="43" y="1"/>
                  </a:lnTo>
                  <a:lnTo>
                    <a:pt x="53" y="0"/>
                  </a:lnTo>
                  <a:close/>
                  <a:moveTo>
                    <a:pt x="53" y="28"/>
                  </a:moveTo>
                  <a:lnTo>
                    <a:pt x="58" y="28"/>
                  </a:lnTo>
                  <a:lnTo>
                    <a:pt x="63" y="29"/>
                  </a:lnTo>
                  <a:lnTo>
                    <a:pt x="67" y="32"/>
                  </a:lnTo>
                  <a:lnTo>
                    <a:pt x="71" y="35"/>
                  </a:lnTo>
                  <a:lnTo>
                    <a:pt x="73" y="38"/>
                  </a:lnTo>
                  <a:lnTo>
                    <a:pt x="76" y="43"/>
                  </a:lnTo>
                  <a:lnTo>
                    <a:pt x="77" y="47"/>
                  </a:lnTo>
                  <a:lnTo>
                    <a:pt x="78" y="52"/>
                  </a:lnTo>
                  <a:lnTo>
                    <a:pt x="77" y="57"/>
                  </a:lnTo>
                  <a:lnTo>
                    <a:pt x="76" y="62"/>
                  </a:lnTo>
                  <a:lnTo>
                    <a:pt x="73" y="66"/>
                  </a:lnTo>
                  <a:lnTo>
                    <a:pt x="71" y="70"/>
                  </a:lnTo>
                  <a:lnTo>
                    <a:pt x="67" y="74"/>
                  </a:lnTo>
                  <a:lnTo>
                    <a:pt x="63" y="76"/>
                  </a:lnTo>
                  <a:lnTo>
                    <a:pt x="58" y="78"/>
                  </a:lnTo>
                  <a:lnTo>
                    <a:pt x="53" y="78"/>
                  </a:lnTo>
                  <a:lnTo>
                    <a:pt x="48" y="78"/>
                  </a:lnTo>
                  <a:lnTo>
                    <a:pt x="44" y="76"/>
                  </a:lnTo>
                  <a:lnTo>
                    <a:pt x="39" y="74"/>
                  </a:lnTo>
                  <a:lnTo>
                    <a:pt x="35" y="70"/>
                  </a:lnTo>
                  <a:lnTo>
                    <a:pt x="32" y="66"/>
                  </a:lnTo>
                  <a:lnTo>
                    <a:pt x="30" y="62"/>
                  </a:lnTo>
                  <a:lnTo>
                    <a:pt x="28" y="57"/>
                  </a:lnTo>
                  <a:lnTo>
                    <a:pt x="27" y="52"/>
                  </a:lnTo>
                  <a:lnTo>
                    <a:pt x="28" y="47"/>
                  </a:lnTo>
                  <a:lnTo>
                    <a:pt x="30" y="43"/>
                  </a:lnTo>
                  <a:lnTo>
                    <a:pt x="32" y="38"/>
                  </a:lnTo>
                  <a:lnTo>
                    <a:pt x="35" y="35"/>
                  </a:lnTo>
                  <a:lnTo>
                    <a:pt x="39" y="32"/>
                  </a:lnTo>
                  <a:lnTo>
                    <a:pt x="44" y="29"/>
                  </a:lnTo>
                  <a:lnTo>
                    <a:pt x="48" y="28"/>
                  </a:lnTo>
                  <a:lnTo>
                    <a:pt x="53" y="2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312">
              <a:extLst>
                <a:ext uri="{FF2B5EF4-FFF2-40B4-BE49-F238E27FC236}">
                  <a16:creationId xmlns:a16="http://schemas.microsoft.com/office/drawing/2014/main" id="{6CF6BB2D-1144-48F8-BFED-5BC3B5CD9A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33744" y="5291368"/>
              <a:ext cx="55563" cy="57150"/>
            </a:xfrm>
            <a:custGeom>
              <a:avLst/>
              <a:gdLst>
                <a:gd name="T0" fmla="*/ 63 w 105"/>
                <a:gd name="T1" fmla="*/ 2 h 107"/>
                <a:gd name="T2" fmla="*/ 82 w 105"/>
                <a:gd name="T3" fmla="*/ 9 h 107"/>
                <a:gd name="T4" fmla="*/ 96 w 105"/>
                <a:gd name="T5" fmla="*/ 25 h 107"/>
                <a:gd name="T6" fmla="*/ 105 w 105"/>
                <a:gd name="T7" fmla="*/ 43 h 107"/>
                <a:gd name="T8" fmla="*/ 105 w 105"/>
                <a:gd name="T9" fmla="*/ 64 h 107"/>
                <a:gd name="T10" fmla="*/ 96 w 105"/>
                <a:gd name="T11" fmla="*/ 84 h 107"/>
                <a:gd name="T12" fmla="*/ 82 w 105"/>
                <a:gd name="T13" fmla="*/ 98 h 107"/>
                <a:gd name="T14" fmla="*/ 63 w 105"/>
                <a:gd name="T15" fmla="*/ 105 h 107"/>
                <a:gd name="T16" fmla="*/ 43 w 105"/>
                <a:gd name="T17" fmla="*/ 105 h 107"/>
                <a:gd name="T18" fmla="*/ 23 w 105"/>
                <a:gd name="T19" fmla="*/ 98 h 107"/>
                <a:gd name="T20" fmla="*/ 9 w 105"/>
                <a:gd name="T21" fmla="*/ 84 h 107"/>
                <a:gd name="T22" fmla="*/ 0 w 105"/>
                <a:gd name="T23" fmla="*/ 64 h 107"/>
                <a:gd name="T24" fmla="*/ 0 w 105"/>
                <a:gd name="T25" fmla="*/ 43 h 107"/>
                <a:gd name="T26" fmla="*/ 9 w 105"/>
                <a:gd name="T27" fmla="*/ 25 h 107"/>
                <a:gd name="T28" fmla="*/ 23 w 105"/>
                <a:gd name="T29" fmla="*/ 9 h 107"/>
                <a:gd name="T30" fmla="*/ 43 w 105"/>
                <a:gd name="T31" fmla="*/ 2 h 107"/>
                <a:gd name="T32" fmla="*/ 53 w 105"/>
                <a:gd name="T33" fmla="*/ 28 h 107"/>
                <a:gd name="T34" fmla="*/ 63 w 105"/>
                <a:gd name="T35" fmla="*/ 31 h 107"/>
                <a:gd name="T36" fmla="*/ 71 w 105"/>
                <a:gd name="T37" fmla="*/ 36 h 107"/>
                <a:gd name="T38" fmla="*/ 76 w 105"/>
                <a:gd name="T39" fmla="*/ 44 h 107"/>
                <a:gd name="T40" fmla="*/ 78 w 105"/>
                <a:gd name="T41" fmla="*/ 54 h 107"/>
                <a:gd name="T42" fmla="*/ 76 w 105"/>
                <a:gd name="T43" fmla="*/ 63 h 107"/>
                <a:gd name="T44" fmla="*/ 71 w 105"/>
                <a:gd name="T45" fmla="*/ 72 h 107"/>
                <a:gd name="T46" fmla="*/ 63 w 105"/>
                <a:gd name="T47" fmla="*/ 77 h 107"/>
                <a:gd name="T48" fmla="*/ 53 w 105"/>
                <a:gd name="T49" fmla="*/ 78 h 107"/>
                <a:gd name="T50" fmla="*/ 43 w 105"/>
                <a:gd name="T51" fmla="*/ 77 h 107"/>
                <a:gd name="T52" fmla="*/ 35 w 105"/>
                <a:gd name="T53" fmla="*/ 72 h 107"/>
                <a:gd name="T54" fmla="*/ 30 w 105"/>
                <a:gd name="T55" fmla="*/ 63 h 107"/>
                <a:gd name="T56" fmla="*/ 27 w 105"/>
                <a:gd name="T57" fmla="*/ 54 h 107"/>
                <a:gd name="T58" fmla="*/ 30 w 105"/>
                <a:gd name="T59" fmla="*/ 44 h 107"/>
                <a:gd name="T60" fmla="*/ 35 w 105"/>
                <a:gd name="T61" fmla="*/ 36 h 107"/>
                <a:gd name="T62" fmla="*/ 43 w 105"/>
                <a:gd name="T63" fmla="*/ 31 h 107"/>
                <a:gd name="T64" fmla="*/ 53 w 105"/>
                <a:gd name="T65" fmla="*/ 2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107">
                  <a:moveTo>
                    <a:pt x="53" y="0"/>
                  </a:moveTo>
                  <a:lnTo>
                    <a:pt x="63" y="2"/>
                  </a:lnTo>
                  <a:lnTo>
                    <a:pt x="73" y="5"/>
                  </a:lnTo>
                  <a:lnTo>
                    <a:pt x="82" y="9"/>
                  </a:lnTo>
                  <a:lnTo>
                    <a:pt x="90" y="16"/>
                  </a:lnTo>
                  <a:lnTo>
                    <a:pt x="96" y="25"/>
                  </a:lnTo>
                  <a:lnTo>
                    <a:pt x="102" y="34"/>
                  </a:lnTo>
                  <a:lnTo>
                    <a:pt x="105" y="43"/>
                  </a:lnTo>
                  <a:lnTo>
                    <a:pt x="105" y="54"/>
                  </a:lnTo>
                  <a:lnTo>
                    <a:pt x="105" y="64"/>
                  </a:lnTo>
                  <a:lnTo>
                    <a:pt x="102" y="75"/>
                  </a:lnTo>
                  <a:lnTo>
                    <a:pt x="96" y="84"/>
                  </a:lnTo>
                  <a:lnTo>
                    <a:pt x="90" y="91"/>
                  </a:lnTo>
                  <a:lnTo>
                    <a:pt x="82" y="98"/>
                  </a:lnTo>
                  <a:lnTo>
                    <a:pt x="73" y="103"/>
                  </a:lnTo>
                  <a:lnTo>
                    <a:pt x="63" y="105"/>
                  </a:lnTo>
                  <a:lnTo>
                    <a:pt x="53" y="107"/>
                  </a:lnTo>
                  <a:lnTo>
                    <a:pt x="43" y="105"/>
                  </a:lnTo>
                  <a:lnTo>
                    <a:pt x="32" y="103"/>
                  </a:lnTo>
                  <a:lnTo>
                    <a:pt x="23" y="98"/>
                  </a:lnTo>
                  <a:lnTo>
                    <a:pt x="16" y="91"/>
                  </a:lnTo>
                  <a:lnTo>
                    <a:pt x="9" y="84"/>
                  </a:lnTo>
                  <a:lnTo>
                    <a:pt x="4" y="75"/>
                  </a:lnTo>
                  <a:lnTo>
                    <a:pt x="0" y="64"/>
                  </a:lnTo>
                  <a:lnTo>
                    <a:pt x="0" y="54"/>
                  </a:lnTo>
                  <a:lnTo>
                    <a:pt x="0" y="43"/>
                  </a:lnTo>
                  <a:lnTo>
                    <a:pt x="4" y="34"/>
                  </a:lnTo>
                  <a:lnTo>
                    <a:pt x="9" y="25"/>
                  </a:lnTo>
                  <a:lnTo>
                    <a:pt x="16" y="16"/>
                  </a:lnTo>
                  <a:lnTo>
                    <a:pt x="23" y="9"/>
                  </a:lnTo>
                  <a:lnTo>
                    <a:pt x="32" y="5"/>
                  </a:lnTo>
                  <a:lnTo>
                    <a:pt x="43" y="2"/>
                  </a:lnTo>
                  <a:lnTo>
                    <a:pt x="53" y="0"/>
                  </a:lnTo>
                  <a:close/>
                  <a:moveTo>
                    <a:pt x="53" y="28"/>
                  </a:moveTo>
                  <a:lnTo>
                    <a:pt x="58" y="28"/>
                  </a:lnTo>
                  <a:lnTo>
                    <a:pt x="63" y="31"/>
                  </a:lnTo>
                  <a:lnTo>
                    <a:pt x="67" y="32"/>
                  </a:lnTo>
                  <a:lnTo>
                    <a:pt x="71" y="36"/>
                  </a:lnTo>
                  <a:lnTo>
                    <a:pt x="73" y="40"/>
                  </a:lnTo>
                  <a:lnTo>
                    <a:pt x="76" y="44"/>
                  </a:lnTo>
                  <a:lnTo>
                    <a:pt x="77" y="49"/>
                  </a:lnTo>
                  <a:lnTo>
                    <a:pt x="78" y="54"/>
                  </a:lnTo>
                  <a:lnTo>
                    <a:pt x="77" y="59"/>
                  </a:lnTo>
                  <a:lnTo>
                    <a:pt x="76" y="63"/>
                  </a:lnTo>
                  <a:lnTo>
                    <a:pt x="73" y="68"/>
                  </a:lnTo>
                  <a:lnTo>
                    <a:pt x="71" y="72"/>
                  </a:lnTo>
                  <a:lnTo>
                    <a:pt x="67" y="75"/>
                  </a:lnTo>
                  <a:lnTo>
                    <a:pt x="63" y="77"/>
                  </a:lnTo>
                  <a:lnTo>
                    <a:pt x="58" y="78"/>
                  </a:lnTo>
                  <a:lnTo>
                    <a:pt x="53" y="78"/>
                  </a:lnTo>
                  <a:lnTo>
                    <a:pt x="48" y="78"/>
                  </a:lnTo>
                  <a:lnTo>
                    <a:pt x="43" y="77"/>
                  </a:lnTo>
                  <a:lnTo>
                    <a:pt x="39" y="75"/>
                  </a:lnTo>
                  <a:lnTo>
                    <a:pt x="35" y="72"/>
                  </a:lnTo>
                  <a:lnTo>
                    <a:pt x="32" y="68"/>
                  </a:lnTo>
                  <a:lnTo>
                    <a:pt x="30" y="63"/>
                  </a:lnTo>
                  <a:lnTo>
                    <a:pt x="29" y="59"/>
                  </a:lnTo>
                  <a:lnTo>
                    <a:pt x="27" y="54"/>
                  </a:lnTo>
                  <a:lnTo>
                    <a:pt x="29" y="49"/>
                  </a:lnTo>
                  <a:lnTo>
                    <a:pt x="30" y="44"/>
                  </a:lnTo>
                  <a:lnTo>
                    <a:pt x="32" y="40"/>
                  </a:lnTo>
                  <a:lnTo>
                    <a:pt x="35" y="36"/>
                  </a:lnTo>
                  <a:lnTo>
                    <a:pt x="39" y="32"/>
                  </a:lnTo>
                  <a:lnTo>
                    <a:pt x="43" y="31"/>
                  </a:lnTo>
                  <a:lnTo>
                    <a:pt x="48" y="28"/>
                  </a:lnTo>
                  <a:lnTo>
                    <a:pt x="53" y="2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316">
              <a:extLst>
                <a:ext uri="{FF2B5EF4-FFF2-40B4-BE49-F238E27FC236}">
                  <a16:creationId xmlns:a16="http://schemas.microsoft.com/office/drawing/2014/main" id="{4ED76F80-741E-4A43-ABD5-C185ABE2E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9944" y="5218343"/>
              <a:ext cx="107950" cy="85725"/>
            </a:xfrm>
            <a:custGeom>
              <a:avLst/>
              <a:gdLst>
                <a:gd name="T0" fmla="*/ 0 w 206"/>
                <a:gd name="T1" fmla="*/ 142 h 162"/>
                <a:gd name="T2" fmla="*/ 191 w 206"/>
                <a:gd name="T3" fmla="*/ 0 h 162"/>
                <a:gd name="T4" fmla="*/ 206 w 206"/>
                <a:gd name="T5" fmla="*/ 20 h 162"/>
                <a:gd name="T6" fmla="*/ 15 w 206"/>
                <a:gd name="T7" fmla="*/ 162 h 162"/>
                <a:gd name="T8" fmla="*/ 0 w 206"/>
                <a:gd name="T9" fmla="*/ 14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162">
                  <a:moveTo>
                    <a:pt x="0" y="142"/>
                  </a:moveTo>
                  <a:lnTo>
                    <a:pt x="191" y="0"/>
                  </a:lnTo>
                  <a:lnTo>
                    <a:pt x="206" y="20"/>
                  </a:lnTo>
                  <a:lnTo>
                    <a:pt x="15" y="162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eform 317">
              <a:extLst>
                <a:ext uri="{FF2B5EF4-FFF2-40B4-BE49-F238E27FC236}">
                  <a16:creationId xmlns:a16="http://schemas.microsoft.com/office/drawing/2014/main" id="{4FDDC1C8-A5C4-4574-A103-2F9345845D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8382" y="5221518"/>
              <a:ext cx="112713" cy="84138"/>
            </a:xfrm>
            <a:custGeom>
              <a:avLst/>
              <a:gdLst>
                <a:gd name="T0" fmla="*/ 196 w 211"/>
                <a:gd name="T1" fmla="*/ 160 h 160"/>
                <a:gd name="T2" fmla="*/ 0 w 211"/>
                <a:gd name="T3" fmla="*/ 22 h 160"/>
                <a:gd name="T4" fmla="*/ 15 w 211"/>
                <a:gd name="T5" fmla="*/ 0 h 160"/>
                <a:gd name="T6" fmla="*/ 211 w 211"/>
                <a:gd name="T7" fmla="*/ 138 h 160"/>
                <a:gd name="T8" fmla="*/ 196 w 211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160">
                  <a:moveTo>
                    <a:pt x="196" y="160"/>
                  </a:moveTo>
                  <a:lnTo>
                    <a:pt x="0" y="22"/>
                  </a:lnTo>
                  <a:lnTo>
                    <a:pt x="15" y="0"/>
                  </a:lnTo>
                  <a:lnTo>
                    <a:pt x="211" y="138"/>
                  </a:lnTo>
                  <a:lnTo>
                    <a:pt x="196" y="16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318">
              <a:extLst>
                <a:ext uri="{FF2B5EF4-FFF2-40B4-BE49-F238E27FC236}">
                  <a16:creationId xmlns:a16="http://schemas.microsoft.com/office/drawing/2014/main" id="{6983AF4E-AF90-46BE-9F10-A1B2F0382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5182" y="5575530"/>
              <a:ext cx="111125" cy="77788"/>
            </a:xfrm>
            <a:custGeom>
              <a:avLst/>
              <a:gdLst>
                <a:gd name="T0" fmla="*/ 15 w 209"/>
                <a:gd name="T1" fmla="*/ 0 h 147"/>
                <a:gd name="T2" fmla="*/ 209 w 209"/>
                <a:gd name="T3" fmla="*/ 125 h 147"/>
                <a:gd name="T4" fmla="*/ 195 w 209"/>
                <a:gd name="T5" fmla="*/ 147 h 147"/>
                <a:gd name="T6" fmla="*/ 0 w 209"/>
                <a:gd name="T7" fmla="*/ 21 h 147"/>
                <a:gd name="T8" fmla="*/ 15 w 209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147">
                  <a:moveTo>
                    <a:pt x="15" y="0"/>
                  </a:moveTo>
                  <a:lnTo>
                    <a:pt x="209" y="125"/>
                  </a:lnTo>
                  <a:lnTo>
                    <a:pt x="195" y="147"/>
                  </a:lnTo>
                  <a:lnTo>
                    <a:pt x="0" y="21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Freeform 319">
              <a:extLst>
                <a:ext uri="{FF2B5EF4-FFF2-40B4-BE49-F238E27FC236}">
                  <a16:creationId xmlns:a16="http://schemas.microsoft.com/office/drawing/2014/main" id="{D5A63C4C-3C23-4C55-A733-23872D8D5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5207" y="5578705"/>
              <a:ext cx="106363" cy="76200"/>
            </a:xfrm>
            <a:custGeom>
              <a:avLst/>
              <a:gdLst>
                <a:gd name="T0" fmla="*/ 0 w 201"/>
                <a:gd name="T1" fmla="*/ 125 h 145"/>
                <a:gd name="T2" fmla="*/ 187 w 201"/>
                <a:gd name="T3" fmla="*/ 0 h 145"/>
                <a:gd name="T4" fmla="*/ 201 w 201"/>
                <a:gd name="T5" fmla="*/ 21 h 145"/>
                <a:gd name="T6" fmla="*/ 14 w 201"/>
                <a:gd name="T7" fmla="*/ 145 h 145"/>
                <a:gd name="T8" fmla="*/ 0 w 201"/>
                <a:gd name="T9" fmla="*/ 12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145">
                  <a:moveTo>
                    <a:pt x="0" y="125"/>
                  </a:moveTo>
                  <a:lnTo>
                    <a:pt x="187" y="0"/>
                  </a:lnTo>
                  <a:lnTo>
                    <a:pt x="201" y="21"/>
                  </a:lnTo>
                  <a:lnTo>
                    <a:pt x="14" y="145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Rectangle 320">
              <a:extLst>
                <a:ext uri="{FF2B5EF4-FFF2-40B4-BE49-F238E27FC236}">
                  <a16:creationId xmlns:a16="http://schemas.microsoft.com/office/drawing/2014/main" id="{B47836E4-CDA5-4D83-B927-496071F38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46494" y="5385030"/>
              <a:ext cx="14288" cy="1111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eform 307">
              <a:extLst>
                <a:ext uri="{FF2B5EF4-FFF2-40B4-BE49-F238E27FC236}">
                  <a16:creationId xmlns:a16="http://schemas.microsoft.com/office/drawing/2014/main" id="{02B25F80-29AA-40E3-A2DC-BA227B52E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9782" y="5327880"/>
              <a:ext cx="50800" cy="38100"/>
            </a:xfrm>
            <a:custGeom>
              <a:avLst/>
              <a:gdLst>
                <a:gd name="T0" fmla="*/ 14 w 96"/>
                <a:gd name="T1" fmla="*/ 0 h 72"/>
                <a:gd name="T2" fmla="*/ 96 w 96"/>
                <a:gd name="T3" fmla="*/ 50 h 72"/>
                <a:gd name="T4" fmla="*/ 82 w 96"/>
                <a:gd name="T5" fmla="*/ 72 h 72"/>
                <a:gd name="T6" fmla="*/ 0 w 96"/>
                <a:gd name="T7" fmla="*/ 23 h 72"/>
                <a:gd name="T8" fmla="*/ 14 w 96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72">
                  <a:moveTo>
                    <a:pt x="14" y="0"/>
                  </a:moveTo>
                  <a:lnTo>
                    <a:pt x="96" y="50"/>
                  </a:lnTo>
                  <a:lnTo>
                    <a:pt x="82" y="72"/>
                  </a:lnTo>
                  <a:lnTo>
                    <a:pt x="0" y="2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308">
              <a:extLst>
                <a:ext uri="{FF2B5EF4-FFF2-40B4-BE49-F238E27FC236}">
                  <a16:creationId xmlns:a16="http://schemas.microsoft.com/office/drawing/2014/main" id="{16CCA231-DA57-4559-A4AC-104B329A23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4107" y="5334230"/>
              <a:ext cx="50800" cy="38100"/>
            </a:xfrm>
            <a:custGeom>
              <a:avLst/>
              <a:gdLst>
                <a:gd name="T0" fmla="*/ 0 w 97"/>
                <a:gd name="T1" fmla="*/ 50 h 71"/>
                <a:gd name="T2" fmla="*/ 85 w 97"/>
                <a:gd name="T3" fmla="*/ 0 h 71"/>
                <a:gd name="T4" fmla="*/ 97 w 97"/>
                <a:gd name="T5" fmla="*/ 21 h 71"/>
                <a:gd name="T6" fmla="*/ 13 w 97"/>
                <a:gd name="T7" fmla="*/ 71 h 71"/>
                <a:gd name="T8" fmla="*/ 0 w 97"/>
                <a:gd name="T9" fmla="*/ 5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71">
                  <a:moveTo>
                    <a:pt x="0" y="50"/>
                  </a:moveTo>
                  <a:lnTo>
                    <a:pt x="85" y="0"/>
                  </a:lnTo>
                  <a:lnTo>
                    <a:pt x="97" y="21"/>
                  </a:lnTo>
                  <a:lnTo>
                    <a:pt x="13" y="71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310">
              <a:extLst>
                <a:ext uri="{FF2B5EF4-FFF2-40B4-BE49-F238E27FC236}">
                  <a16:creationId xmlns:a16="http://schemas.microsoft.com/office/drawing/2014/main" id="{A09BAB04-F127-4013-87F3-6064E91DF6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33794" y="5300893"/>
              <a:ext cx="57150" cy="55563"/>
            </a:xfrm>
            <a:custGeom>
              <a:avLst/>
              <a:gdLst>
                <a:gd name="T0" fmla="*/ 64 w 106"/>
                <a:gd name="T1" fmla="*/ 1 h 106"/>
                <a:gd name="T2" fmla="*/ 83 w 106"/>
                <a:gd name="T3" fmla="*/ 10 h 106"/>
                <a:gd name="T4" fmla="*/ 97 w 106"/>
                <a:gd name="T5" fmla="*/ 24 h 106"/>
                <a:gd name="T6" fmla="*/ 105 w 106"/>
                <a:gd name="T7" fmla="*/ 43 h 106"/>
                <a:gd name="T8" fmla="*/ 105 w 106"/>
                <a:gd name="T9" fmla="*/ 64 h 106"/>
                <a:gd name="T10" fmla="*/ 97 w 106"/>
                <a:gd name="T11" fmla="*/ 83 h 106"/>
                <a:gd name="T12" fmla="*/ 83 w 106"/>
                <a:gd name="T13" fmla="*/ 97 h 106"/>
                <a:gd name="T14" fmla="*/ 64 w 106"/>
                <a:gd name="T15" fmla="*/ 105 h 106"/>
                <a:gd name="T16" fmla="*/ 42 w 106"/>
                <a:gd name="T17" fmla="*/ 105 h 106"/>
                <a:gd name="T18" fmla="*/ 23 w 106"/>
                <a:gd name="T19" fmla="*/ 97 h 106"/>
                <a:gd name="T20" fmla="*/ 9 w 106"/>
                <a:gd name="T21" fmla="*/ 83 h 106"/>
                <a:gd name="T22" fmla="*/ 1 w 106"/>
                <a:gd name="T23" fmla="*/ 64 h 106"/>
                <a:gd name="T24" fmla="*/ 1 w 106"/>
                <a:gd name="T25" fmla="*/ 43 h 106"/>
                <a:gd name="T26" fmla="*/ 9 w 106"/>
                <a:gd name="T27" fmla="*/ 24 h 106"/>
                <a:gd name="T28" fmla="*/ 23 w 106"/>
                <a:gd name="T29" fmla="*/ 10 h 106"/>
                <a:gd name="T30" fmla="*/ 42 w 106"/>
                <a:gd name="T31" fmla="*/ 1 h 106"/>
                <a:gd name="T32" fmla="*/ 53 w 106"/>
                <a:gd name="T33" fmla="*/ 28 h 106"/>
                <a:gd name="T34" fmla="*/ 62 w 106"/>
                <a:gd name="T35" fmla="*/ 30 h 106"/>
                <a:gd name="T36" fmla="*/ 70 w 106"/>
                <a:gd name="T37" fmla="*/ 36 h 106"/>
                <a:gd name="T38" fmla="*/ 77 w 106"/>
                <a:gd name="T39" fmla="*/ 43 h 106"/>
                <a:gd name="T40" fmla="*/ 78 w 106"/>
                <a:gd name="T41" fmla="*/ 53 h 106"/>
                <a:gd name="T42" fmla="*/ 77 w 106"/>
                <a:gd name="T43" fmla="*/ 64 h 106"/>
                <a:gd name="T44" fmla="*/ 70 w 106"/>
                <a:gd name="T45" fmla="*/ 71 h 106"/>
                <a:gd name="T46" fmla="*/ 62 w 106"/>
                <a:gd name="T47" fmla="*/ 77 h 106"/>
                <a:gd name="T48" fmla="*/ 53 w 106"/>
                <a:gd name="T49" fmla="*/ 79 h 106"/>
                <a:gd name="T50" fmla="*/ 43 w 106"/>
                <a:gd name="T51" fmla="*/ 77 h 106"/>
                <a:gd name="T52" fmla="*/ 36 w 106"/>
                <a:gd name="T53" fmla="*/ 71 h 106"/>
                <a:gd name="T54" fmla="*/ 29 w 106"/>
                <a:gd name="T55" fmla="*/ 64 h 106"/>
                <a:gd name="T56" fmla="*/ 28 w 106"/>
                <a:gd name="T57" fmla="*/ 53 h 106"/>
                <a:gd name="T58" fmla="*/ 29 w 106"/>
                <a:gd name="T59" fmla="*/ 43 h 106"/>
                <a:gd name="T60" fmla="*/ 36 w 106"/>
                <a:gd name="T61" fmla="*/ 36 h 106"/>
                <a:gd name="T62" fmla="*/ 43 w 106"/>
                <a:gd name="T63" fmla="*/ 30 h 106"/>
                <a:gd name="T64" fmla="*/ 53 w 106"/>
                <a:gd name="T65" fmla="*/ 2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" h="106">
                  <a:moveTo>
                    <a:pt x="53" y="0"/>
                  </a:moveTo>
                  <a:lnTo>
                    <a:pt x="64" y="1"/>
                  </a:lnTo>
                  <a:lnTo>
                    <a:pt x="74" y="5"/>
                  </a:lnTo>
                  <a:lnTo>
                    <a:pt x="83" y="10"/>
                  </a:lnTo>
                  <a:lnTo>
                    <a:pt x="91" y="16"/>
                  </a:lnTo>
                  <a:lnTo>
                    <a:pt x="97" y="24"/>
                  </a:lnTo>
                  <a:lnTo>
                    <a:pt x="102" y="33"/>
                  </a:lnTo>
                  <a:lnTo>
                    <a:pt x="105" y="43"/>
                  </a:lnTo>
                  <a:lnTo>
                    <a:pt x="106" y="53"/>
                  </a:lnTo>
                  <a:lnTo>
                    <a:pt x="105" y="64"/>
                  </a:lnTo>
                  <a:lnTo>
                    <a:pt x="102" y="74"/>
                  </a:lnTo>
                  <a:lnTo>
                    <a:pt x="97" y="83"/>
                  </a:lnTo>
                  <a:lnTo>
                    <a:pt x="91" y="91"/>
                  </a:lnTo>
                  <a:lnTo>
                    <a:pt x="83" y="97"/>
                  </a:lnTo>
                  <a:lnTo>
                    <a:pt x="74" y="102"/>
                  </a:lnTo>
                  <a:lnTo>
                    <a:pt x="64" y="105"/>
                  </a:lnTo>
                  <a:lnTo>
                    <a:pt x="53" y="106"/>
                  </a:lnTo>
                  <a:lnTo>
                    <a:pt x="42" y="105"/>
                  </a:lnTo>
                  <a:lnTo>
                    <a:pt x="32" y="102"/>
                  </a:lnTo>
                  <a:lnTo>
                    <a:pt x="23" y="97"/>
                  </a:lnTo>
                  <a:lnTo>
                    <a:pt x="15" y="91"/>
                  </a:lnTo>
                  <a:lnTo>
                    <a:pt x="9" y="83"/>
                  </a:lnTo>
                  <a:lnTo>
                    <a:pt x="3" y="74"/>
                  </a:lnTo>
                  <a:lnTo>
                    <a:pt x="1" y="64"/>
                  </a:lnTo>
                  <a:lnTo>
                    <a:pt x="0" y="53"/>
                  </a:lnTo>
                  <a:lnTo>
                    <a:pt x="1" y="43"/>
                  </a:lnTo>
                  <a:lnTo>
                    <a:pt x="3" y="33"/>
                  </a:lnTo>
                  <a:lnTo>
                    <a:pt x="9" y="24"/>
                  </a:lnTo>
                  <a:lnTo>
                    <a:pt x="15" y="16"/>
                  </a:lnTo>
                  <a:lnTo>
                    <a:pt x="23" y="10"/>
                  </a:lnTo>
                  <a:lnTo>
                    <a:pt x="32" y="5"/>
                  </a:lnTo>
                  <a:lnTo>
                    <a:pt x="42" y="1"/>
                  </a:lnTo>
                  <a:lnTo>
                    <a:pt x="53" y="0"/>
                  </a:lnTo>
                  <a:close/>
                  <a:moveTo>
                    <a:pt x="53" y="28"/>
                  </a:moveTo>
                  <a:lnTo>
                    <a:pt x="57" y="29"/>
                  </a:lnTo>
                  <a:lnTo>
                    <a:pt x="62" y="30"/>
                  </a:lnTo>
                  <a:lnTo>
                    <a:pt x="68" y="33"/>
                  </a:lnTo>
                  <a:lnTo>
                    <a:pt x="70" y="36"/>
                  </a:lnTo>
                  <a:lnTo>
                    <a:pt x="74" y="39"/>
                  </a:lnTo>
                  <a:lnTo>
                    <a:pt x="77" y="43"/>
                  </a:lnTo>
                  <a:lnTo>
                    <a:pt x="78" y="48"/>
                  </a:lnTo>
                  <a:lnTo>
                    <a:pt x="78" y="53"/>
                  </a:lnTo>
                  <a:lnTo>
                    <a:pt x="78" y="59"/>
                  </a:lnTo>
                  <a:lnTo>
                    <a:pt x="77" y="64"/>
                  </a:lnTo>
                  <a:lnTo>
                    <a:pt x="74" y="68"/>
                  </a:lnTo>
                  <a:lnTo>
                    <a:pt x="70" y="71"/>
                  </a:lnTo>
                  <a:lnTo>
                    <a:pt x="68" y="74"/>
                  </a:lnTo>
                  <a:lnTo>
                    <a:pt x="62" y="77"/>
                  </a:lnTo>
                  <a:lnTo>
                    <a:pt x="57" y="78"/>
                  </a:lnTo>
                  <a:lnTo>
                    <a:pt x="53" y="79"/>
                  </a:lnTo>
                  <a:lnTo>
                    <a:pt x="48" y="78"/>
                  </a:lnTo>
                  <a:lnTo>
                    <a:pt x="43" y="77"/>
                  </a:lnTo>
                  <a:lnTo>
                    <a:pt x="39" y="74"/>
                  </a:lnTo>
                  <a:lnTo>
                    <a:pt x="36" y="71"/>
                  </a:lnTo>
                  <a:lnTo>
                    <a:pt x="32" y="68"/>
                  </a:lnTo>
                  <a:lnTo>
                    <a:pt x="29" y="64"/>
                  </a:lnTo>
                  <a:lnTo>
                    <a:pt x="28" y="59"/>
                  </a:lnTo>
                  <a:lnTo>
                    <a:pt x="28" y="53"/>
                  </a:lnTo>
                  <a:lnTo>
                    <a:pt x="28" y="48"/>
                  </a:lnTo>
                  <a:lnTo>
                    <a:pt x="29" y="43"/>
                  </a:lnTo>
                  <a:lnTo>
                    <a:pt x="32" y="39"/>
                  </a:lnTo>
                  <a:lnTo>
                    <a:pt x="36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8" y="29"/>
                  </a:lnTo>
                  <a:lnTo>
                    <a:pt x="53" y="2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5355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1337289" y="1417407"/>
            <a:ext cx="4064951" cy="4473828"/>
            <a:chOff x="937269" y="1398245"/>
            <a:chExt cx="4457057" cy="4905375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993775" y="3857626"/>
              <a:ext cx="774700" cy="606425"/>
            </a:xfrm>
            <a:custGeom>
              <a:avLst/>
              <a:gdLst>
                <a:gd name="T0" fmla="*/ 1075 w 1463"/>
                <a:gd name="T1" fmla="*/ 1144 h 1144"/>
                <a:gd name="T2" fmla="*/ 1463 w 1463"/>
                <a:gd name="T3" fmla="*/ 0 h 1144"/>
                <a:gd name="T4" fmla="*/ 0 w 1463"/>
                <a:gd name="T5" fmla="*/ 0 h 1144"/>
                <a:gd name="T6" fmla="*/ 1075 w 1463"/>
                <a:gd name="T7" fmla="*/ 1144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3" h="1144">
                  <a:moveTo>
                    <a:pt x="1075" y="1144"/>
                  </a:moveTo>
                  <a:lnTo>
                    <a:pt x="1463" y="0"/>
                  </a:lnTo>
                  <a:lnTo>
                    <a:pt x="0" y="0"/>
                  </a:lnTo>
                  <a:lnTo>
                    <a:pt x="1075" y="1144"/>
                  </a:lnTo>
                  <a:close/>
                </a:path>
              </a:pathLst>
            </a:custGeom>
            <a:gradFill>
              <a:gsLst>
                <a:gs pos="3000">
                  <a:schemeClr val="accent1">
                    <a:lumMod val="5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" name="Freeform 5"/>
            <p:cNvSpPr>
              <a:spLocks/>
            </p:cNvSpPr>
            <p:nvPr/>
          </p:nvSpPr>
          <p:spPr bwMode="auto">
            <a:xfrm>
              <a:off x="937269" y="1398245"/>
              <a:ext cx="4418013" cy="4905375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>
              <a:gsLst>
                <a:gs pos="62808">
                  <a:schemeClr val="tx1">
                    <a:lumMod val="50000"/>
                    <a:lumOff val="50000"/>
                    <a:alpha val="64000"/>
                  </a:schemeClr>
                </a:gs>
                <a:gs pos="34000">
                  <a:schemeClr val="tx1">
                    <a:lumMod val="50000"/>
                    <a:lumOff val="50000"/>
                    <a:alpha val="45000"/>
                  </a:schemeClr>
                </a:gs>
                <a:gs pos="0">
                  <a:srgbClr val="DCE1E7"/>
                </a:gs>
                <a:gs pos="82000">
                  <a:srgbClr val="DCE1E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976313" y="1398245"/>
              <a:ext cx="4418013" cy="4905374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rgbClr val="E5E8ED"/>
                </a:gs>
                <a:gs pos="0">
                  <a:srgbClr val="E6E9EE"/>
                </a:gs>
                <a:gs pos="100000">
                  <a:srgbClr val="E5E8ED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993775" y="2255838"/>
              <a:ext cx="2878138" cy="1601788"/>
            </a:xfrm>
            <a:custGeom>
              <a:avLst/>
              <a:gdLst>
                <a:gd name="T0" fmla="*/ 0 w 5438"/>
                <a:gd name="T1" fmla="*/ 3028 h 3028"/>
                <a:gd name="T2" fmla="*/ 1463 w 5438"/>
                <a:gd name="T3" fmla="*/ 3028 h 3028"/>
                <a:gd name="T4" fmla="*/ 4002 w 5438"/>
                <a:gd name="T5" fmla="*/ 3028 h 3028"/>
                <a:gd name="T6" fmla="*/ 5438 w 5438"/>
                <a:gd name="T7" fmla="*/ 1555 h 3028"/>
                <a:gd name="T8" fmla="*/ 4937 w 5438"/>
                <a:gd name="T9" fmla="*/ 0 h 3028"/>
                <a:gd name="T10" fmla="*/ 926 w 5438"/>
                <a:gd name="T11" fmla="*/ 0 h 3028"/>
                <a:gd name="T12" fmla="*/ 0 w 5438"/>
                <a:gd name="T13" fmla="*/ 3028 h 3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8" h="3028">
                  <a:moveTo>
                    <a:pt x="0" y="3028"/>
                  </a:moveTo>
                  <a:lnTo>
                    <a:pt x="1463" y="3028"/>
                  </a:lnTo>
                  <a:lnTo>
                    <a:pt x="4002" y="3028"/>
                  </a:lnTo>
                  <a:lnTo>
                    <a:pt x="5438" y="1555"/>
                  </a:lnTo>
                  <a:lnTo>
                    <a:pt x="4937" y="0"/>
                  </a:lnTo>
                  <a:lnTo>
                    <a:pt x="926" y="0"/>
                  </a:lnTo>
                  <a:lnTo>
                    <a:pt x="0" y="3028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4528486" y="1417407"/>
            <a:ext cx="4064951" cy="4473828"/>
            <a:chOff x="937269" y="1398245"/>
            <a:chExt cx="4457057" cy="4905375"/>
          </a:xfrm>
        </p:grpSpPr>
        <p:sp>
          <p:nvSpPr>
            <p:cNvPr id="51" name="Freeform 6"/>
            <p:cNvSpPr>
              <a:spLocks/>
            </p:cNvSpPr>
            <p:nvPr/>
          </p:nvSpPr>
          <p:spPr bwMode="auto">
            <a:xfrm>
              <a:off x="993775" y="3857626"/>
              <a:ext cx="774700" cy="606425"/>
            </a:xfrm>
            <a:custGeom>
              <a:avLst/>
              <a:gdLst>
                <a:gd name="T0" fmla="*/ 1075 w 1463"/>
                <a:gd name="T1" fmla="*/ 1144 h 1144"/>
                <a:gd name="T2" fmla="*/ 1463 w 1463"/>
                <a:gd name="T3" fmla="*/ 0 h 1144"/>
                <a:gd name="T4" fmla="*/ 0 w 1463"/>
                <a:gd name="T5" fmla="*/ 0 h 1144"/>
                <a:gd name="T6" fmla="*/ 1075 w 1463"/>
                <a:gd name="T7" fmla="*/ 1144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3" h="1144">
                  <a:moveTo>
                    <a:pt x="1075" y="1144"/>
                  </a:moveTo>
                  <a:lnTo>
                    <a:pt x="1463" y="0"/>
                  </a:lnTo>
                  <a:lnTo>
                    <a:pt x="0" y="0"/>
                  </a:lnTo>
                  <a:lnTo>
                    <a:pt x="1075" y="1144"/>
                  </a:lnTo>
                  <a:close/>
                </a:path>
              </a:pathLst>
            </a:custGeom>
            <a:gradFill>
              <a:gsLst>
                <a:gs pos="3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2" name="Freeform 5"/>
            <p:cNvSpPr>
              <a:spLocks/>
            </p:cNvSpPr>
            <p:nvPr/>
          </p:nvSpPr>
          <p:spPr bwMode="auto">
            <a:xfrm>
              <a:off x="937269" y="1398245"/>
              <a:ext cx="4418013" cy="4905375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>
              <a:gsLst>
                <a:gs pos="62808">
                  <a:schemeClr val="tx1">
                    <a:lumMod val="50000"/>
                    <a:lumOff val="50000"/>
                    <a:alpha val="64000"/>
                  </a:schemeClr>
                </a:gs>
                <a:gs pos="34000">
                  <a:schemeClr val="tx1">
                    <a:lumMod val="50000"/>
                    <a:lumOff val="50000"/>
                    <a:alpha val="45000"/>
                  </a:schemeClr>
                </a:gs>
                <a:gs pos="0">
                  <a:srgbClr val="DCE1E7"/>
                </a:gs>
                <a:gs pos="82000">
                  <a:srgbClr val="DCE1E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3" name="Freeform 5"/>
            <p:cNvSpPr>
              <a:spLocks/>
            </p:cNvSpPr>
            <p:nvPr/>
          </p:nvSpPr>
          <p:spPr bwMode="auto">
            <a:xfrm>
              <a:off x="976313" y="1398245"/>
              <a:ext cx="4418013" cy="4905374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rgbClr val="E5E8ED"/>
                </a:gs>
                <a:gs pos="0">
                  <a:srgbClr val="E6E9EE"/>
                </a:gs>
                <a:gs pos="100000">
                  <a:srgbClr val="E5E8ED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4" name="Freeform 7"/>
            <p:cNvSpPr>
              <a:spLocks/>
            </p:cNvSpPr>
            <p:nvPr/>
          </p:nvSpPr>
          <p:spPr bwMode="auto">
            <a:xfrm>
              <a:off x="993775" y="2255838"/>
              <a:ext cx="2878138" cy="1601788"/>
            </a:xfrm>
            <a:custGeom>
              <a:avLst/>
              <a:gdLst>
                <a:gd name="T0" fmla="*/ 0 w 5438"/>
                <a:gd name="T1" fmla="*/ 3028 h 3028"/>
                <a:gd name="T2" fmla="*/ 1463 w 5438"/>
                <a:gd name="T3" fmla="*/ 3028 h 3028"/>
                <a:gd name="T4" fmla="*/ 4002 w 5438"/>
                <a:gd name="T5" fmla="*/ 3028 h 3028"/>
                <a:gd name="T6" fmla="*/ 5438 w 5438"/>
                <a:gd name="T7" fmla="*/ 1555 h 3028"/>
                <a:gd name="T8" fmla="*/ 4937 w 5438"/>
                <a:gd name="T9" fmla="*/ 0 h 3028"/>
                <a:gd name="T10" fmla="*/ 926 w 5438"/>
                <a:gd name="T11" fmla="*/ 0 h 3028"/>
                <a:gd name="T12" fmla="*/ 0 w 5438"/>
                <a:gd name="T13" fmla="*/ 3028 h 3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8" h="3028">
                  <a:moveTo>
                    <a:pt x="0" y="3028"/>
                  </a:moveTo>
                  <a:lnTo>
                    <a:pt x="1463" y="3028"/>
                  </a:lnTo>
                  <a:lnTo>
                    <a:pt x="4002" y="3028"/>
                  </a:lnTo>
                  <a:lnTo>
                    <a:pt x="5438" y="1555"/>
                  </a:lnTo>
                  <a:lnTo>
                    <a:pt x="4937" y="0"/>
                  </a:lnTo>
                  <a:lnTo>
                    <a:pt x="926" y="0"/>
                  </a:lnTo>
                  <a:lnTo>
                    <a:pt x="0" y="3028"/>
                  </a:lnTo>
                  <a:close/>
                </a:path>
              </a:pathLst>
            </a:custGeom>
            <a:gradFill flip="none" rotWithShape="1">
              <a:gsLst>
                <a:gs pos="40000">
                  <a:schemeClr val="bg1">
                    <a:lumMod val="65000"/>
                  </a:schemeClr>
                </a:gs>
                <a:gs pos="87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verview</a:t>
            </a:r>
            <a:endParaRPr lang="en-US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2896230" y="5896434"/>
            <a:ext cx="72240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6072433" y="5896434"/>
            <a:ext cx="722405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/>
        </p:nvGrpSpPr>
        <p:grpSpPr>
          <a:xfrm>
            <a:off x="7719682" y="1417407"/>
            <a:ext cx="4064951" cy="4473828"/>
            <a:chOff x="937269" y="1398245"/>
            <a:chExt cx="4457057" cy="4905374"/>
          </a:xfrm>
        </p:grpSpPr>
        <p:sp>
          <p:nvSpPr>
            <p:cNvPr id="58" name="Freeform 6"/>
            <p:cNvSpPr>
              <a:spLocks/>
            </p:cNvSpPr>
            <p:nvPr/>
          </p:nvSpPr>
          <p:spPr bwMode="auto">
            <a:xfrm>
              <a:off x="993775" y="3857626"/>
              <a:ext cx="774700" cy="606425"/>
            </a:xfrm>
            <a:custGeom>
              <a:avLst/>
              <a:gdLst>
                <a:gd name="T0" fmla="*/ 1075 w 1463"/>
                <a:gd name="T1" fmla="*/ 1144 h 1144"/>
                <a:gd name="T2" fmla="*/ 1463 w 1463"/>
                <a:gd name="T3" fmla="*/ 0 h 1144"/>
                <a:gd name="T4" fmla="*/ 0 w 1463"/>
                <a:gd name="T5" fmla="*/ 0 h 1144"/>
                <a:gd name="T6" fmla="*/ 1075 w 1463"/>
                <a:gd name="T7" fmla="*/ 1144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3" h="1144">
                  <a:moveTo>
                    <a:pt x="1075" y="1144"/>
                  </a:moveTo>
                  <a:lnTo>
                    <a:pt x="1463" y="0"/>
                  </a:lnTo>
                  <a:lnTo>
                    <a:pt x="0" y="0"/>
                  </a:lnTo>
                  <a:lnTo>
                    <a:pt x="1075" y="1144"/>
                  </a:lnTo>
                  <a:close/>
                </a:path>
              </a:pathLst>
            </a:custGeom>
            <a:gradFill>
              <a:gsLst>
                <a:gs pos="3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9" name="Freeform 5"/>
            <p:cNvSpPr>
              <a:spLocks/>
            </p:cNvSpPr>
            <p:nvPr/>
          </p:nvSpPr>
          <p:spPr bwMode="auto">
            <a:xfrm>
              <a:off x="937269" y="1398245"/>
              <a:ext cx="4418013" cy="4905374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>
              <a:gsLst>
                <a:gs pos="62808">
                  <a:schemeClr val="tx1">
                    <a:lumMod val="50000"/>
                    <a:lumOff val="50000"/>
                    <a:alpha val="64000"/>
                  </a:schemeClr>
                </a:gs>
                <a:gs pos="34000">
                  <a:schemeClr val="tx1">
                    <a:lumMod val="50000"/>
                    <a:lumOff val="50000"/>
                    <a:alpha val="45000"/>
                  </a:schemeClr>
                </a:gs>
                <a:gs pos="0">
                  <a:srgbClr val="DCE1E7"/>
                </a:gs>
                <a:gs pos="82000">
                  <a:srgbClr val="DCE1E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0" name="Freeform 5"/>
            <p:cNvSpPr>
              <a:spLocks/>
            </p:cNvSpPr>
            <p:nvPr/>
          </p:nvSpPr>
          <p:spPr bwMode="auto">
            <a:xfrm>
              <a:off x="976313" y="1398245"/>
              <a:ext cx="4418013" cy="4905373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rgbClr val="E5E8ED"/>
                </a:gs>
                <a:gs pos="0">
                  <a:srgbClr val="E6E9EE"/>
                </a:gs>
                <a:gs pos="100000">
                  <a:srgbClr val="E5E8ED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1" name="Freeform 7"/>
            <p:cNvSpPr>
              <a:spLocks/>
            </p:cNvSpPr>
            <p:nvPr/>
          </p:nvSpPr>
          <p:spPr bwMode="auto">
            <a:xfrm>
              <a:off x="993775" y="2255838"/>
              <a:ext cx="2878138" cy="1601788"/>
            </a:xfrm>
            <a:custGeom>
              <a:avLst/>
              <a:gdLst>
                <a:gd name="T0" fmla="*/ 0 w 5438"/>
                <a:gd name="T1" fmla="*/ 3028 h 3028"/>
                <a:gd name="T2" fmla="*/ 1463 w 5438"/>
                <a:gd name="T3" fmla="*/ 3028 h 3028"/>
                <a:gd name="T4" fmla="*/ 4002 w 5438"/>
                <a:gd name="T5" fmla="*/ 3028 h 3028"/>
                <a:gd name="T6" fmla="*/ 5438 w 5438"/>
                <a:gd name="T7" fmla="*/ 1555 h 3028"/>
                <a:gd name="T8" fmla="*/ 4937 w 5438"/>
                <a:gd name="T9" fmla="*/ 0 h 3028"/>
                <a:gd name="T10" fmla="*/ 926 w 5438"/>
                <a:gd name="T11" fmla="*/ 0 h 3028"/>
                <a:gd name="T12" fmla="*/ 0 w 5438"/>
                <a:gd name="T13" fmla="*/ 3028 h 3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8" h="3028">
                  <a:moveTo>
                    <a:pt x="0" y="3028"/>
                  </a:moveTo>
                  <a:lnTo>
                    <a:pt x="1463" y="3028"/>
                  </a:lnTo>
                  <a:lnTo>
                    <a:pt x="4002" y="3028"/>
                  </a:lnTo>
                  <a:lnTo>
                    <a:pt x="5438" y="1555"/>
                  </a:lnTo>
                  <a:lnTo>
                    <a:pt x="4937" y="0"/>
                  </a:lnTo>
                  <a:lnTo>
                    <a:pt x="926" y="0"/>
                  </a:lnTo>
                  <a:lnTo>
                    <a:pt x="0" y="3028"/>
                  </a:lnTo>
                  <a:close/>
                </a:path>
              </a:pathLst>
            </a:custGeom>
            <a:gradFill flip="none" rotWithShape="1">
              <a:gsLst>
                <a:gs pos="40000">
                  <a:schemeClr val="bg1">
                    <a:lumMod val="65000"/>
                  </a:schemeClr>
                </a:gs>
                <a:gs pos="87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cxnSp>
        <p:nvCxnSpPr>
          <p:cNvPr id="57" name="Straight Connector 56"/>
          <p:cNvCxnSpPr/>
          <p:nvPr/>
        </p:nvCxnSpPr>
        <p:spPr>
          <a:xfrm>
            <a:off x="9352790" y="5896434"/>
            <a:ext cx="722405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>
            <a:spLocks/>
          </p:cNvSpPr>
          <p:nvPr/>
        </p:nvSpPr>
        <p:spPr>
          <a:xfrm>
            <a:off x="2161734" y="3921113"/>
            <a:ext cx="219139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218987"/>
            <a:r>
              <a:rPr lang="en-US" sz="1600" b="1" kern="0" dirty="0">
                <a:latin typeface="Arial" pitchFamily="34" charset="0"/>
                <a:cs typeface="Arial" pitchFamily="34" charset="0"/>
              </a:rPr>
              <a:t>Fully Automatic IOT Based System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>
            <a:spLocks/>
          </p:cNvSpPr>
          <p:nvPr/>
        </p:nvSpPr>
        <p:spPr>
          <a:xfrm>
            <a:off x="5317321" y="3835844"/>
            <a:ext cx="219139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218987"/>
            <a:r>
              <a:rPr lang="en-US" sz="1600" b="1" kern="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ndroid Semi-Automatic System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>
            <a:spLocks/>
          </p:cNvSpPr>
          <p:nvPr/>
        </p:nvSpPr>
        <p:spPr>
          <a:xfrm>
            <a:off x="8657949" y="3840798"/>
            <a:ext cx="219139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218987"/>
            <a:r>
              <a:rPr lang="en-US" sz="1600" b="1" kern="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Online Web Interfa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/>
          <p:nvPr/>
        </p:nvSpPr>
        <p:spPr>
          <a:xfrm rot="156748">
            <a:off x="2037524" y="2079899"/>
            <a:ext cx="1560173" cy="1538883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3000000" lon="0" rev="21299999"/>
            </a:camera>
            <a:lightRig rig="threePt" dir="t"/>
          </a:scene3d>
        </p:spPr>
        <p:txBody>
          <a:bodyPr wrap="square" lIns="0" tIns="0" rIns="0" bIns="0" rtlCol="0" anchor="b" anchorCtr="0">
            <a:spAutoFit/>
            <a:scene3d>
              <a:camera prst="perspectiveRelaxed"/>
              <a:lightRig rig="threePt" dir="t"/>
            </a:scene3d>
          </a:bodyPr>
          <a:lstStyle/>
          <a:p>
            <a:pPr algn="ctr" defTabSz="1218987"/>
            <a:r>
              <a:rPr lang="en-US" sz="10000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/>
          <p:nvPr/>
        </p:nvSpPr>
        <p:spPr>
          <a:xfrm>
            <a:off x="5361802" y="2079898"/>
            <a:ext cx="1560173" cy="1538883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3000000" lon="0" rev="21593999"/>
            </a:camera>
            <a:lightRig rig="threePt" dir="t"/>
          </a:scene3d>
        </p:spPr>
        <p:txBody>
          <a:bodyPr wrap="square" lIns="0" tIns="0" rIns="0" bIns="0" rtlCol="0" anchor="b" anchorCtr="0">
            <a:spAutoFit/>
            <a:scene3d>
              <a:camera prst="perspectiveRelaxed"/>
              <a:lightRig rig="threePt" dir="t"/>
            </a:scene3d>
          </a:bodyPr>
          <a:lstStyle/>
          <a:p>
            <a:pPr algn="ctr" defTabSz="1218987"/>
            <a:r>
              <a:rPr lang="en-US" sz="10000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/>
          <p:nvPr/>
        </p:nvSpPr>
        <p:spPr>
          <a:xfrm>
            <a:off x="8517389" y="2079898"/>
            <a:ext cx="1560173" cy="1538883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3000000" lon="0" rev="21593999"/>
            </a:camera>
            <a:lightRig rig="threePt" dir="t"/>
          </a:scene3d>
        </p:spPr>
        <p:txBody>
          <a:bodyPr wrap="square" lIns="0" tIns="0" rIns="0" bIns="0" rtlCol="0" anchor="b" anchorCtr="0">
            <a:spAutoFit/>
            <a:scene3d>
              <a:camera prst="perspectiveRelaxed"/>
              <a:lightRig rig="threePt" dir="t"/>
            </a:scene3d>
          </a:bodyPr>
          <a:lstStyle/>
          <a:p>
            <a:pPr algn="ctr" defTabSz="1218987"/>
            <a:r>
              <a:rPr lang="en-US" sz="10000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pic>
        <p:nvPicPr>
          <p:cNvPr id="11" name="Graphic 10" descr="Gears">
            <a:extLst>
              <a:ext uri="{FF2B5EF4-FFF2-40B4-BE49-F238E27FC236}">
                <a16:creationId xmlns:a16="http://schemas.microsoft.com/office/drawing/2014/main" id="{F03903DB-A0F6-4052-940B-0C0B9AFA8A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3808" y="5405017"/>
            <a:ext cx="467244" cy="467244"/>
          </a:xfrm>
          <a:prstGeom prst="rect">
            <a:avLst/>
          </a:prstGeom>
        </p:spPr>
      </p:pic>
      <p:sp>
        <p:nvSpPr>
          <p:cNvPr id="36" name="Rounded Rectangle 12">
            <a:extLst>
              <a:ext uri="{FF2B5EF4-FFF2-40B4-BE49-F238E27FC236}">
                <a16:creationId xmlns:a16="http://schemas.microsoft.com/office/drawing/2014/main" id="{D6E939B7-B7A2-45F6-ADEE-9A2EC2111768}"/>
              </a:ext>
            </a:extLst>
          </p:cNvPr>
          <p:cNvSpPr>
            <a:spLocks noChangeAspect="1"/>
          </p:cNvSpPr>
          <p:nvPr/>
        </p:nvSpPr>
        <p:spPr>
          <a:xfrm>
            <a:off x="6257048" y="5405017"/>
            <a:ext cx="353173" cy="420869"/>
          </a:xfrm>
          <a:custGeom>
            <a:avLst/>
            <a:gdLst/>
            <a:ahLst/>
            <a:cxnLst/>
            <a:rect l="l" t="t" r="r" b="b"/>
            <a:pathLst>
              <a:path w="3312367" h="3947283">
                <a:moveTo>
                  <a:pt x="2537615" y="3705909"/>
                </a:moveTo>
                <a:cubicBezTo>
                  <a:pt x="2512344" y="3705909"/>
                  <a:pt x="2491857" y="3726396"/>
                  <a:pt x="2491857" y="3751667"/>
                </a:cubicBezTo>
                <a:cubicBezTo>
                  <a:pt x="2491857" y="3776938"/>
                  <a:pt x="2512344" y="3797425"/>
                  <a:pt x="2537615" y="3797425"/>
                </a:cubicBezTo>
                <a:lnTo>
                  <a:pt x="2762175" y="3797425"/>
                </a:lnTo>
                <a:cubicBezTo>
                  <a:pt x="2787446" y="3797425"/>
                  <a:pt x="2807933" y="3776938"/>
                  <a:pt x="2807933" y="3751667"/>
                </a:cubicBezTo>
                <a:cubicBezTo>
                  <a:pt x="2807933" y="3726396"/>
                  <a:pt x="2787446" y="3705909"/>
                  <a:pt x="2762175" y="3705909"/>
                </a:cubicBezTo>
                <a:close/>
                <a:moveTo>
                  <a:pt x="1141114" y="3408594"/>
                </a:moveTo>
                <a:cubicBezTo>
                  <a:pt x="1097903" y="3408594"/>
                  <a:pt x="1062874" y="3443623"/>
                  <a:pt x="1062874" y="3486834"/>
                </a:cubicBezTo>
                <a:cubicBezTo>
                  <a:pt x="1062874" y="3530045"/>
                  <a:pt x="1097903" y="3565073"/>
                  <a:pt x="1141114" y="3565073"/>
                </a:cubicBezTo>
                <a:lnTo>
                  <a:pt x="1525078" y="3565074"/>
                </a:lnTo>
                <a:cubicBezTo>
                  <a:pt x="1568289" y="3565074"/>
                  <a:pt x="1603318" y="3530045"/>
                  <a:pt x="1603318" y="3486834"/>
                </a:cubicBezTo>
                <a:lnTo>
                  <a:pt x="1603319" y="3486834"/>
                </a:lnTo>
                <a:cubicBezTo>
                  <a:pt x="1603319" y="3443623"/>
                  <a:pt x="1568290" y="3408594"/>
                  <a:pt x="1525079" y="3408594"/>
                </a:cubicBezTo>
                <a:close/>
                <a:moveTo>
                  <a:pt x="2129393" y="1705414"/>
                </a:moveTo>
                <a:lnTo>
                  <a:pt x="2129393" y="3580170"/>
                </a:lnTo>
                <a:lnTo>
                  <a:pt x="3126216" y="3580170"/>
                </a:lnTo>
                <a:lnTo>
                  <a:pt x="3126216" y="1705414"/>
                </a:lnTo>
                <a:close/>
                <a:moveTo>
                  <a:pt x="2481193" y="1533789"/>
                </a:moveTo>
                <a:cubicBezTo>
                  <a:pt x="2462682" y="1533789"/>
                  <a:pt x="2447676" y="1548795"/>
                  <a:pt x="2447676" y="1567306"/>
                </a:cubicBezTo>
                <a:lnTo>
                  <a:pt x="2447676" y="1572258"/>
                </a:lnTo>
                <a:cubicBezTo>
                  <a:pt x="2447676" y="1590769"/>
                  <a:pt x="2462682" y="1605775"/>
                  <a:pt x="2481193" y="1605775"/>
                </a:cubicBezTo>
                <a:lnTo>
                  <a:pt x="2774415" y="1605775"/>
                </a:lnTo>
                <a:cubicBezTo>
                  <a:pt x="2792926" y="1605775"/>
                  <a:pt x="2807932" y="1590769"/>
                  <a:pt x="2807932" y="1572258"/>
                </a:cubicBezTo>
                <a:lnTo>
                  <a:pt x="2807932" y="1567306"/>
                </a:lnTo>
                <a:cubicBezTo>
                  <a:pt x="2807932" y="1548795"/>
                  <a:pt x="2792926" y="1533789"/>
                  <a:pt x="2774415" y="1533789"/>
                </a:cubicBezTo>
                <a:close/>
                <a:moveTo>
                  <a:pt x="2113478" y="1418392"/>
                </a:moveTo>
                <a:lnTo>
                  <a:pt x="3142130" y="1418392"/>
                </a:lnTo>
                <a:cubicBezTo>
                  <a:pt x="3236149" y="1418392"/>
                  <a:pt x="3312367" y="1494610"/>
                  <a:pt x="3312367" y="1588629"/>
                </a:cubicBezTo>
                <a:lnTo>
                  <a:pt x="3312367" y="3777046"/>
                </a:lnTo>
                <a:cubicBezTo>
                  <a:pt x="3312367" y="3871065"/>
                  <a:pt x="3236149" y="3947283"/>
                  <a:pt x="3142130" y="3947283"/>
                </a:cubicBezTo>
                <a:lnTo>
                  <a:pt x="2113478" y="3947283"/>
                </a:lnTo>
                <a:cubicBezTo>
                  <a:pt x="2019459" y="3947283"/>
                  <a:pt x="1943241" y="3871065"/>
                  <a:pt x="1943241" y="3777046"/>
                </a:cubicBezTo>
                <a:lnTo>
                  <a:pt x="1943241" y="1588629"/>
                </a:lnTo>
                <a:cubicBezTo>
                  <a:pt x="1943241" y="1494610"/>
                  <a:pt x="2019459" y="1418392"/>
                  <a:pt x="2113478" y="1418392"/>
                </a:cubicBezTo>
                <a:close/>
                <a:moveTo>
                  <a:pt x="1006317" y="157391"/>
                </a:moveTo>
                <a:cubicBezTo>
                  <a:pt x="987806" y="157391"/>
                  <a:pt x="972800" y="172397"/>
                  <a:pt x="972800" y="190908"/>
                </a:cubicBezTo>
                <a:lnTo>
                  <a:pt x="972800" y="195860"/>
                </a:lnTo>
                <a:cubicBezTo>
                  <a:pt x="972800" y="214371"/>
                  <a:pt x="987806" y="229377"/>
                  <a:pt x="1006317" y="229377"/>
                </a:cubicBezTo>
                <a:lnTo>
                  <a:pt x="1659876" y="229377"/>
                </a:lnTo>
                <a:cubicBezTo>
                  <a:pt x="1678387" y="229377"/>
                  <a:pt x="1693393" y="214371"/>
                  <a:pt x="1693393" y="195860"/>
                </a:cubicBezTo>
                <a:lnTo>
                  <a:pt x="1693393" y="190908"/>
                </a:lnTo>
                <a:cubicBezTo>
                  <a:pt x="1693393" y="172397"/>
                  <a:pt x="1678387" y="157391"/>
                  <a:pt x="1659876" y="157391"/>
                </a:cubicBezTo>
                <a:close/>
                <a:moveTo>
                  <a:pt x="264780" y="0"/>
                </a:moveTo>
                <a:lnTo>
                  <a:pt x="2401413" y="0"/>
                </a:lnTo>
                <a:cubicBezTo>
                  <a:pt x="2547647" y="0"/>
                  <a:pt x="2666193" y="118546"/>
                  <a:pt x="2666193" y="264780"/>
                </a:cubicBezTo>
                <a:lnTo>
                  <a:pt x="2666193" y="1345374"/>
                </a:lnTo>
                <a:lnTo>
                  <a:pt x="2369517" y="1345374"/>
                </a:lnTo>
                <a:lnTo>
                  <a:pt x="2369517" y="366783"/>
                </a:lnTo>
                <a:lnTo>
                  <a:pt x="296676" y="366783"/>
                </a:lnTo>
                <a:lnTo>
                  <a:pt x="296676" y="3219873"/>
                </a:lnTo>
                <a:lnTo>
                  <a:pt x="1867527" y="3219873"/>
                </a:lnTo>
                <a:lnTo>
                  <a:pt x="1867527" y="3778374"/>
                </a:lnTo>
                <a:lnTo>
                  <a:pt x="264780" y="3778374"/>
                </a:lnTo>
                <a:cubicBezTo>
                  <a:pt x="118546" y="3778374"/>
                  <a:pt x="0" y="3659828"/>
                  <a:pt x="0" y="3513594"/>
                </a:cubicBezTo>
                <a:lnTo>
                  <a:pt x="0" y="264780"/>
                </a:lnTo>
                <a:cubicBezTo>
                  <a:pt x="0" y="118546"/>
                  <a:pt x="118546" y="0"/>
                  <a:pt x="264780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sp>
        <p:nvSpPr>
          <p:cNvPr id="39" name="Freeform 304">
            <a:extLst>
              <a:ext uri="{FF2B5EF4-FFF2-40B4-BE49-F238E27FC236}">
                <a16:creationId xmlns:a16="http://schemas.microsoft.com/office/drawing/2014/main" id="{8AAF5E16-352F-4500-A97D-C9D02A7C70BE}"/>
              </a:ext>
            </a:extLst>
          </p:cNvPr>
          <p:cNvSpPr>
            <a:spLocks/>
          </p:cNvSpPr>
          <p:nvPr/>
        </p:nvSpPr>
        <p:spPr bwMode="auto">
          <a:xfrm>
            <a:off x="9628124" y="5464269"/>
            <a:ext cx="280895" cy="266096"/>
          </a:xfrm>
          <a:custGeom>
            <a:avLst/>
            <a:gdLst>
              <a:gd name="T0" fmla="*/ 323 w 587"/>
              <a:gd name="T1" fmla="*/ 1 h 587"/>
              <a:gd name="T2" fmla="*/ 367 w 587"/>
              <a:gd name="T3" fmla="*/ 9 h 587"/>
              <a:gd name="T4" fmla="*/ 408 w 587"/>
              <a:gd name="T5" fmla="*/ 23 h 587"/>
              <a:gd name="T6" fmla="*/ 446 w 587"/>
              <a:gd name="T7" fmla="*/ 42 h 587"/>
              <a:gd name="T8" fmla="*/ 481 w 587"/>
              <a:gd name="T9" fmla="*/ 67 h 587"/>
              <a:gd name="T10" fmla="*/ 511 w 587"/>
              <a:gd name="T11" fmla="*/ 96 h 587"/>
              <a:gd name="T12" fmla="*/ 537 w 587"/>
              <a:gd name="T13" fmla="*/ 130 h 587"/>
              <a:gd name="T14" fmla="*/ 558 w 587"/>
              <a:gd name="T15" fmla="*/ 167 h 587"/>
              <a:gd name="T16" fmla="*/ 574 w 587"/>
              <a:gd name="T17" fmla="*/ 206 h 587"/>
              <a:gd name="T18" fmla="*/ 583 w 587"/>
              <a:gd name="T19" fmla="*/ 249 h 587"/>
              <a:gd name="T20" fmla="*/ 587 w 587"/>
              <a:gd name="T21" fmla="*/ 294 h 587"/>
              <a:gd name="T22" fmla="*/ 583 w 587"/>
              <a:gd name="T23" fmla="*/ 339 h 587"/>
              <a:gd name="T24" fmla="*/ 574 w 587"/>
              <a:gd name="T25" fmla="*/ 381 h 587"/>
              <a:gd name="T26" fmla="*/ 558 w 587"/>
              <a:gd name="T27" fmla="*/ 421 h 587"/>
              <a:gd name="T28" fmla="*/ 537 w 587"/>
              <a:gd name="T29" fmla="*/ 458 h 587"/>
              <a:gd name="T30" fmla="*/ 511 w 587"/>
              <a:gd name="T31" fmla="*/ 491 h 587"/>
              <a:gd name="T32" fmla="*/ 481 w 587"/>
              <a:gd name="T33" fmla="*/ 521 h 587"/>
              <a:gd name="T34" fmla="*/ 446 w 587"/>
              <a:gd name="T35" fmla="*/ 545 h 587"/>
              <a:gd name="T36" fmla="*/ 408 w 587"/>
              <a:gd name="T37" fmla="*/ 564 h 587"/>
              <a:gd name="T38" fmla="*/ 367 w 587"/>
              <a:gd name="T39" fmla="*/ 578 h 587"/>
              <a:gd name="T40" fmla="*/ 323 w 587"/>
              <a:gd name="T41" fmla="*/ 586 h 587"/>
              <a:gd name="T42" fmla="*/ 278 w 587"/>
              <a:gd name="T43" fmla="*/ 587 h 587"/>
              <a:gd name="T44" fmla="*/ 235 w 587"/>
              <a:gd name="T45" fmla="*/ 581 h 587"/>
              <a:gd name="T46" fmla="*/ 192 w 587"/>
              <a:gd name="T47" fmla="*/ 569 h 587"/>
              <a:gd name="T48" fmla="*/ 154 w 587"/>
              <a:gd name="T49" fmla="*/ 551 h 587"/>
              <a:gd name="T50" fmla="*/ 118 w 587"/>
              <a:gd name="T51" fmla="*/ 528 h 587"/>
              <a:gd name="T52" fmla="*/ 86 w 587"/>
              <a:gd name="T53" fmla="*/ 501 h 587"/>
              <a:gd name="T54" fmla="*/ 59 w 587"/>
              <a:gd name="T55" fmla="*/ 469 h 587"/>
              <a:gd name="T56" fmla="*/ 36 w 587"/>
              <a:gd name="T57" fmla="*/ 433 h 587"/>
              <a:gd name="T58" fmla="*/ 18 w 587"/>
              <a:gd name="T59" fmla="*/ 395 h 587"/>
              <a:gd name="T60" fmla="*/ 7 w 587"/>
              <a:gd name="T61" fmla="*/ 353 h 587"/>
              <a:gd name="T62" fmla="*/ 0 w 587"/>
              <a:gd name="T63" fmla="*/ 309 h 587"/>
              <a:gd name="T64" fmla="*/ 1 w 587"/>
              <a:gd name="T65" fmla="*/ 263 h 587"/>
              <a:gd name="T66" fmla="*/ 9 w 587"/>
              <a:gd name="T67" fmla="*/ 221 h 587"/>
              <a:gd name="T68" fmla="*/ 23 w 587"/>
              <a:gd name="T69" fmla="*/ 180 h 587"/>
              <a:gd name="T70" fmla="*/ 42 w 587"/>
              <a:gd name="T71" fmla="*/ 141 h 587"/>
              <a:gd name="T72" fmla="*/ 67 w 587"/>
              <a:gd name="T73" fmla="*/ 107 h 587"/>
              <a:gd name="T74" fmla="*/ 96 w 587"/>
              <a:gd name="T75" fmla="*/ 76 h 587"/>
              <a:gd name="T76" fmla="*/ 130 w 587"/>
              <a:gd name="T77" fmla="*/ 50 h 587"/>
              <a:gd name="T78" fmla="*/ 167 w 587"/>
              <a:gd name="T79" fmla="*/ 30 h 587"/>
              <a:gd name="T80" fmla="*/ 206 w 587"/>
              <a:gd name="T81" fmla="*/ 13 h 587"/>
              <a:gd name="T82" fmla="*/ 249 w 587"/>
              <a:gd name="T83" fmla="*/ 4 h 587"/>
              <a:gd name="T84" fmla="*/ 294 w 587"/>
              <a:gd name="T85" fmla="*/ 0 h 5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87" h="587">
                <a:moveTo>
                  <a:pt x="294" y="0"/>
                </a:moveTo>
                <a:lnTo>
                  <a:pt x="309" y="0"/>
                </a:lnTo>
                <a:lnTo>
                  <a:pt x="323" y="1"/>
                </a:lnTo>
                <a:lnTo>
                  <a:pt x="338" y="4"/>
                </a:lnTo>
                <a:lnTo>
                  <a:pt x="353" y="7"/>
                </a:lnTo>
                <a:lnTo>
                  <a:pt x="367" y="9"/>
                </a:lnTo>
                <a:lnTo>
                  <a:pt x="381" y="13"/>
                </a:lnTo>
                <a:lnTo>
                  <a:pt x="395" y="18"/>
                </a:lnTo>
                <a:lnTo>
                  <a:pt x="408" y="23"/>
                </a:lnTo>
                <a:lnTo>
                  <a:pt x="420" y="30"/>
                </a:lnTo>
                <a:lnTo>
                  <a:pt x="433" y="36"/>
                </a:lnTo>
                <a:lnTo>
                  <a:pt x="446" y="42"/>
                </a:lnTo>
                <a:lnTo>
                  <a:pt x="458" y="50"/>
                </a:lnTo>
                <a:lnTo>
                  <a:pt x="469" y="58"/>
                </a:lnTo>
                <a:lnTo>
                  <a:pt x="481" y="67"/>
                </a:lnTo>
                <a:lnTo>
                  <a:pt x="491" y="76"/>
                </a:lnTo>
                <a:lnTo>
                  <a:pt x="501" y="86"/>
                </a:lnTo>
                <a:lnTo>
                  <a:pt x="511" y="96"/>
                </a:lnTo>
                <a:lnTo>
                  <a:pt x="520" y="107"/>
                </a:lnTo>
                <a:lnTo>
                  <a:pt x="529" y="118"/>
                </a:lnTo>
                <a:lnTo>
                  <a:pt x="537" y="130"/>
                </a:lnTo>
                <a:lnTo>
                  <a:pt x="545" y="141"/>
                </a:lnTo>
                <a:lnTo>
                  <a:pt x="551" y="154"/>
                </a:lnTo>
                <a:lnTo>
                  <a:pt x="558" y="167"/>
                </a:lnTo>
                <a:lnTo>
                  <a:pt x="564" y="180"/>
                </a:lnTo>
                <a:lnTo>
                  <a:pt x="569" y="192"/>
                </a:lnTo>
                <a:lnTo>
                  <a:pt x="574" y="206"/>
                </a:lnTo>
                <a:lnTo>
                  <a:pt x="578" y="221"/>
                </a:lnTo>
                <a:lnTo>
                  <a:pt x="581" y="235"/>
                </a:lnTo>
                <a:lnTo>
                  <a:pt x="583" y="249"/>
                </a:lnTo>
                <a:lnTo>
                  <a:pt x="586" y="263"/>
                </a:lnTo>
                <a:lnTo>
                  <a:pt x="587" y="278"/>
                </a:lnTo>
                <a:lnTo>
                  <a:pt x="587" y="294"/>
                </a:lnTo>
                <a:lnTo>
                  <a:pt x="587" y="309"/>
                </a:lnTo>
                <a:lnTo>
                  <a:pt x="586" y="323"/>
                </a:lnTo>
                <a:lnTo>
                  <a:pt x="583" y="339"/>
                </a:lnTo>
                <a:lnTo>
                  <a:pt x="581" y="353"/>
                </a:lnTo>
                <a:lnTo>
                  <a:pt x="578" y="367"/>
                </a:lnTo>
                <a:lnTo>
                  <a:pt x="574" y="381"/>
                </a:lnTo>
                <a:lnTo>
                  <a:pt x="569" y="395"/>
                </a:lnTo>
                <a:lnTo>
                  <a:pt x="564" y="408"/>
                </a:lnTo>
                <a:lnTo>
                  <a:pt x="558" y="421"/>
                </a:lnTo>
                <a:lnTo>
                  <a:pt x="551" y="433"/>
                </a:lnTo>
                <a:lnTo>
                  <a:pt x="545" y="446"/>
                </a:lnTo>
                <a:lnTo>
                  <a:pt x="537" y="458"/>
                </a:lnTo>
                <a:lnTo>
                  <a:pt x="529" y="469"/>
                </a:lnTo>
                <a:lnTo>
                  <a:pt x="520" y="481"/>
                </a:lnTo>
                <a:lnTo>
                  <a:pt x="511" y="491"/>
                </a:lnTo>
                <a:lnTo>
                  <a:pt x="501" y="501"/>
                </a:lnTo>
                <a:lnTo>
                  <a:pt x="491" y="510"/>
                </a:lnTo>
                <a:lnTo>
                  <a:pt x="481" y="521"/>
                </a:lnTo>
                <a:lnTo>
                  <a:pt x="469" y="528"/>
                </a:lnTo>
                <a:lnTo>
                  <a:pt x="458" y="537"/>
                </a:lnTo>
                <a:lnTo>
                  <a:pt x="446" y="545"/>
                </a:lnTo>
                <a:lnTo>
                  <a:pt x="433" y="551"/>
                </a:lnTo>
                <a:lnTo>
                  <a:pt x="420" y="558"/>
                </a:lnTo>
                <a:lnTo>
                  <a:pt x="408" y="564"/>
                </a:lnTo>
                <a:lnTo>
                  <a:pt x="395" y="569"/>
                </a:lnTo>
                <a:lnTo>
                  <a:pt x="381" y="574"/>
                </a:lnTo>
                <a:lnTo>
                  <a:pt x="367" y="578"/>
                </a:lnTo>
                <a:lnTo>
                  <a:pt x="353" y="581"/>
                </a:lnTo>
                <a:lnTo>
                  <a:pt x="338" y="583"/>
                </a:lnTo>
                <a:lnTo>
                  <a:pt x="323" y="586"/>
                </a:lnTo>
                <a:lnTo>
                  <a:pt x="309" y="587"/>
                </a:lnTo>
                <a:lnTo>
                  <a:pt x="294" y="587"/>
                </a:lnTo>
                <a:lnTo>
                  <a:pt x="278" y="587"/>
                </a:lnTo>
                <a:lnTo>
                  <a:pt x="264" y="586"/>
                </a:lnTo>
                <a:lnTo>
                  <a:pt x="249" y="583"/>
                </a:lnTo>
                <a:lnTo>
                  <a:pt x="235" y="581"/>
                </a:lnTo>
                <a:lnTo>
                  <a:pt x="221" y="578"/>
                </a:lnTo>
                <a:lnTo>
                  <a:pt x="206" y="574"/>
                </a:lnTo>
                <a:lnTo>
                  <a:pt x="192" y="569"/>
                </a:lnTo>
                <a:lnTo>
                  <a:pt x="180" y="564"/>
                </a:lnTo>
                <a:lnTo>
                  <a:pt x="167" y="558"/>
                </a:lnTo>
                <a:lnTo>
                  <a:pt x="154" y="551"/>
                </a:lnTo>
                <a:lnTo>
                  <a:pt x="141" y="545"/>
                </a:lnTo>
                <a:lnTo>
                  <a:pt x="130" y="537"/>
                </a:lnTo>
                <a:lnTo>
                  <a:pt x="118" y="528"/>
                </a:lnTo>
                <a:lnTo>
                  <a:pt x="107" y="521"/>
                </a:lnTo>
                <a:lnTo>
                  <a:pt x="96" y="510"/>
                </a:lnTo>
                <a:lnTo>
                  <a:pt x="86" y="501"/>
                </a:lnTo>
                <a:lnTo>
                  <a:pt x="77" y="491"/>
                </a:lnTo>
                <a:lnTo>
                  <a:pt x="67" y="481"/>
                </a:lnTo>
                <a:lnTo>
                  <a:pt x="59" y="469"/>
                </a:lnTo>
                <a:lnTo>
                  <a:pt x="50" y="458"/>
                </a:lnTo>
                <a:lnTo>
                  <a:pt x="42" y="446"/>
                </a:lnTo>
                <a:lnTo>
                  <a:pt x="36" y="433"/>
                </a:lnTo>
                <a:lnTo>
                  <a:pt x="30" y="421"/>
                </a:lnTo>
                <a:lnTo>
                  <a:pt x="23" y="408"/>
                </a:lnTo>
                <a:lnTo>
                  <a:pt x="18" y="395"/>
                </a:lnTo>
                <a:lnTo>
                  <a:pt x="13" y="381"/>
                </a:lnTo>
                <a:lnTo>
                  <a:pt x="9" y="367"/>
                </a:lnTo>
                <a:lnTo>
                  <a:pt x="7" y="353"/>
                </a:lnTo>
                <a:lnTo>
                  <a:pt x="4" y="339"/>
                </a:lnTo>
                <a:lnTo>
                  <a:pt x="1" y="323"/>
                </a:lnTo>
                <a:lnTo>
                  <a:pt x="0" y="309"/>
                </a:lnTo>
                <a:lnTo>
                  <a:pt x="0" y="294"/>
                </a:lnTo>
                <a:lnTo>
                  <a:pt x="0" y="278"/>
                </a:lnTo>
                <a:lnTo>
                  <a:pt x="1" y="263"/>
                </a:lnTo>
                <a:lnTo>
                  <a:pt x="4" y="249"/>
                </a:lnTo>
                <a:lnTo>
                  <a:pt x="7" y="235"/>
                </a:lnTo>
                <a:lnTo>
                  <a:pt x="9" y="221"/>
                </a:lnTo>
                <a:lnTo>
                  <a:pt x="13" y="206"/>
                </a:lnTo>
                <a:lnTo>
                  <a:pt x="18" y="192"/>
                </a:lnTo>
                <a:lnTo>
                  <a:pt x="23" y="180"/>
                </a:lnTo>
                <a:lnTo>
                  <a:pt x="30" y="167"/>
                </a:lnTo>
                <a:lnTo>
                  <a:pt x="36" y="154"/>
                </a:lnTo>
                <a:lnTo>
                  <a:pt x="42" y="141"/>
                </a:lnTo>
                <a:lnTo>
                  <a:pt x="50" y="130"/>
                </a:lnTo>
                <a:lnTo>
                  <a:pt x="59" y="118"/>
                </a:lnTo>
                <a:lnTo>
                  <a:pt x="67" y="107"/>
                </a:lnTo>
                <a:lnTo>
                  <a:pt x="77" y="96"/>
                </a:lnTo>
                <a:lnTo>
                  <a:pt x="86" y="86"/>
                </a:lnTo>
                <a:lnTo>
                  <a:pt x="96" y="76"/>
                </a:lnTo>
                <a:lnTo>
                  <a:pt x="107" y="67"/>
                </a:lnTo>
                <a:lnTo>
                  <a:pt x="118" y="58"/>
                </a:lnTo>
                <a:lnTo>
                  <a:pt x="130" y="50"/>
                </a:lnTo>
                <a:lnTo>
                  <a:pt x="141" y="42"/>
                </a:lnTo>
                <a:lnTo>
                  <a:pt x="154" y="36"/>
                </a:lnTo>
                <a:lnTo>
                  <a:pt x="167" y="30"/>
                </a:lnTo>
                <a:lnTo>
                  <a:pt x="180" y="23"/>
                </a:lnTo>
                <a:lnTo>
                  <a:pt x="192" y="18"/>
                </a:lnTo>
                <a:lnTo>
                  <a:pt x="206" y="13"/>
                </a:lnTo>
                <a:lnTo>
                  <a:pt x="221" y="9"/>
                </a:lnTo>
                <a:lnTo>
                  <a:pt x="235" y="7"/>
                </a:lnTo>
                <a:lnTo>
                  <a:pt x="249" y="4"/>
                </a:lnTo>
                <a:lnTo>
                  <a:pt x="264" y="1"/>
                </a:lnTo>
                <a:lnTo>
                  <a:pt x="278" y="0"/>
                </a:lnTo>
                <a:lnTo>
                  <a:pt x="294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0" name="Freeform 305">
            <a:extLst>
              <a:ext uri="{FF2B5EF4-FFF2-40B4-BE49-F238E27FC236}">
                <a16:creationId xmlns:a16="http://schemas.microsoft.com/office/drawing/2014/main" id="{DE9265C9-D805-400E-B1C6-EEA9F3F82DA5}"/>
              </a:ext>
            </a:extLst>
          </p:cNvPr>
          <p:cNvSpPr>
            <a:spLocks noEditPoints="1"/>
          </p:cNvSpPr>
          <p:nvPr/>
        </p:nvSpPr>
        <p:spPr bwMode="auto">
          <a:xfrm>
            <a:off x="9609493" y="5417783"/>
            <a:ext cx="310992" cy="271554"/>
          </a:xfrm>
          <a:custGeom>
            <a:avLst/>
            <a:gdLst>
              <a:gd name="T0" fmla="*/ 386 w 650"/>
              <a:gd name="T1" fmla="*/ 201 h 598"/>
              <a:gd name="T2" fmla="*/ 432 w 650"/>
              <a:gd name="T3" fmla="*/ 221 h 598"/>
              <a:gd name="T4" fmla="*/ 473 w 650"/>
              <a:gd name="T5" fmla="*/ 252 h 598"/>
              <a:gd name="T6" fmla="*/ 508 w 650"/>
              <a:gd name="T7" fmla="*/ 300 h 598"/>
              <a:gd name="T8" fmla="*/ 528 w 650"/>
              <a:gd name="T9" fmla="*/ 355 h 598"/>
              <a:gd name="T10" fmla="*/ 532 w 650"/>
              <a:gd name="T11" fmla="*/ 407 h 598"/>
              <a:gd name="T12" fmla="*/ 527 w 650"/>
              <a:gd name="T13" fmla="*/ 442 h 598"/>
              <a:gd name="T14" fmla="*/ 650 w 650"/>
              <a:gd name="T15" fmla="*/ 562 h 598"/>
              <a:gd name="T16" fmla="*/ 487 w 650"/>
              <a:gd name="T17" fmla="*/ 524 h 598"/>
              <a:gd name="T18" fmla="*/ 442 w 650"/>
              <a:gd name="T19" fmla="*/ 564 h 598"/>
              <a:gd name="T20" fmla="*/ 390 w 650"/>
              <a:gd name="T21" fmla="*/ 589 h 598"/>
              <a:gd name="T22" fmla="*/ 330 w 650"/>
              <a:gd name="T23" fmla="*/ 598 h 598"/>
              <a:gd name="T24" fmla="*/ 269 w 650"/>
              <a:gd name="T25" fmla="*/ 589 h 598"/>
              <a:gd name="T26" fmla="*/ 217 w 650"/>
              <a:gd name="T27" fmla="*/ 564 h 598"/>
              <a:gd name="T28" fmla="*/ 171 w 650"/>
              <a:gd name="T29" fmla="*/ 521 h 598"/>
              <a:gd name="T30" fmla="*/ 0 w 650"/>
              <a:gd name="T31" fmla="*/ 558 h 598"/>
              <a:gd name="T32" fmla="*/ 132 w 650"/>
              <a:gd name="T33" fmla="*/ 439 h 598"/>
              <a:gd name="T34" fmla="*/ 128 w 650"/>
              <a:gd name="T35" fmla="*/ 375 h 598"/>
              <a:gd name="T36" fmla="*/ 143 w 650"/>
              <a:gd name="T37" fmla="*/ 316 h 598"/>
              <a:gd name="T38" fmla="*/ 173 w 650"/>
              <a:gd name="T39" fmla="*/ 266 h 598"/>
              <a:gd name="T40" fmla="*/ 216 w 650"/>
              <a:gd name="T41" fmla="*/ 228 h 598"/>
              <a:gd name="T42" fmla="*/ 267 w 650"/>
              <a:gd name="T43" fmla="*/ 203 h 598"/>
              <a:gd name="T44" fmla="*/ 324 w 650"/>
              <a:gd name="T45" fmla="*/ 193 h 598"/>
              <a:gd name="T46" fmla="*/ 350 w 650"/>
              <a:gd name="T47" fmla="*/ 194 h 598"/>
              <a:gd name="T48" fmla="*/ 262 w 650"/>
              <a:gd name="T49" fmla="*/ 344 h 598"/>
              <a:gd name="T50" fmla="*/ 155 w 650"/>
              <a:gd name="T51" fmla="*/ 369 h 598"/>
              <a:gd name="T52" fmla="*/ 154 w 650"/>
              <a:gd name="T53" fmla="*/ 411 h 598"/>
              <a:gd name="T54" fmla="*/ 262 w 650"/>
              <a:gd name="T55" fmla="*/ 319 h 598"/>
              <a:gd name="T56" fmla="*/ 231 w 650"/>
              <a:gd name="T57" fmla="*/ 248 h 598"/>
              <a:gd name="T58" fmla="*/ 195 w 650"/>
              <a:gd name="T59" fmla="*/ 282 h 598"/>
              <a:gd name="T60" fmla="*/ 171 w 650"/>
              <a:gd name="T61" fmla="*/ 319 h 598"/>
              <a:gd name="T62" fmla="*/ 372 w 650"/>
              <a:gd name="T63" fmla="*/ 319 h 598"/>
              <a:gd name="T64" fmla="*/ 351 w 650"/>
              <a:gd name="T65" fmla="*/ 220 h 598"/>
              <a:gd name="T66" fmla="*/ 319 w 650"/>
              <a:gd name="T67" fmla="*/ 219 h 598"/>
              <a:gd name="T68" fmla="*/ 287 w 650"/>
              <a:gd name="T69" fmla="*/ 224 h 598"/>
              <a:gd name="T70" fmla="*/ 488 w 650"/>
              <a:gd name="T71" fmla="*/ 319 h 598"/>
              <a:gd name="T72" fmla="*/ 464 w 650"/>
              <a:gd name="T73" fmla="*/ 282 h 598"/>
              <a:gd name="T74" fmla="*/ 428 w 650"/>
              <a:gd name="T75" fmla="*/ 248 h 598"/>
              <a:gd name="T76" fmla="*/ 499 w 650"/>
              <a:gd name="T77" fmla="*/ 344 h 598"/>
              <a:gd name="T78" fmla="*/ 504 w 650"/>
              <a:gd name="T79" fmla="*/ 428 h 598"/>
              <a:gd name="T80" fmla="*/ 505 w 650"/>
              <a:gd name="T81" fmla="*/ 383 h 598"/>
              <a:gd name="T82" fmla="*/ 499 w 650"/>
              <a:gd name="T83" fmla="*/ 344 h 598"/>
              <a:gd name="T84" fmla="*/ 398 w 650"/>
              <a:gd name="T85" fmla="*/ 558 h 598"/>
              <a:gd name="T86" fmla="*/ 442 w 650"/>
              <a:gd name="T87" fmla="*/ 532 h 598"/>
              <a:gd name="T88" fmla="*/ 480 w 650"/>
              <a:gd name="T89" fmla="*/ 489 h 598"/>
              <a:gd name="T90" fmla="*/ 372 w 650"/>
              <a:gd name="T91" fmla="*/ 567 h 598"/>
              <a:gd name="T92" fmla="*/ 287 w 650"/>
              <a:gd name="T93" fmla="*/ 567 h 598"/>
              <a:gd name="T94" fmla="*/ 319 w 650"/>
              <a:gd name="T95" fmla="*/ 571 h 598"/>
              <a:gd name="T96" fmla="*/ 351 w 650"/>
              <a:gd name="T97" fmla="*/ 571 h 598"/>
              <a:gd name="T98" fmla="*/ 262 w 650"/>
              <a:gd name="T99" fmla="*/ 558 h 598"/>
              <a:gd name="T100" fmla="*/ 171 w 650"/>
              <a:gd name="T101" fmla="*/ 471 h 598"/>
              <a:gd name="T102" fmla="*/ 205 w 650"/>
              <a:gd name="T103" fmla="*/ 520 h 598"/>
              <a:gd name="T104" fmla="*/ 246 w 650"/>
              <a:gd name="T105" fmla="*/ 551 h 598"/>
              <a:gd name="T106" fmla="*/ 372 w 650"/>
              <a:gd name="T107" fmla="*/ 428 h 598"/>
              <a:gd name="T108" fmla="*/ 287 w 650"/>
              <a:gd name="T109" fmla="*/ 428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650" h="598">
                <a:moveTo>
                  <a:pt x="350" y="194"/>
                </a:moveTo>
                <a:lnTo>
                  <a:pt x="368" y="197"/>
                </a:lnTo>
                <a:lnTo>
                  <a:pt x="386" y="201"/>
                </a:lnTo>
                <a:lnTo>
                  <a:pt x="401" y="206"/>
                </a:lnTo>
                <a:lnTo>
                  <a:pt x="418" y="214"/>
                </a:lnTo>
                <a:lnTo>
                  <a:pt x="432" y="221"/>
                </a:lnTo>
                <a:lnTo>
                  <a:pt x="447" y="230"/>
                </a:lnTo>
                <a:lnTo>
                  <a:pt x="460" y="241"/>
                </a:lnTo>
                <a:lnTo>
                  <a:pt x="473" y="252"/>
                </a:lnTo>
                <a:lnTo>
                  <a:pt x="486" y="266"/>
                </a:lnTo>
                <a:lnTo>
                  <a:pt x="497" y="283"/>
                </a:lnTo>
                <a:lnTo>
                  <a:pt x="508" y="300"/>
                </a:lnTo>
                <a:lnTo>
                  <a:pt x="517" y="316"/>
                </a:lnTo>
                <a:lnTo>
                  <a:pt x="523" y="335"/>
                </a:lnTo>
                <a:lnTo>
                  <a:pt x="528" y="355"/>
                </a:lnTo>
                <a:lnTo>
                  <a:pt x="531" y="375"/>
                </a:lnTo>
                <a:lnTo>
                  <a:pt x="532" y="396"/>
                </a:lnTo>
                <a:lnTo>
                  <a:pt x="532" y="407"/>
                </a:lnTo>
                <a:lnTo>
                  <a:pt x="531" y="419"/>
                </a:lnTo>
                <a:lnTo>
                  <a:pt x="529" y="430"/>
                </a:lnTo>
                <a:lnTo>
                  <a:pt x="527" y="442"/>
                </a:lnTo>
                <a:lnTo>
                  <a:pt x="521" y="464"/>
                </a:lnTo>
                <a:lnTo>
                  <a:pt x="512" y="484"/>
                </a:lnTo>
                <a:lnTo>
                  <a:pt x="650" y="562"/>
                </a:lnTo>
                <a:lnTo>
                  <a:pt x="637" y="585"/>
                </a:lnTo>
                <a:lnTo>
                  <a:pt x="499" y="507"/>
                </a:lnTo>
                <a:lnTo>
                  <a:pt x="487" y="524"/>
                </a:lnTo>
                <a:lnTo>
                  <a:pt x="473" y="539"/>
                </a:lnTo>
                <a:lnTo>
                  <a:pt x="459" y="552"/>
                </a:lnTo>
                <a:lnTo>
                  <a:pt x="442" y="564"/>
                </a:lnTo>
                <a:lnTo>
                  <a:pt x="426" y="574"/>
                </a:lnTo>
                <a:lnTo>
                  <a:pt x="409" y="583"/>
                </a:lnTo>
                <a:lnTo>
                  <a:pt x="390" y="589"/>
                </a:lnTo>
                <a:lnTo>
                  <a:pt x="371" y="594"/>
                </a:lnTo>
                <a:lnTo>
                  <a:pt x="350" y="597"/>
                </a:lnTo>
                <a:lnTo>
                  <a:pt x="330" y="598"/>
                </a:lnTo>
                <a:lnTo>
                  <a:pt x="309" y="597"/>
                </a:lnTo>
                <a:lnTo>
                  <a:pt x="289" y="594"/>
                </a:lnTo>
                <a:lnTo>
                  <a:pt x="269" y="589"/>
                </a:lnTo>
                <a:lnTo>
                  <a:pt x="251" y="583"/>
                </a:lnTo>
                <a:lnTo>
                  <a:pt x="233" y="574"/>
                </a:lnTo>
                <a:lnTo>
                  <a:pt x="217" y="564"/>
                </a:lnTo>
                <a:lnTo>
                  <a:pt x="201" y="552"/>
                </a:lnTo>
                <a:lnTo>
                  <a:pt x="186" y="539"/>
                </a:lnTo>
                <a:lnTo>
                  <a:pt x="171" y="521"/>
                </a:lnTo>
                <a:lnTo>
                  <a:pt x="158" y="503"/>
                </a:lnTo>
                <a:lnTo>
                  <a:pt x="13" y="581"/>
                </a:lnTo>
                <a:lnTo>
                  <a:pt x="0" y="558"/>
                </a:lnTo>
                <a:lnTo>
                  <a:pt x="145" y="480"/>
                </a:lnTo>
                <a:lnTo>
                  <a:pt x="137" y="460"/>
                </a:lnTo>
                <a:lnTo>
                  <a:pt x="132" y="439"/>
                </a:lnTo>
                <a:lnTo>
                  <a:pt x="128" y="417"/>
                </a:lnTo>
                <a:lnTo>
                  <a:pt x="127" y="396"/>
                </a:lnTo>
                <a:lnTo>
                  <a:pt x="128" y="375"/>
                </a:lnTo>
                <a:lnTo>
                  <a:pt x="131" y="355"/>
                </a:lnTo>
                <a:lnTo>
                  <a:pt x="136" y="335"/>
                </a:lnTo>
                <a:lnTo>
                  <a:pt x="143" y="316"/>
                </a:lnTo>
                <a:lnTo>
                  <a:pt x="151" y="300"/>
                </a:lnTo>
                <a:lnTo>
                  <a:pt x="162" y="283"/>
                </a:lnTo>
                <a:lnTo>
                  <a:pt x="173" y="266"/>
                </a:lnTo>
                <a:lnTo>
                  <a:pt x="186" y="252"/>
                </a:lnTo>
                <a:lnTo>
                  <a:pt x="200" y="239"/>
                </a:lnTo>
                <a:lnTo>
                  <a:pt x="216" y="228"/>
                </a:lnTo>
                <a:lnTo>
                  <a:pt x="232" y="219"/>
                </a:lnTo>
                <a:lnTo>
                  <a:pt x="249" y="210"/>
                </a:lnTo>
                <a:lnTo>
                  <a:pt x="267" y="203"/>
                </a:lnTo>
                <a:lnTo>
                  <a:pt x="286" y="198"/>
                </a:lnTo>
                <a:lnTo>
                  <a:pt x="305" y="194"/>
                </a:lnTo>
                <a:lnTo>
                  <a:pt x="324" y="193"/>
                </a:lnTo>
                <a:lnTo>
                  <a:pt x="324" y="0"/>
                </a:lnTo>
                <a:lnTo>
                  <a:pt x="350" y="0"/>
                </a:lnTo>
                <a:lnTo>
                  <a:pt x="350" y="194"/>
                </a:lnTo>
                <a:close/>
                <a:moveTo>
                  <a:pt x="155" y="428"/>
                </a:moveTo>
                <a:lnTo>
                  <a:pt x="262" y="428"/>
                </a:lnTo>
                <a:lnTo>
                  <a:pt x="262" y="344"/>
                </a:lnTo>
                <a:lnTo>
                  <a:pt x="160" y="344"/>
                </a:lnTo>
                <a:lnTo>
                  <a:pt x="158" y="357"/>
                </a:lnTo>
                <a:lnTo>
                  <a:pt x="155" y="369"/>
                </a:lnTo>
                <a:lnTo>
                  <a:pt x="154" y="383"/>
                </a:lnTo>
                <a:lnTo>
                  <a:pt x="153" y="396"/>
                </a:lnTo>
                <a:lnTo>
                  <a:pt x="154" y="411"/>
                </a:lnTo>
                <a:lnTo>
                  <a:pt x="155" y="428"/>
                </a:lnTo>
                <a:close/>
                <a:moveTo>
                  <a:pt x="171" y="319"/>
                </a:moveTo>
                <a:lnTo>
                  <a:pt x="262" y="319"/>
                </a:lnTo>
                <a:lnTo>
                  <a:pt x="262" y="233"/>
                </a:lnTo>
                <a:lnTo>
                  <a:pt x="246" y="241"/>
                </a:lnTo>
                <a:lnTo>
                  <a:pt x="231" y="248"/>
                </a:lnTo>
                <a:lnTo>
                  <a:pt x="218" y="259"/>
                </a:lnTo>
                <a:lnTo>
                  <a:pt x="205" y="270"/>
                </a:lnTo>
                <a:lnTo>
                  <a:pt x="195" y="282"/>
                </a:lnTo>
                <a:lnTo>
                  <a:pt x="186" y="293"/>
                </a:lnTo>
                <a:lnTo>
                  <a:pt x="178" y="306"/>
                </a:lnTo>
                <a:lnTo>
                  <a:pt x="171" y="319"/>
                </a:lnTo>
                <a:close/>
                <a:moveTo>
                  <a:pt x="287" y="224"/>
                </a:moveTo>
                <a:lnTo>
                  <a:pt x="287" y="319"/>
                </a:lnTo>
                <a:lnTo>
                  <a:pt x="372" y="319"/>
                </a:lnTo>
                <a:lnTo>
                  <a:pt x="372" y="224"/>
                </a:lnTo>
                <a:lnTo>
                  <a:pt x="362" y="221"/>
                </a:lnTo>
                <a:lnTo>
                  <a:pt x="351" y="220"/>
                </a:lnTo>
                <a:lnTo>
                  <a:pt x="340" y="219"/>
                </a:lnTo>
                <a:lnTo>
                  <a:pt x="330" y="219"/>
                </a:lnTo>
                <a:lnTo>
                  <a:pt x="319" y="219"/>
                </a:lnTo>
                <a:lnTo>
                  <a:pt x="308" y="220"/>
                </a:lnTo>
                <a:lnTo>
                  <a:pt x="298" y="221"/>
                </a:lnTo>
                <a:lnTo>
                  <a:pt x="287" y="224"/>
                </a:lnTo>
                <a:close/>
                <a:moveTo>
                  <a:pt x="398" y="233"/>
                </a:moveTo>
                <a:lnTo>
                  <a:pt x="398" y="319"/>
                </a:lnTo>
                <a:lnTo>
                  <a:pt x="488" y="319"/>
                </a:lnTo>
                <a:lnTo>
                  <a:pt x="482" y="306"/>
                </a:lnTo>
                <a:lnTo>
                  <a:pt x="473" y="293"/>
                </a:lnTo>
                <a:lnTo>
                  <a:pt x="464" y="282"/>
                </a:lnTo>
                <a:lnTo>
                  <a:pt x="454" y="270"/>
                </a:lnTo>
                <a:lnTo>
                  <a:pt x="442" y="259"/>
                </a:lnTo>
                <a:lnTo>
                  <a:pt x="428" y="248"/>
                </a:lnTo>
                <a:lnTo>
                  <a:pt x="413" y="239"/>
                </a:lnTo>
                <a:lnTo>
                  <a:pt x="398" y="233"/>
                </a:lnTo>
                <a:close/>
                <a:moveTo>
                  <a:pt x="499" y="344"/>
                </a:moveTo>
                <a:lnTo>
                  <a:pt x="398" y="344"/>
                </a:lnTo>
                <a:lnTo>
                  <a:pt x="398" y="428"/>
                </a:lnTo>
                <a:lnTo>
                  <a:pt x="504" y="428"/>
                </a:lnTo>
                <a:lnTo>
                  <a:pt x="505" y="411"/>
                </a:lnTo>
                <a:lnTo>
                  <a:pt x="506" y="396"/>
                </a:lnTo>
                <a:lnTo>
                  <a:pt x="505" y="383"/>
                </a:lnTo>
                <a:lnTo>
                  <a:pt x="504" y="369"/>
                </a:lnTo>
                <a:lnTo>
                  <a:pt x="501" y="357"/>
                </a:lnTo>
                <a:lnTo>
                  <a:pt x="499" y="344"/>
                </a:lnTo>
                <a:close/>
                <a:moveTo>
                  <a:pt x="496" y="453"/>
                </a:moveTo>
                <a:lnTo>
                  <a:pt x="398" y="453"/>
                </a:lnTo>
                <a:lnTo>
                  <a:pt x="398" y="558"/>
                </a:lnTo>
                <a:lnTo>
                  <a:pt x="413" y="551"/>
                </a:lnTo>
                <a:lnTo>
                  <a:pt x="428" y="542"/>
                </a:lnTo>
                <a:lnTo>
                  <a:pt x="442" y="532"/>
                </a:lnTo>
                <a:lnTo>
                  <a:pt x="454" y="520"/>
                </a:lnTo>
                <a:lnTo>
                  <a:pt x="468" y="506"/>
                </a:lnTo>
                <a:lnTo>
                  <a:pt x="480" y="489"/>
                </a:lnTo>
                <a:lnTo>
                  <a:pt x="488" y="471"/>
                </a:lnTo>
                <a:lnTo>
                  <a:pt x="496" y="453"/>
                </a:lnTo>
                <a:close/>
                <a:moveTo>
                  <a:pt x="372" y="567"/>
                </a:moveTo>
                <a:lnTo>
                  <a:pt x="372" y="453"/>
                </a:lnTo>
                <a:lnTo>
                  <a:pt x="287" y="453"/>
                </a:lnTo>
                <a:lnTo>
                  <a:pt x="287" y="567"/>
                </a:lnTo>
                <a:lnTo>
                  <a:pt x="298" y="569"/>
                </a:lnTo>
                <a:lnTo>
                  <a:pt x="308" y="571"/>
                </a:lnTo>
                <a:lnTo>
                  <a:pt x="319" y="571"/>
                </a:lnTo>
                <a:lnTo>
                  <a:pt x="330" y="573"/>
                </a:lnTo>
                <a:lnTo>
                  <a:pt x="340" y="571"/>
                </a:lnTo>
                <a:lnTo>
                  <a:pt x="351" y="571"/>
                </a:lnTo>
                <a:lnTo>
                  <a:pt x="362" y="569"/>
                </a:lnTo>
                <a:lnTo>
                  <a:pt x="372" y="567"/>
                </a:lnTo>
                <a:close/>
                <a:moveTo>
                  <a:pt x="262" y="558"/>
                </a:moveTo>
                <a:lnTo>
                  <a:pt x="262" y="453"/>
                </a:lnTo>
                <a:lnTo>
                  <a:pt x="163" y="453"/>
                </a:lnTo>
                <a:lnTo>
                  <a:pt x="171" y="471"/>
                </a:lnTo>
                <a:lnTo>
                  <a:pt x="180" y="489"/>
                </a:lnTo>
                <a:lnTo>
                  <a:pt x="191" y="506"/>
                </a:lnTo>
                <a:lnTo>
                  <a:pt x="205" y="520"/>
                </a:lnTo>
                <a:lnTo>
                  <a:pt x="218" y="532"/>
                </a:lnTo>
                <a:lnTo>
                  <a:pt x="231" y="542"/>
                </a:lnTo>
                <a:lnTo>
                  <a:pt x="246" y="551"/>
                </a:lnTo>
                <a:lnTo>
                  <a:pt x="262" y="558"/>
                </a:lnTo>
                <a:close/>
                <a:moveTo>
                  <a:pt x="287" y="428"/>
                </a:moveTo>
                <a:lnTo>
                  <a:pt x="372" y="428"/>
                </a:lnTo>
                <a:lnTo>
                  <a:pt x="372" y="344"/>
                </a:lnTo>
                <a:lnTo>
                  <a:pt x="287" y="344"/>
                </a:lnTo>
                <a:lnTo>
                  <a:pt x="287" y="428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1" name="Rectangle 306">
            <a:extLst>
              <a:ext uri="{FF2B5EF4-FFF2-40B4-BE49-F238E27FC236}">
                <a16:creationId xmlns:a16="http://schemas.microsoft.com/office/drawing/2014/main" id="{E31233F0-4545-4BB6-9814-7C55566855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62839" y="5730365"/>
            <a:ext cx="12899" cy="4776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2" name="Freeform 311">
            <a:extLst>
              <a:ext uri="{FF2B5EF4-FFF2-40B4-BE49-F238E27FC236}">
                <a16:creationId xmlns:a16="http://schemas.microsoft.com/office/drawing/2014/main" id="{A606092A-869F-4918-A68B-4930ABA3A04B}"/>
              </a:ext>
            </a:extLst>
          </p:cNvPr>
          <p:cNvSpPr>
            <a:spLocks noEditPoints="1"/>
          </p:cNvSpPr>
          <p:nvPr/>
        </p:nvSpPr>
        <p:spPr bwMode="auto">
          <a:xfrm>
            <a:off x="9914751" y="5666229"/>
            <a:ext cx="50160" cy="47761"/>
          </a:xfrm>
          <a:custGeom>
            <a:avLst/>
            <a:gdLst>
              <a:gd name="T0" fmla="*/ 64 w 106"/>
              <a:gd name="T1" fmla="*/ 1 h 106"/>
              <a:gd name="T2" fmla="*/ 83 w 106"/>
              <a:gd name="T3" fmla="*/ 9 h 106"/>
              <a:gd name="T4" fmla="*/ 97 w 106"/>
              <a:gd name="T5" fmla="*/ 23 h 106"/>
              <a:gd name="T6" fmla="*/ 105 w 106"/>
              <a:gd name="T7" fmla="*/ 42 h 106"/>
              <a:gd name="T8" fmla="*/ 105 w 106"/>
              <a:gd name="T9" fmla="*/ 64 h 106"/>
              <a:gd name="T10" fmla="*/ 97 w 106"/>
              <a:gd name="T11" fmla="*/ 83 h 106"/>
              <a:gd name="T12" fmla="*/ 83 w 106"/>
              <a:gd name="T13" fmla="*/ 97 h 106"/>
              <a:gd name="T14" fmla="*/ 64 w 106"/>
              <a:gd name="T15" fmla="*/ 105 h 106"/>
              <a:gd name="T16" fmla="*/ 42 w 106"/>
              <a:gd name="T17" fmla="*/ 105 h 106"/>
              <a:gd name="T18" fmla="*/ 23 w 106"/>
              <a:gd name="T19" fmla="*/ 97 h 106"/>
              <a:gd name="T20" fmla="*/ 9 w 106"/>
              <a:gd name="T21" fmla="*/ 83 h 106"/>
              <a:gd name="T22" fmla="*/ 1 w 106"/>
              <a:gd name="T23" fmla="*/ 64 h 106"/>
              <a:gd name="T24" fmla="*/ 1 w 106"/>
              <a:gd name="T25" fmla="*/ 42 h 106"/>
              <a:gd name="T26" fmla="*/ 9 w 106"/>
              <a:gd name="T27" fmla="*/ 23 h 106"/>
              <a:gd name="T28" fmla="*/ 23 w 106"/>
              <a:gd name="T29" fmla="*/ 9 h 106"/>
              <a:gd name="T30" fmla="*/ 42 w 106"/>
              <a:gd name="T31" fmla="*/ 1 h 106"/>
              <a:gd name="T32" fmla="*/ 54 w 106"/>
              <a:gd name="T33" fmla="*/ 28 h 106"/>
              <a:gd name="T34" fmla="*/ 63 w 106"/>
              <a:gd name="T35" fmla="*/ 31 h 106"/>
              <a:gd name="T36" fmla="*/ 72 w 106"/>
              <a:gd name="T37" fmla="*/ 36 h 106"/>
              <a:gd name="T38" fmla="*/ 77 w 106"/>
              <a:gd name="T39" fmla="*/ 43 h 106"/>
              <a:gd name="T40" fmla="*/ 78 w 106"/>
              <a:gd name="T41" fmla="*/ 54 h 106"/>
              <a:gd name="T42" fmla="*/ 77 w 106"/>
              <a:gd name="T43" fmla="*/ 63 h 106"/>
              <a:gd name="T44" fmla="*/ 72 w 106"/>
              <a:gd name="T45" fmla="*/ 72 h 106"/>
              <a:gd name="T46" fmla="*/ 63 w 106"/>
              <a:gd name="T47" fmla="*/ 77 h 106"/>
              <a:gd name="T48" fmla="*/ 54 w 106"/>
              <a:gd name="T49" fmla="*/ 78 h 106"/>
              <a:gd name="T50" fmla="*/ 43 w 106"/>
              <a:gd name="T51" fmla="*/ 77 h 106"/>
              <a:gd name="T52" fmla="*/ 36 w 106"/>
              <a:gd name="T53" fmla="*/ 72 h 106"/>
              <a:gd name="T54" fmla="*/ 31 w 106"/>
              <a:gd name="T55" fmla="*/ 63 h 106"/>
              <a:gd name="T56" fmla="*/ 28 w 106"/>
              <a:gd name="T57" fmla="*/ 54 h 106"/>
              <a:gd name="T58" fmla="*/ 31 w 106"/>
              <a:gd name="T59" fmla="*/ 43 h 106"/>
              <a:gd name="T60" fmla="*/ 36 w 106"/>
              <a:gd name="T61" fmla="*/ 36 h 106"/>
              <a:gd name="T62" fmla="*/ 43 w 106"/>
              <a:gd name="T63" fmla="*/ 31 h 106"/>
              <a:gd name="T64" fmla="*/ 54 w 106"/>
              <a:gd name="T65" fmla="*/ 28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" h="106">
                <a:moveTo>
                  <a:pt x="54" y="0"/>
                </a:moveTo>
                <a:lnTo>
                  <a:pt x="64" y="1"/>
                </a:lnTo>
                <a:lnTo>
                  <a:pt x="74" y="4"/>
                </a:lnTo>
                <a:lnTo>
                  <a:pt x="83" y="9"/>
                </a:lnTo>
                <a:lnTo>
                  <a:pt x="91" y="15"/>
                </a:lnTo>
                <a:lnTo>
                  <a:pt x="97" y="23"/>
                </a:lnTo>
                <a:lnTo>
                  <a:pt x="102" y="32"/>
                </a:lnTo>
                <a:lnTo>
                  <a:pt x="105" y="42"/>
                </a:lnTo>
                <a:lnTo>
                  <a:pt x="106" y="54"/>
                </a:lnTo>
                <a:lnTo>
                  <a:pt x="105" y="64"/>
                </a:lnTo>
                <a:lnTo>
                  <a:pt x="102" y="74"/>
                </a:lnTo>
                <a:lnTo>
                  <a:pt x="97" y="83"/>
                </a:lnTo>
                <a:lnTo>
                  <a:pt x="91" y="91"/>
                </a:lnTo>
                <a:lnTo>
                  <a:pt x="83" y="97"/>
                </a:lnTo>
                <a:lnTo>
                  <a:pt x="74" y="102"/>
                </a:lnTo>
                <a:lnTo>
                  <a:pt x="64" y="105"/>
                </a:lnTo>
                <a:lnTo>
                  <a:pt x="54" y="106"/>
                </a:lnTo>
                <a:lnTo>
                  <a:pt x="42" y="105"/>
                </a:lnTo>
                <a:lnTo>
                  <a:pt x="33" y="102"/>
                </a:lnTo>
                <a:lnTo>
                  <a:pt x="23" y="97"/>
                </a:lnTo>
                <a:lnTo>
                  <a:pt x="15" y="91"/>
                </a:lnTo>
                <a:lnTo>
                  <a:pt x="9" y="83"/>
                </a:lnTo>
                <a:lnTo>
                  <a:pt x="4" y="74"/>
                </a:lnTo>
                <a:lnTo>
                  <a:pt x="1" y="64"/>
                </a:lnTo>
                <a:lnTo>
                  <a:pt x="0" y="54"/>
                </a:lnTo>
                <a:lnTo>
                  <a:pt x="1" y="42"/>
                </a:lnTo>
                <a:lnTo>
                  <a:pt x="4" y="32"/>
                </a:lnTo>
                <a:lnTo>
                  <a:pt x="9" y="23"/>
                </a:lnTo>
                <a:lnTo>
                  <a:pt x="15" y="15"/>
                </a:lnTo>
                <a:lnTo>
                  <a:pt x="23" y="9"/>
                </a:lnTo>
                <a:lnTo>
                  <a:pt x="33" y="4"/>
                </a:lnTo>
                <a:lnTo>
                  <a:pt x="42" y="1"/>
                </a:lnTo>
                <a:lnTo>
                  <a:pt x="54" y="0"/>
                </a:lnTo>
                <a:close/>
                <a:moveTo>
                  <a:pt x="54" y="28"/>
                </a:moveTo>
                <a:lnTo>
                  <a:pt x="59" y="28"/>
                </a:lnTo>
                <a:lnTo>
                  <a:pt x="63" y="31"/>
                </a:lnTo>
                <a:lnTo>
                  <a:pt x="68" y="32"/>
                </a:lnTo>
                <a:lnTo>
                  <a:pt x="72" y="36"/>
                </a:lnTo>
                <a:lnTo>
                  <a:pt x="74" y="40"/>
                </a:lnTo>
                <a:lnTo>
                  <a:pt x="77" y="43"/>
                </a:lnTo>
                <a:lnTo>
                  <a:pt x="78" y="49"/>
                </a:lnTo>
                <a:lnTo>
                  <a:pt x="78" y="54"/>
                </a:lnTo>
                <a:lnTo>
                  <a:pt x="78" y="59"/>
                </a:lnTo>
                <a:lnTo>
                  <a:pt x="77" y="63"/>
                </a:lnTo>
                <a:lnTo>
                  <a:pt x="74" y="68"/>
                </a:lnTo>
                <a:lnTo>
                  <a:pt x="72" y="72"/>
                </a:lnTo>
                <a:lnTo>
                  <a:pt x="68" y="74"/>
                </a:lnTo>
                <a:lnTo>
                  <a:pt x="63" y="77"/>
                </a:lnTo>
                <a:lnTo>
                  <a:pt x="59" y="78"/>
                </a:lnTo>
                <a:lnTo>
                  <a:pt x="54" y="78"/>
                </a:lnTo>
                <a:lnTo>
                  <a:pt x="49" y="78"/>
                </a:lnTo>
                <a:lnTo>
                  <a:pt x="43" y="77"/>
                </a:lnTo>
                <a:lnTo>
                  <a:pt x="40" y="74"/>
                </a:lnTo>
                <a:lnTo>
                  <a:pt x="36" y="72"/>
                </a:lnTo>
                <a:lnTo>
                  <a:pt x="32" y="68"/>
                </a:lnTo>
                <a:lnTo>
                  <a:pt x="31" y="63"/>
                </a:lnTo>
                <a:lnTo>
                  <a:pt x="28" y="59"/>
                </a:lnTo>
                <a:lnTo>
                  <a:pt x="28" y="54"/>
                </a:lnTo>
                <a:lnTo>
                  <a:pt x="28" y="49"/>
                </a:lnTo>
                <a:lnTo>
                  <a:pt x="31" y="43"/>
                </a:lnTo>
                <a:lnTo>
                  <a:pt x="32" y="40"/>
                </a:lnTo>
                <a:lnTo>
                  <a:pt x="36" y="36"/>
                </a:lnTo>
                <a:lnTo>
                  <a:pt x="40" y="32"/>
                </a:lnTo>
                <a:lnTo>
                  <a:pt x="43" y="31"/>
                </a:lnTo>
                <a:lnTo>
                  <a:pt x="49" y="28"/>
                </a:lnTo>
                <a:lnTo>
                  <a:pt x="54" y="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3" name="Freeform 313">
            <a:extLst>
              <a:ext uri="{FF2B5EF4-FFF2-40B4-BE49-F238E27FC236}">
                <a16:creationId xmlns:a16="http://schemas.microsoft.com/office/drawing/2014/main" id="{5496E24A-19DE-4B2B-923C-C6F01C9ED022}"/>
              </a:ext>
            </a:extLst>
          </p:cNvPr>
          <p:cNvSpPr>
            <a:spLocks noEditPoints="1"/>
          </p:cNvSpPr>
          <p:nvPr/>
        </p:nvSpPr>
        <p:spPr bwMode="auto">
          <a:xfrm>
            <a:off x="9567932" y="5662135"/>
            <a:ext cx="50160" cy="49125"/>
          </a:xfrm>
          <a:custGeom>
            <a:avLst/>
            <a:gdLst>
              <a:gd name="T0" fmla="*/ 64 w 107"/>
              <a:gd name="T1" fmla="*/ 1 h 107"/>
              <a:gd name="T2" fmla="*/ 84 w 107"/>
              <a:gd name="T3" fmla="*/ 9 h 107"/>
              <a:gd name="T4" fmla="*/ 98 w 107"/>
              <a:gd name="T5" fmla="*/ 23 h 107"/>
              <a:gd name="T6" fmla="*/ 105 w 107"/>
              <a:gd name="T7" fmla="*/ 42 h 107"/>
              <a:gd name="T8" fmla="*/ 105 w 107"/>
              <a:gd name="T9" fmla="*/ 64 h 107"/>
              <a:gd name="T10" fmla="*/ 98 w 107"/>
              <a:gd name="T11" fmla="*/ 84 h 107"/>
              <a:gd name="T12" fmla="*/ 84 w 107"/>
              <a:gd name="T13" fmla="*/ 98 h 107"/>
              <a:gd name="T14" fmla="*/ 64 w 107"/>
              <a:gd name="T15" fmla="*/ 105 h 107"/>
              <a:gd name="T16" fmla="*/ 43 w 107"/>
              <a:gd name="T17" fmla="*/ 105 h 107"/>
              <a:gd name="T18" fmla="*/ 23 w 107"/>
              <a:gd name="T19" fmla="*/ 98 h 107"/>
              <a:gd name="T20" fmla="*/ 9 w 107"/>
              <a:gd name="T21" fmla="*/ 84 h 107"/>
              <a:gd name="T22" fmla="*/ 2 w 107"/>
              <a:gd name="T23" fmla="*/ 64 h 107"/>
              <a:gd name="T24" fmla="*/ 2 w 107"/>
              <a:gd name="T25" fmla="*/ 42 h 107"/>
              <a:gd name="T26" fmla="*/ 9 w 107"/>
              <a:gd name="T27" fmla="*/ 23 h 107"/>
              <a:gd name="T28" fmla="*/ 23 w 107"/>
              <a:gd name="T29" fmla="*/ 9 h 107"/>
              <a:gd name="T30" fmla="*/ 43 w 107"/>
              <a:gd name="T31" fmla="*/ 1 h 107"/>
              <a:gd name="T32" fmla="*/ 54 w 107"/>
              <a:gd name="T33" fmla="*/ 28 h 107"/>
              <a:gd name="T34" fmla="*/ 63 w 107"/>
              <a:gd name="T35" fmla="*/ 30 h 107"/>
              <a:gd name="T36" fmla="*/ 72 w 107"/>
              <a:gd name="T37" fmla="*/ 36 h 107"/>
              <a:gd name="T38" fmla="*/ 77 w 107"/>
              <a:gd name="T39" fmla="*/ 44 h 107"/>
              <a:gd name="T40" fmla="*/ 78 w 107"/>
              <a:gd name="T41" fmla="*/ 54 h 107"/>
              <a:gd name="T42" fmla="*/ 77 w 107"/>
              <a:gd name="T43" fmla="*/ 63 h 107"/>
              <a:gd name="T44" fmla="*/ 72 w 107"/>
              <a:gd name="T45" fmla="*/ 72 h 107"/>
              <a:gd name="T46" fmla="*/ 63 w 107"/>
              <a:gd name="T47" fmla="*/ 77 h 107"/>
              <a:gd name="T48" fmla="*/ 54 w 107"/>
              <a:gd name="T49" fmla="*/ 78 h 107"/>
              <a:gd name="T50" fmla="*/ 44 w 107"/>
              <a:gd name="T51" fmla="*/ 77 h 107"/>
              <a:gd name="T52" fmla="*/ 36 w 107"/>
              <a:gd name="T53" fmla="*/ 72 h 107"/>
              <a:gd name="T54" fmla="*/ 31 w 107"/>
              <a:gd name="T55" fmla="*/ 63 h 107"/>
              <a:gd name="T56" fmla="*/ 28 w 107"/>
              <a:gd name="T57" fmla="*/ 54 h 107"/>
              <a:gd name="T58" fmla="*/ 31 w 107"/>
              <a:gd name="T59" fmla="*/ 44 h 107"/>
              <a:gd name="T60" fmla="*/ 36 w 107"/>
              <a:gd name="T61" fmla="*/ 36 h 107"/>
              <a:gd name="T62" fmla="*/ 44 w 107"/>
              <a:gd name="T63" fmla="*/ 30 h 107"/>
              <a:gd name="T64" fmla="*/ 54 w 107"/>
              <a:gd name="T65" fmla="*/ 28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7" h="107">
                <a:moveTo>
                  <a:pt x="54" y="0"/>
                </a:moveTo>
                <a:lnTo>
                  <a:pt x="64" y="1"/>
                </a:lnTo>
                <a:lnTo>
                  <a:pt x="75" y="4"/>
                </a:lnTo>
                <a:lnTo>
                  <a:pt x="84" y="9"/>
                </a:lnTo>
                <a:lnTo>
                  <a:pt x="91" y="16"/>
                </a:lnTo>
                <a:lnTo>
                  <a:pt x="98" y="23"/>
                </a:lnTo>
                <a:lnTo>
                  <a:pt x="103" y="32"/>
                </a:lnTo>
                <a:lnTo>
                  <a:pt x="105" y="42"/>
                </a:lnTo>
                <a:lnTo>
                  <a:pt x="107" y="54"/>
                </a:lnTo>
                <a:lnTo>
                  <a:pt x="105" y="64"/>
                </a:lnTo>
                <a:lnTo>
                  <a:pt x="103" y="75"/>
                </a:lnTo>
                <a:lnTo>
                  <a:pt x="98" y="84"/>
                </a:lnTo>
                <a:lnTo>
                  <a:pt x="91" y="91"/>
                </a:lnTo>
                <a:lnTo>
                  <a:pt x="84" y="98"/>
                </a:lnTo>
                <a:lnTo>
                  <a:pt x="75" y="103"/>
                </a:lnTo>
                <a:lnTo>
                  <a:pt x="64" y="105"/>
                </a:lnTo>
                <a:lnTo>
                  <a:pt x="54" y="107"/>
                </a:lnTo>
                <a:lnTo>
                  <a:pt x="43" y="105"/>
                </a:lnTo>
                <a:lnTo>
                  <a:pt x="34" y="103"/>
                </a:lnTo>
                <a:lnTo>
                  <a:pt x="23" y="98"/>
                </a:lnTo>
                <a:lnTo>
                  <a:pt x="16" y="91"/>
                </a:lnTo>
                <a:lnTo>
                  <a:pt x="9" y="84"/>
                </a:lnTo>
                <a:lnTo>
                  <a:pt x="4" y="75"/>
                </a:lnTo>
                <a:lnTo>
                  <a:pt x="2" y="64"/>
                </a:lnTo>
                <a:lnTo>
                  <a:pt x="0" y="54"/>
                </a:lnTo>
                <a:lnTo>
                  <a:pt x="2" y="42"/>
                </a:lnTo>
                <a:lnTo>
                  <a:pt x="4" y="32"/>
                </a:lnTo>
                <a:lnTo>
                  <a:pt x="9" y="23"/>
                </a:lnTo>
                <a:lnTo>
                  <a:pt x="16" y="16"/>
                </a:lnTo>
                <a:lnTo>
                  <a:pt x="23" y="9"/>
                </a:lnTo>
                <a:lnTo>
                  <a:pt x="34" y="4"/>
                </a:lnTo>
                <a:lnTo>
                  <a:pt x="43" y="1"/>
                </a:lnTo>
                <a:lnTo>
                  <a:pt x="54" y="0"/>
                </a:lnTo>
                <a:close/>
                <a:moveTo>
                  <a:pt x="54" y="28"/>
                </a:moveTo>
                <a:lnTo>
                  <a:pt x="59" y="28"/>
                </a:lnTo>
                <a:lnTo>
                  <a:pt x="63" y="30"/>
                </a:lnTo>
                <a:lnTo>
                  <a:pt x="68" y="32"/>
                </a:lnTo>
                <a:lnTo>
                  <a:pt x="72" y="36"/>
                </a:lnTo>
                <a:lnTo>
                  <a:pt x="75" y="40"/>
                </a:lnTo>
                <a:lnTo>
                  <a:pt x="77" y="44"/>
                </a:lnTo>
                <a:lnTo>
                  <a:pt x="78" y="49"/>
                </a:lnTo>
                <a:lnTo>
                  <a:pt x="78" y="54"/>
                </a:lnTo>
                <a:lnTo>
                  <a:pt x="78" y="59"/>
                </a:lnTo>
                <a:lnTo>
                  <a:pt x="77" y="63"/>
                </a:lnTo>
                <a:lnTo>
                  <a:pt x="75" y="68"/>
                </a:lnTo>
                <a:lnTo>
                  <a:pt x="72" y="72"/>
                </a:lnTo>
                <a:lnTo>
                  <a:pt x="68" y="75"/>
                </a:lnTo>
                <a:lnTo>
                  <a:pt x="63" y="77"/>
                </a:lnTo>
                <a:lnTo>
                  <a:pt x="59" y="78"/>
                </a:lnTo>
                <a:lnTo>
                  <a:pt x="54" y="78"/>
                </a:lnTo>
                <a:lnTo>
                  <a:pt x="49" y="78"/>
                </a:lnTo>
                <a:lnTo>
                  <a:pt x="44" y="77"/>
                </a:lnTo>
                <a:lnTo>
                  <a:pt x="40" y="75"/>
                </a:lnTo>
                <a:lnTo>
                  <a:pt x="36" y="72"/>
                </a:lnTo>
                <a:lnTo>
                  <a:pt x="32" y="68"/>
                </a:lnTo>
                <a:lnTo>
                  <a:pt x="31" y="63"/>
                </a:lnTo>
                <a:lnTo>
                  <a:pt x="28" y="59"/>
                </a:lnTo>
                <a:lnTo>
                  <a:pt x="28" y="54"/>
                </a:lnTo>
                <a:lnTo>
                  <a:pt x="28" y="49"/>
                </a:lnTo>
                <a:lnTo>
                  <a:pt x="31" y="44"/>
                </a:lnTo>
                <a:lnTo>
                  <a:pt x="32" y="40"/>
                </a:lnTo>
                <a:lnTo>
                  <a:pt x="36" y="36"/>
                </a:lnTo>
                <a:lnTo>
                  <a:pt x="40" y="32"/>
                </a:lnTo>
                <a:lnTo>
                  <a:pt x="44" y="30"/>
                </a:lnTo>
                <a:lnTo>
                  <a:pt x="49" y="28"/>
                </a:lnTo>
                <a:lnTo>
                  <a:pt x="54" y="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4" name="Freeform 314">
            <a:extLst>
              <a:ext uri="{FF2B5EF4-FFF2-40B4-BE49-F238E27FC236}">
                <a16:creationId xmlns:a16="http://schemas.microsoft.com/office/drawing/2014/main" id="{AAEAE1FF-42F2-4BDD-817E-A7D86519A3B1}"/>
              </a:ext>
            </a:extLst>
          </p:cNvPr>
          <p:cNvSpPr>
            <a:spLocks noEditPoints="1"/>
          </p:cNvSpPr>
          <p:nvPr/>
        </p:nvSpPr>
        <p:spPr bwMode="auto">
          <a:xfrm>
            <a:off x="9742775" y="5776761"/>
            <a:ext cx="51593" cy="49125"/>
          </a:xfrm>
          <a:custGeom>
            <a:avLst/>
            <a:gdLst>
              <a:gd name="T0" fmla="*/ 64 w 106"/>
              <a:gd name="T1" fmla="*/ 2 h 107"/>
              <a:gd name="T2" fmla="*/ 83 w 106"/>
              <a:gd name="T3" fmla="*/ 9 h 107"/>
              <a:gd name="T4" fmla="*/ 97 w 106"/>
              <a:gd name="T5" fmla="*/ 25 h 107"/>
              <a:gd name="T6" fmla="*/ 105 w 106"/>
              <a:gd name="T7" fmla="*/ 43 h 107"/>
              <a:gd name="T8" fmla="*/ 105 w 106"/>
              <a:gd name="T9" fmla="*/ 64 h 107"/>
              <a:gd name="T10" fmla="*/ 97 w 106"/>
              <a:gd name="T11" fmla="*/ 84 h 107"/>
              <a:gd name="T12" fmla="*/ 83 w 106"/>
              <a:gd name="T13" fmla="*/ 98 h 107"/>
              <a:gd name="T14" fmla="*/ 64 w 106"/>
              <a:gd name="T15" fmla="*/ 105 h 107"/>
              <a:gd name="T16" fmla="*/ 42 w 106"/>
              <a:gd name="T17" fmla="*/ 105 h 107"/>
              <a:gd name="T18" fmla="*/ 23 w 106"/>
              <a:gd name="T19" fmla="*/ 98 h 107"/>
              <a:gd name="T20" fmla="*/ 9 w 106"/>
              <a:gd name="T21" fmla="*/ 84 h 107"/>
              <a:gd name="T22" fmla="*/ 1 w 106"/>
              <a:gd name="T23" fmla="*/ 64 h 107"/>
              <a:gd name="T24" fmla="*/ 1 w 106"/>
              <a:gd name="T25" fmla="*/ 43 h 107"/>
              <a:gd name="T26" fmla="*/ 9 w 106"/>
              <a:gd name="T27" fmla="*/ 25 h 107"/>
              <a:gd name="T28" fmla="*/ 23 w 106"/>
              <a:gd name="T29" fmla="*/ 9 h 107"/>
              <a:gd name="T30" fmla="*/ 42 w 106"/>
              <a:gd name="T31" fmla="*/ 2 h 107"/>
              <a:gd name="T32" fmla="*/ 54 w 106"/>
              <a:gd name="T33" fmla="*/ 29 h 107"/>
              <a:gd name="T34" fmla="*/ 63 w 106"/>
              <a:gd name="T35" fmla="*/ 31 h 107"/>
              <a:gd name="T36" fmla="*/ 72 w 106"/>
              <a:gd name="T37" fmla="*/ 36 h 107"/>
              <a:gd name="T38" fmla="*/ 77 w 106"/>
              <a:gd name="T39" fmla="*/ 44 h 107"/>
              <a:gd name="T40" fmla="*/ 78 w 106"/>
              <a:gd name="T41" fmla="*/ 54 h 107"/>
              <a:gd name="T42" fmla="*/ 77 w 106"/>
              <a:gd name="T43" fmla="*/ 63 h 107"/>
              <a:gd name="T44" fmla="*/ 72 w 106"/>
              <a:gd name="T45" fmla="*/ 72 h 107"/>
              <a:gd name="T46" fmla="*/ 63 w 106"/>
              <a:gd name="T47" fmla="*/ 77 h 107"/>
              <a:gd name="T48" fmla="*/ 54 w 106"/>
              <a:gd name="T49" fmla="*/ 79 h 107"/>
              <a:gd name="T50" fmla="*/ 44 w 106"/>
              <a:gd name="T51" fmla="*/ 77 h 107"/>
              <a:gd name="T52" fmla="*/ 36 w 106"/>
              <a:gd name="T53" fmla="*/ 72 h 107"/>
              <a:gd name="T54" fmla="*/ 30 w 106"/>
              <a:gd name="T55" fmla="*/ 63 h 107"/>
              <a:gd name="T56" fmla="*/ 28 w 106"/>
              <a:gd name="T57" fmla="*/ 54 h 107"/>
              <a:gd name="T58" fmla="*/ 30 w 106"/>
              <a:gd name="T59" fmla="*/ 44 h 107"/>
              <a:gd name="T60" fmla="*/ 36 w 106"/>
              <a:gd name="T61" fmla="*/ 36 h 107"/>
              <a:gd name="T62" fmla="*/ 44 w 106"/>
              <a:gd name="T63" fmla="*/ 31 h 107"/>
              <a:gd name="T64" fmla="*/ 54 w 106"/>
              <a:gd name="T65" fmla="*/ 29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" h="107">
                <a:moveTo>
                  <a:pt x="54" y="0"/>
                </a:moveTo>
                <a:lnTo>
                  <a:pt x="64" y="2"/>
                </a:lnTo>
                <a:lnTo>
                  <a:pt x="74" y="6"/>
                </a:lnTo>
                <a:lnTo>
                  <a:pt x="83" y="9"/>
                </a:lnTo>
                <a:lnTo>
                  <a:pt x="91" y="17"/>
                </a:lnTo>
                <a:lnTo>
                  <a:pt x="97" y="25"/>
                </a:lnTo>
                <a:lnTo>
                  <a:pt x="103" y="34"/>
                </a:lnTo>
                <a:lnTo>
                  <a:pt x="105" y="43"/>
                </a:lnTo>
                <a:lnTo>
                  <a:pt x="106" y="54"/>
                </a:lnTo>
                <a:lnTo>
                  <a:pt x="105" y="64"/>
                </a:lnTo>
                <a:lnTo>
                  <a:pt x="103" y="75"/>
                </a:lnTo>
                <a:lnTo>
                  <a:pt x="97" y="84"/>
                </a:lnTo>
                <a:lnTo>
                  <a:pt x="91" y="91"/>
                </a:lnTo>
                <a:lnTo>
                  <a:pt x="83" y="98"/>
                </a:lnTo>
                <a:lnTo>
                  <a:pt x="74" y="103"/>
                </a:lnTo>
                <a:lnTo>
                  <a:pt x="64" y="105"/>
                </a:lnTo>
                <a:lnTo>
                  <a:pt x="54" y="107"/>
                </a:lnTo>
                <a:lnTo>
                  <a:pt x="42" y="105"/>
                </a:lnTo>
                <a:lnTo>
                  <a:pt x="32" y="103"/>
                </a:lnTo>
                <a:lnTo>
                  <a:pt x="23" y="98"/>
                </a:lnTo>
                <a:lnTo>
                  <a:pt x="15" y="91"/>
                </a:lnTo>
                <a:lnTo>
                  <a:pt x="9" y="84"/>
                </a:lnTo>
                <a:lnTo>
                  <a:pt x="4" y="75"/>
                </a:lnTo>
                <a:lnTo>
                  <a:pt x="1" y="64"/>
                </a:lnTo>
                <a:lnTo>
                  <a:pt x="0" y="54"/>
                </a:lnTo>
                <a:lnTo>
                  <a:pt x="1" y="43"/>
                </a:lnTo>
                <a:lnTo>
                  <a:pt x="4" y="34"/>
                </a:lnTo>
                <a:lnTo>
                  <a:pt x="9" y="25"/>
                </a:lnTo>
                <a:lnTo>
                  <a:pt x="15" y="17"/>
                </a:lnTo>
                <a:lnTo>
                  <a:pt x="23" y="9"/>
                </a:lnTo>
                <a:lnTo>
                  <a:pt x="32" y="6"/>
                </a:lnTo>
                <a:lnTo>
                  <a:pt x="42" y="2"/>
                </a:lnTo>
                <a:lnTo>
                  <a:pt x="54" y="0"/>
                </a:lnTo>
                <a:close/>
                <a:moveTo>
                  <a:pt x="54" y="29"/>
                </a:moveTo>
                <a:lnTo>
                  <a:pt x="59" y="30"/>
                </a:lnTo>
                <a:lnTo>
                  <a:pt x="63" y="31"/>
                </a:lnTo>
                <a:lnTo>
                  <a:pt x="68" y="34"/>
                </a:lnTo>
                <a:lnTo>
                  <a:pt x="72" y="36"/>
                </a:lnTo>
                <a:lnTo>
                  <a:pt x="74" y="40"/>
                </a:lnTo>
                <a:lnTo>
                  <a:pt x="77" y="44"/>
                </a:lnTo>
                <a:lnTo>
                  <a:pt x="78" y="49"/>
                </a:lnTo>
                <a:lnTo>
                  <a:pt x="78" y="54"/>
                </a:lnTo>
                <a:lnTo>
                  <a:pt x="78" y="59"/>
                </a:lnTo>
                <a:lnTo>
                  <a:pt x="77" y="63"/>
                </a:lnTo>
                <a:lnTo>
                  <a:pt x="74" y="68"/>
                </a:lnTo>
                <a:lnTo>
                  <a:pt x="72" y="72"/>
                </a:lnTo>
                <a:lnTo>
                  <a:pt x="68" y="75"/>
                </a:lnTo>
                <a:lnTo>
                  <a:pt x="63" y="77"/>
                </a:lnTo>
                <a:lnTo>
                  <a:pt x="59" y="79"/>
                </a:lnTo>
                <a:lnTo>
                  <a:pt x="54" y="79"/>
                </a:lnTo>
                <a:lnTo>
                  <a:pt x="49" y="79"/>
                </a:lnTo>
                <a:lnTo>
                  <a:pt x="44" y="77"/>
                </a:lnTo>
                <a:lnTo>
                  <a:pt x="40" y="75"/>
                </a:lnTo>
                <a:lnTo>
                  <a:pt x="36" y="72"/>
                </a:lnTo>
                <a:lnTo>
                  <a:pt x="32" y="68"/>
                </a:lnTo>
                <a:lnTo>
                  <a:pt x="30" y="63"/>
                </a:lnTo>
                <a:lnTo>
                  <a:pt x="28" y="59"/>
                </a:lnTo>
                <a:lnTo>
                  <a:pt x="28" y="54"/>
                </a:lnTo>
                <a:lnTo>
                  <a:pt x="28" y="49"/>
                </a:lnTo>
                <a:lnTo>
                  <a:pt x="30" y="44"/>
                </a:lnTo>
                <a:lnTo>
                  <a:pt x="32" y="40"/>
                </a:lnTo>
                <a:lnTo>
                  <a:pt x="36" y="36"/>
                </a:lnTo>
                <a:lnTo>
                  <a:pt x="40" y="34"/>
                </a:lnTo>
                <a:lnTo>
                  <a:pt x="44" y="31"/>
                </a:lnTo>
                <a:lnTo>
                  <a:pt x="49" y="30"/>
                </a:lnTo>
                <a:lnTo>
                  <a:pt x="54" y="29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5" name="Rectangle 315">
            <a:extLst>
              <a:ext uri="{FF2B5EF4-FFF2-40B4-BE49-F238E27FC236}">
                <a16:creationId xmlns:a16="http://schemas.microsoft.com/office/drawing/2014/main" id="{0801EC66-7839-47D9-83B2-606FE17EE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90862" y="5540687"/>
            <a:ext cx="12899" cy="11189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7" name="Freeform 309">
            <a:extLst>
              <a:ext uri="{FF2B5EF4-FFF2-40B4-BE49-F238E27FC236}">
                <a16:creationId xmlns:a16="http://schemas.microsoft.com/office/drawing/2014/main" id="{48F0B683-B95D-46FE-AD11-BB4335AEC072}"/>
              </a:ext>
            </a:extLst>
          </p:cNvPr>
          <p:cNvSpPr>
            <a:spLocks noEditPoints="1"/>
          </p:cNvSpPr>
          <p:nvPr/>
        </p:nvSpPr>
        <p:spPr bwMode="auto">
          <a:xfrm>
            <a:off x="9748507" y="5370112"/>
            <a:ext cx="50160" cy="47761"/>
          </a:xfrm>
          <a:custGeom>
            <a:avLst/>
            <a:gdLst>
              <a:gd name="T0" fmla="*/ 64 w 107"/>
              <a:gd name="T1" fmla="*/ 1 h 106"/>
              <a:gd name="T2" fmla="*/ 82 w 107"/>
              <a:gd name="T3" fmla="*/ 8 h 106"/>
              <a:gd name="T4" fmla="*/ 98 w 107"/>
              <a:gd name="T5" fmla="*/ 23 h 106"/>
              <a:gd name="T6" fmla="*/ 105 w 107"/>
              <a:gd name="T7" fmla="*/ 42 h 106"/>
              <a:gd name="T8" fmla="*/ 105 w 107"/>
              <a:gd name="T9" fmla="*/ 64 h 106"/>
              <a:gd name="T10" fmla="*/ 98 w 107"/>
              <a:gd name="T11" fmla="*/ 83 h 106"/>
              <a:gd name="T12" fmla="*/ 82 w 107"/>
              <a:gd name="T13" fmla="*/ 97 h 106"/>
              <a:gd name="T14" fmla="*/ 64 w 107"/>
              <a:gd name="T15" fmla="*/ 105 h 106"/>
              <a:gd name="T16" fmla="*/ 43 w 107"/>
              <a:gd name="T17" fmla="*/ 105 h 106"/>
              <a:gd name="T18" fmla="*/ 23 w 107"/>
              <a:gd name="T19" fmla="*/ 97 h 106"/>
              <a:gd name="T20" fmla="*/ 9 w 107"/>
              <a:gd name="T21" fmla="*/ 83 h 106"/>
              <a:gd name="T22" fmla="*/ 2 w 107"/>
              <a:gd name="T23" fmla="*/ 64 h 106"/>
              <a:gd name="T24" fmla="*/ 2 w 107"/>
              <a:gd name="T25" fmla="*/ 42 h 106"/>
              <a:gd name="T26" fmla="*/ 9 w 107"/>
              <a:gd name="T27" fmla="*/ 23 h 106"/>
              <a:gd name="T28" fmla="*/ 23 w 107"/>
              <a:gd name="T29" fmla="*/ 8 h 106"/>
              <a:gd name="T30" fmla="*/ 43 w 107"/>
              <a:gd name="T31" fmla="*/ 1 h 106"/>
              <a:gd name="T32" fmla="*/ 53 w 107"/>
              <a:gd name="T33" fmla="*/ 28 h 106"/>
              <a:gd name="T34" fmla="*/ 63 w 107"/>
              <a:gd name="T35" fmla="*/ 29 h 106"/>
              <a:gd name="T36" fmla="*/ 71 w 107"/>
              <a:gd name="T37" fmla="*/ 35 h 106"/>
              <a:gd name="T38" fmla="*/ 76 w 107"/>
              <a:gd name="T39" fmla="*/ 43 h 106"/>
              <a:gd name="T40" fmla="*/ 78 w 107"/>
              <a:gd name="T41" fmla="*/ 52 h 106"/>
              <a:gd name="T42" fmla="*/ 76 w 107"/>
              <a:gd name="T43" fmla="*/ 62 h 106"/>
              <a:gd name="T44" fmla="*/ 71 w 107"/>
              <a:gd name="T45" fmla="*/ 70 h 106"/>
              <a:gd name="T46" fmla="*/ 63 w 107"/>
              <a:gd name="T47" fmla="*/ 76 h 106"/>
              <a:gd name="T48" fmla="*/ 53 w 107"/>
              <a:gd name="T49" fmla="*/ 78 h 106"/>
              <a:gd name="T50" fmla="*/ 44 w 107"/>
              <a:gd name="T51" fmla="*/ 76 h 106"/>
              <a:gd name="T52" fmla="*/ 35 w 107"/>
              <a:gd name="T53" fmla="*/ 70 h 106"/>
              <a:gd name="T54" fmla="*/ 30 w 107"/>
              <a:gd name="T55" fmla="*/ 62 h 106"/>
              <a:gd name="T56" fmla="*/ 27 w 107"/>
              <a:gd name="T57" fmla="*/ 52 h 106"/>
              <a:gd name="T58" fmla="*/ 30 w 107"/>
              <a:gd name="T59" fmla="*/ 43 h 106"/>
              <a:gd name="T60" fmla="*/ 35 w 107"/>
              <a:gd name="T61" fmla="*/ 35 h 106"/>
              <a:gd name="T62" fmla="*/ 44 w 107"/>
              <a:gd name="T63" fmla="*/ 29 h 106"/>
              <a:gd name="T64" fmla="*/ 53 w 107"/>
              <a:gd name="T65" fmla="*/ 28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7" h="106">
                <a:moveTo>
                  <a:pt x="53" y="0"/>
                </a:moveTo>
                <a:lnTo>
                  <a:pt x="64" y="1"/>
                </a:lnTo>
                <a:lnTo>
                  <a:pt x="73" y="3"/>
                </a:lnTo>
                <a:lnTo>
                  <a:pt x="82" y="8"/>
                </a:lnTo>
                <a:lnTo>
                  <a:pt x="90" y="15"/>
                </a:lnTo>
                <a:lnTo>
                  <a:pt x="98" y="23"/>
                </a:lnTo>
                <a:lnTo>
                  <a:pt x="102" y="32"/>
                </a:lnTo>
                <a:lnTo>
                  <a:pt x="105" y="42"/>
                </a:lnTo>
                <a:lnTo>
                  <a:pt x="107" y="52"/>
                </a:lnTo>
                <a:lnTo>
                  <a:pt x="105" y="64"/>
                </a:lnTo>
                <a:lnTo>
                  <a:pt x="102" y="74"/>
                </a:lnTo>
                <a:lnTo>
                  <a:pt x="98" y="83"/>
                </a:lnTo>
                <a:lnTo>
                  <a:pt x="90" y="91"/>
                </a:lnTo>
                <a:lnTo>
                  <a:pt x="82" y="97"/>
                </a:lnTo>
                <a:lnTo>
                  <a:pt x="73" y="102"/>
                </a:lnTo>
                <a:lnTo>
                  <a:pt x="64" y="105"/>
                </a:lnTo>
                <a:lnTo>
                  <a:pt x="53" y="106"/>
                </a:lnTo>
                <a:lnTo>
                  <a:pt x="43" y="105"/>
                </a:lnTo>
                <a:lnTo>
                  <a:pt x="32" y="102"/>
                </a:lnTo>
                <a:lnTo>
                  <a:pt x="23" y="97"/>
                </a:lnTo>
                <a:lnTo>
                  <a:pt x="16" y="91"/>
                </a:lnTo>
                <a:lnTo>
                  <a:pt x="9" y="83"/>
                </a:lnTo>
                <a:lnTo>
                  <a:pt x="4" y="74"/>
                </a:lnTo>
                <a:lnTo>
                  <a:pt x="2" y="64"/>
                </a:lnTo>
                <a:lnTo>
                  <a:pt x="0" y="52"/>
                </a:lnTo>
                <a:lnTo>
                  <a:pt x="2" y="42"/>
                </a:lnTo>
                <a:lnTo>
                  <a:pt x="4" y="32"/>
                </a:lnTo>
                <a:lnTo>
                  <a:pt x="9" y="23"/>
                </a:lnTo>
                <a:lnTo>
                  <a:pt x="16" y="15"/>
                </a:lnTo>
                <a:lnTo>
                  <a:pt x="23" y="8"/>
                </a:lnTo>
                <a:lnTo>
                  <a:pt x="32" y="3"/>
                </a:lnTo>
                <a:lnTo>
                  <a:pt x="43" y="1"/>
                </a:lnTo>
                <a:lnTo>
                  <a:pt x="53" y="0"/>
                </a:lnTo>
                <a:close/>
                <a:moveTo>
                  <a:pt x="53" y="28"/>
                </a:moveTo>
                <a:lnTo>
                  <a:pt x="58" y="28"/>
                </a:lnTo>
                <a:lnTo>
                  <a:pt x="63" y="29"/>
                </a:lnTo>
                <a:lnTo>
                  <a:pt x="67" y="32"/>
                </a:lnTo>
                <a:lnTo>
                  <a:pt x="71" y="35"/>
                </a:lnTo>
                <a:lnTo>
                  <a:pt x="73" y="38"/>
                </a:lnTo>
                <a:lnTo>
                  <a:pt x="76" y="43"/>
                </a:lnTo>
                <a:lnTo>
                  <a:pt x="77" y="47"/>
                </a:lnTo>
                <a:lnTo>
                  <a:pt x="78" y="52"/>
                </a:lnTo>
                <a:lnTo>
                  <a:pt x="77" y="57"/>
                </a:lnTo>
                <a:lnTo>
                  <a:pt x="76" y="62"/>
                </a:lnTo>
                <a:lnTo>
                  <a:pt x="73" y="66"/>
                </a:lnTo>
                <a:lnTo>
                  <a:pt x="71" y="70"/>
                </a:lnTo>
                <a:lnTo>
                  <a:pt x="67" y="74"/>
                </a:lnTo>
                <a:lnTo>
                  <a:pt x="63" y="76"/>
                </a:lnTo>
                <a:lnTo>
                  <a:pt x="58" y="78"/>
                </a:lnTo>
                <a:lnTo>
                  <a:pt x="53" y="78"/>
                </a:lnTo>
                <a:lnTo>
                  <a:pt x="48" y="78"/>
                </a:lnTo>
                <a:lnTo>
                  <a:pt x="44" y="76"/>
                </a:lnTo>
                <a:lnTo>
                  <a:pt x="39" y="74"/>
                </a:lnTo>
                <a:lnTo>
                  <a:pt x="35" y="70"/>
                </a:lnTo>
                <a:lnTo>
                  <a:pt x="32" y="66"/>
                </a:lnTo>
                <a:lnTo>
                  <a:pt x="30" y="62"/>
                </a:lnTo>
                <a:lnTo>
                  <a:pt x="28" y="57"/>
                </a:lnTo>
                <a:lnTo>
                  <a:pt x="27" y="52"/>
                </a:lnTo>
                <a:lnTo>
                  <a:pt x="28" y="47"/>
                </a:lnTo>
                <a:lnTo>
                  <a:pt x="30" y="43"/>
                </a:lnTo>
                <a:lnTo>
                  <a:pt x="32" y="38"/>
                </a:lnTo>
                <a:lnTo>
                  <a:pt x="35" y="35"/>
                </a:lnTo>
                <a:lnTo>
                  <a:pt x="39" y="32"/>
                </a:lnTo>
                <a:lnTo>
                  <a:pt x="44" y="29"/>
                </a:lnTo>
                <a:lnTo>
                  <a:pt x="48" y="28"/>
                </a:lnTo>
                <a:lnTo>
                  <a:pt x="53" y="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8" name="Freeform 312">
            <a:extLst>
              <a:ext uri="{FF2B5EF4-FFF2-40B4-BE49-F238E27FC236}">
                <a16:creationId xmlns:a16="http://schemas.microsoft.com/office/drawing/2014/main" id="{6CF6BB2D-1144-48F8-BFED-5BC3B5CD9A8F}"/>
              </a:ext>
            </a:extLst>
          </p:cNvPr>
          <p:cNvSpPr>
            <a:spLocks noEditPoints="1"/>
          </p:cNvSpPr>
          <p:nvPr/>
        </p:nvSpPr>
        <p:spPr bwMode="auto">
          <a:xfrm>
            <a:off x="9563632" y="5469728"/>
            <a:ext cx="50160" cy="49125"/>
          </a:xfrm>
          <a:custGeom>
            <a:avLst/>
            <a:gdLst>
              <a:gd name="T0" fmla="*/ 63 w 105"/>
              <a:gd name="T1" fmla="*/ 2 h 107"/>
              <a:gd name="T2" fmla="*/ 82 w 105"/>
              <a:gd name="T3" fmla="*/ 9 h 107"/>
              <a:gd name="T4" fmla="*/ 96 w 105"/>
              <a:gd name="T5" fmla="*/ 25 h 107"/>
              <a:gd name="T6" fmla="*/ 105 w 105"/>
              <a:gd name="T7" fmla="*/ 43 h 107"/>
              <a:gd name="T8" fmla="*/ 105 w 105"/>
              <a:gd name="T9" fmla="*/ 64 h 107"/>
              <a:gd name="T10" fmla="*/ 96 w 105"/>
              <a:gd name="T11" fmla="*/ 84 h 107"/>
              <a:gd name="T12" fmla="*/ 82 w 105"/>
              <a:gd name="T13" fmla="*/ 98 h 107"/>
              <a:gd name="T14" fmla="*/ 63 w 105"/>
              <a:gd name="T15" fmla="*/ 105 h 107"/>
              <a:gd name="T16" fmla="*/ 43 w 105"/>
              <a:gd name="T17" fmla="*/ 105 h 107"/>
              <a:gd name="T18" fmla="*/ 23 w 105"/>
              <a:gd name="T19" fmla="*/ 98 h 107"/>
              <a:gd name="T20" fmla="*/ 9 w 105"/>
              <a:gd name="T21" fmla="*/ 84 h 107"/>
              <a:gd name="T22" fmla="*/ 0 w 105"/>
              <a:gd name="T23" fmla="*/ 64 h 107"/>
              <a:gd name="T24" fmla="*/ 0 w 105"/>
              <a:gd name="T25" fmla="*/ 43 h 107"/>
              <a:gd name="T26" fmla="*/ 9 w 105"/>
              <a:gd name="T27" fmla="*/ 25 h 107"/>
              <a:gd name="T28" fmla="*/ 23 w 105"/>
              <a:gd name="T29" fmla="*/ 9 h 107"/>
              <a:gd name="T30" fmla="*/ 43 w 105"/>
              <a:gd name="T31" fmla="*/ 2 h 107"/>
              <a:gd name="T32" fmla="*/ 53 w 105"/>
              <a:gd name="T33" fmla="*/ 28 h 107"/>
              <a:gd name="T34" fmla="*/ 63 w 105"/>
              <a:gd name="T35" fmla="*/ 31 h 107"/>
              <a:gd name="T36" fmla="*/ 71 w 105"/>
              <a:gd name="T37" fmla="*/ 36 h 107"/>
              <a:gd name="T38" fmla="*/ 76 w 105"/>
              <a:gd name="T39" fmla="*/ 44 h 107"/>
              <a:gd name="T40" fmla="*/ 78 w 105"/>
              <a:gd name="T41" fmla="*/ 54 h 107"/>
              <a:gd name="T42" fmla="*/ 76 w 105"/>
              <a:gd name="T43" fmla="*/ 63 h 107"/>
              <a:gd name="T44" fmla="*/ 71 w 105"/>
              <a:gd name="T45" fmla="*/ 72 h 107"/>
              <a:gd name="T46" fmla="*/ 63 w 105"/>
              <a:gd name="T47" fmla="*/ 77 h 107"/>
              <a:gd name="T48" fmla="*/ 53 w 105"/>
              <a:gd name="T49" fmla="*/ 78 h 107"/>
              <a:gd name="T50" fmla="*/ 43 w 105"/>
              <a:gd name="T51" fmla="*/ 77 h 107"/>
              <a:gd name="T52" fmla="*/ 35 w 105"/>
              <a:gd name="T53" fmla="*/ 72 h 107"/>
              <a:gd name="T54" fmla="*/ 30 w 105"/>
              <a:gd name="T55" fmla="*/ 63 h 107"/>
              <a:gd name="T56" fmla="*/ 27 w 105"/>
              <a:gd name="T57" fmla="*/ 54 h 107"/>
              <a:gd name="T58" fmla="*/ 30 w 105"/>
              <a:gd name="T59" fmla="*/ 44 h 107"/>
              <a:gd name="T60" fmla="*/ 35 w 105"/>
              <a:gd name="T61" fmla="*/ 36 h 107"/>
              <a:gd name="T62" fmla="*/ 43 w 105"/>
              <a:gd name="T63" fmla="*/ 31 h 107"/>
              <a:gd name="T64" fmla="*/ 53 w 105"/>
              <a:gd name="T65" fmla="*/ 28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5" h="107">
                <a:moveTo>
                  <a:pt x="53" y="0"/>
                </a:moveTo>
                <a:lnTo>
                  <a:pt x="63" y="2"/>
                </a:lnTo>
                <a:lnTo>
                  <a:pt x="73" y="5"/>
                </a:lnTo>
                <a:lnTo>
                  <a:pt x="82" y="9"/>
                </a:lnTo>
                <a:lnTo>
                  <a:pt x="90" y="16"/>
                </a:lnTo>
                <a:lnTo>
                  <a:pt x="96" y="25"/>
                </a:lnTo>
                <a:lnTo>
                  <a:pt x="102" y="34"/>
                </a:lnTo>
                <a:lnTo>
                  <a:pt x="105" y="43"/>
                </a:lnTo>
                <a:lnTo>
                  <a:pt x="105" y="54"/>
                </a:lnTo>
                <a:lnTo>
                  <a:pt x="105" y="64"/>
                </a:lnTo>
                <a:lnTo>
                  <a:pt x="102" y="75"/>
                </a:lnTo>
                <a:lnTo>
                  <a:pt x="96" y="84"/>
                </a:lnTo>
                <a:lnTo>
                  <a:pt x="90" y="91"/>
                </a:lnTo>
                <a:lnTo>
                  <a:pt x="82" y="98"/>
                </a:lnTo>
                <a:lnTo>
                  <a:pt x="73" y="103"/>
                </a:lnTo>
                <a:lnTo>
                  <a:pt x="63" y="105"/>
                </a:lnTo>
                <a:lnTo>
                  <a:pt x="53" y="107"/>
                </a:lnTo>
                <a:lnTo>
                  <a:pt x="43" y="105"/>
                </a:lnTo>
                <a:lnTo>
                  <a:pt x="32" y="103"/>
                </a:lnTo>
                <a:lnTo>
                  <a:pt x="23" y="98"/>
                </a:lnTo>
                <a:lnTo>
                  <a:pt x="16" y="91"/>
                </a:lnTo>
                <a:lnTo>
                  <a:pt x="9" y="84"/>
                </a:lnTo>
                <a:lnTo>
                  <a:pt x="4" y="75"/>
                </a:lnTo>
                <a:lnTo>
                  <a:pt x="0" y="64"/>
                </a:lnTo>
                <a:lnTo>
                  <a:pt x="0" y="54"/>
                </a:lnTo>
                <a:lnTo>
                  <a:pt x="0" y="43"/>
                </a:lnTo>
                <a:lnTo>
                  <a:pt x="4" y="34"/>
                </a:lnTo>
                <a:lnTo>
                  <a:pt x="9" y="25"/>
                </a:lnTo>
                <a:lnTo>
                  <a:pt x="16" y="16"/>
                </a:lnTo>
                <a:lnTo>
                  <a:pt x="23" y="9"/>
                </a:lnTo>
                <a:lnTo>
                  <a:pt x="32" y="5"/>
                </a:lnTo>
                <a:lnTo>
                  <a:pt x="43" y="2"/>
                </a:lnTo>
                <a:lnTo>
                  <a:pt x="53" y="0"/>
                </a:lnTo>
                <a:close/>
                <a:moveTo>
                  <a:pt x="53" y="28"/>
                </a:moveTo>
                <a:lnTo>
                  <a:pt x="58" y="28"/>
                </a:lnTo>
                <a:lnTo>
                  <a:pt x="63" y="31"/>
                </a:lnTo>
                <a:lnTo>
                  <a:pt x="67" y="32"/>
                </a:lnTo>
                <a:lnTo>
                  <a:pt x="71" y="36"/>
                </a:lnTo>
                <a:lnTo>
                  <a:pt x="73" y="40"/>
                </a:lnTo>
                <a:lnTo>
                  <a:pt x="76" y="44"/>
                </a:lnTo>
                <a:lnTo>
                  <a:pt x="77" y="49"/>
                </a:lnTo>
                <a:lnTo>
                  <a:pt x="78" y="54"/>
                </a:lnTo>
                <a:lnTo>
                  <a:pt x="77" y="59"/>
                </a:lnTo>
                <a:lnTo>
                  <a:pt x="76" y="63"/>
                </a:lnTo>
                <a:lnTo>
                  <a:pt x="73" y="68"/>
                </a:lnTo>
                <a:lnTo>
                  <a:pt x="71" y="72"/>
                </a:lnTo>
                <a:lnTo>
                  <a:pt x="67" y="75"/>
                </a:lnTo>
                <a:lnTo>
                  <a:pt x="63" y="77"/>
                </a:lnTo>
                <a:lnTo>
                  <a:pt x="58" y="78"/>
                </a:lnTo>
                <a:lnTo>
                  <a:pt x="53" y="78"/>
                </a:lnTo>
                <a:lnTo>
                  <a:pt x="48" y="78"/>
                </a:lnTo>
                <a:lnTo>
                  <a:pt x="43" y="77"/>
                </a:lnTo>
                <a:lnTo>
                  <a:pt x="39" y="75"/>
                </a:lnTo>
                <a:lnTo>
                  <a:pt x="35" y="72"/>
                </a:lnTo>
                <a:lnTo>
                  <a:pt x="32" y="68"/>
                </a:lnTo>
                <a:lnTo>
                  <a:pt x="30" y="63"/>
                </a:lnTo>
                <a:lnTo>
                  <a:pt x="29" y="59"/>
                </a:lnTo>
                <a:lnTo>
                  <a:pt x="27" y="54"/>
                </a:lnTo>
                <a:lnTo>
                  <a:pt x="29" y="49"/>
                </a:lnTo>
                <a:lnTo>
                  <a:pt x="30" y="44"/>
                </a:lnTo>
                <a:lnTo>
                  <a:pt x="32" y="40"/>
                </a:lnTo>
                <a:lnTo>
                  <a:pt x="35" y="36"/>
                </a:lnTo>
                <a:lnTo>
                  <a:pt x="39" y="32"/>
                </a:lnTo>
                <a:lnTo>
                  <a:pt x="43" y="31"/>
                </a:lnTo>
                <a:lnTo>
                  <a:pt x="48" y="28"/>
                </a:lnTo>
                <a:lnTo>
                  <a:pt x="53" y="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5" name="Freeform 316">
            <a:extLst>
              <a:ext uri="{FF2B5EF4-FFF2-40B4-BE49-F238E27FC236}">
                <a16:creationId xmlns:a16="http://schemas.microsoft.com/office/drawing/2014/main" id="{4ED76F80-741E-4A43-ABD5-C185ABE2EF8B}"/>
              </a:ext>
            </a:extLst>
          </p:cNvPr>
          <p:cNvSpPr>
            <a:spLocks/>
          </p:cNvSpPr>
          <p:nvPr/>
        </p:nvSpPr>
        <p:spPr bwMode="auto">
          <a:xfrm>
            <a:off x="9632423" y="5406956"/>
            <a:ext cx="97453" cy="73688"/>
          </a:xfrm>
          <a:custGeom>
            <a:avLst/>
            <a:gdLst>
              <a:gd name="T0" fmla="*/ 0 w 206"/>
              <a:gd name="T1" fmla="*/ 142 h 162"/>
              <a:gd name="T2" fmla="*/ 191 w 206"/>
              <a:gd name="T3" fmla="*/ 0 h 162"/>
              <a:gd name="T4" fmla="*/ 206 w 206"/>
              <a:gd name="T5" fmla="*/ 20 h 162"/>
              <a:gd name="T6" fmla="*/ 15 w 206"/>
              <a:gd name="T7" fmla="*/ 162 h 162"/>
              <a:gd name="T8" fmla="*/ 0 w 206"/>
              <a:gd name="T9" fmla="*/ 14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" h="162">
                <a:moveTo>
                  <a:pt x="0" y="142"/>
                </a:moveTo>
                <a:lnTo>
                  <a:pt x="191" y="0"/>
                </a:lnTo>
                <a:lnTo>
                  <a:pt x="206" y="20"/>
                </a:lnTo>
                <a:lnTo>
                  <a:pt x="15" y="162"/>
                </a:lnTo>
                <a:lnTo>
                  <a:pt x="0" y="14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4" name="Freeform 317">
            <a:extLst>
              <a:ext uri="{FF2B5EF4-FFF2-40B4-BE49-F238E27FC236}">
                <a16:creationId xmlns:a16="http://schemas.microsoft.com/office/drawing/2014/main" id="{4FDDC1C8-A5C4-4574-A103-2F9345845D96}"/>
              </a:ext>
            </a:extLst>
          </p:cNvPr>
          <p:cNvSpPr>
            <a:spLocks/>
          </p:cNvSpPr>
          <p:nvPr/>
        </p:nvSpPr>
        <p:spPr bwMode="auto">
          <a:xfrm>
            <a:off x="9811565" y="5409686"/>
            <a:ext cx="101753" cy="72324"/>
          </a:xfrm>
          <a:custGeom>
            <a:avLst/>
            <a:gdLst>
              <a:gd name="T0" fmla="*/ 196 w 211"/>
              <a:gd name="T1" fmla="*/ 160 h 160"/>
              <a:gd name="T2" fmla="*/ 0 w 211"/>
              <a:gd name="T3" fmla="*/ 22 h 160"/>
              <a:gd name="T4" fmla="*/ 15 w 211"/>
              <a:gd name="T5" fmla="*/ 0 h 160"/>
              <a:gd name="T6" fmla="*/ 211 w 211"/>
              <a:gd name="T7" fmla="*/ 138 h 160"/>
              <a:gd name="T8" fmla="*/ 196 w 211"/>
              <a:gd name="T9" fmla="*/ 16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1" h="160">
                <a:moveTo>
                  <a:pt x="196" y="160"/>
                </a:moveTo>
                <a:lnTo>
                  <a:pt x="0" y="22"/>
                </a:lnTo>
                <a:lnTo>
                  <a:pt x="15" y="0"/>
                </a:lnTo>
                <a:lnTo>
                  <a:pt x="211" y="138"/>
                </a:lnTo>
                <a:lnTo>
                  <a:pt x="196" y="16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7" name="Freeform 318">
            <a:extLst>
              <a:ext uri="{FF2B5EF4-FFF2-40B4-BE49-F238E27FC236}">
                <a16:creationId xmlns:a16="http://schemas.microsoft.com/office/drawing/2014/main" id="{6983AF4E-AF90-46BE-9F10-A1B2F0382DCA}"/>
              </a:ext>
            </a:extLst>
          </p:cNvPr>
          <p:cNvSpPr>
            <a:spLocks/>
          </p:cNvSpPr>
          <p:nvPr/>
        </p:nvSpPr>
        <p:spPr bwMode="auto">
          <a:xfrm>
            <a:off x="9628124" y="5713989"/>
            <a:ext cx="100320" cy="66865"/>
          </a:xfrm>
          <a:custGeom>
            <a:avLst/>
            <a:gdLst>
              <a:gd name="T0" fmla="*/ 15 w 209"/>
              <a:gd name="T1" fmla="*/ 0 h 147"/>
              <a:gd name="T2" fmla="*/ 209 w 209"/>
              <a:gd name="T3" fmla="*/ 125 h 147"/>
              <a:gd name="T4" fmla="*/ 195 w 209"/>
              <a:gd name="T5" fmla="*/ 147 h 147"/>
              <a:gd name="T6" fmla="*/ 0 w 209"/>
              <a:gd name="T7" fmla="*/ 21 h 147"/>
              <a:gd name="T8" fmla="*/ 15 w 209"/>
              <a:gd name="T9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147">
                <a:moveTo>
                  <a:pt x="15" y="0"/>
                </a:moveTo>
                <a:lnTo>
                  <a:pt x="209" y="125"/>
                </a:lnTo>
                <a:lnTo>
                  <a:pt x="195" y="147"/>
                </a:lnTo>
                <a:lnTo>
                  <a:pt x="0" y="21"/>
                </a:lnTo>
                <a:lnTo>
                  <a:pt x="15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0" name="Freeform 319">
            <a:extLst>
              <a:ext uri="{FF2B5EF4-FFF2-40B4-BE49-F238E27FC236}">
                <a16:creationId xmlns:a16="http://schemas.microsoft.com/office/drawing/2014/main" id="{D5A63C4C-3C23-4C55-A733-23872D8D518F}"/>
              </a:ext>
            </a:extLst>
          </p:cNvPr>
          <p:cNvSpPr>
            <a:spLocks/>
          </p:cNvSpPr>
          <p:nvPr/>
        </p:nvSpPr>
        <p:spPr bwMode="auto">
          <a:xfrm>
            <a:off x="9808699" y="5716719"/>
            <a:ext cx="96021" cy="65500"/>
          </a:xfrm>
          <a:custGeom>
            <a:avLst/>
            <a:gdLst>
              <a:gd name="T0" fmla="*/ 0 w 201"/>
              <a:gd name="T1" fmla="*/ 125 h 145"/>
              <a:gd name="T2" fmla="*/ 187 w 201"/>
              <a:gd name="T3" fmla="*/ 0 h 145"/>
              <a:gd name="T4" fmla="*/ 201 w 201"/>
              <a:gd name="T5" fmla="*/ 21 h 145"/>
              <a:gd name="T6" fmla="*/ 14 w 201"/>
              <a:gd name="T7" fmla="*/ 145 h 145"/>
              <a:gd name="T8" fmla="*/ 0 w 201"/>
              <a:gd name="T9" fmla="*/ 125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" h="145">
                <a:moveTo>
                  <a:pt x="0" y="125"/>
                </a:moveTo>
                <a:lnTo>
                  <a:pt x="187" y="0"/>
                </a:lnTo>
                <a:lnTo>
                  <a:pt x="201" y="21"/>
                </a:lnTo>
                <a:lnTo>
                  <a:pt x="14" y="145"/>
                </a:lnTo>
                <a:lnTo>
                  <a:pt x="0" y="12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1" name="Rectangle 320">
            <a:extLst>
              <a:ext uri="{FF2B5EF4-FFF2-40B4-BE49-F238E27FC236}">
                <a16:creationId xmlns:a16="http://schemas.microsoft.com/office/drawing/2014/main" id="{B47836E4-CDA5-4D83-B927-496071F38D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6248" y="5550238"/>
            <a:ext cx="12899" cy="9552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3" name="Freeform 307">
            <a:extLst>
              <a:ext uri="{FF2B5EF4-FFF2-40B4-BE49-F238E27FC236}">
                <a16:creationId xmlns:a16="http://schemas.microsoft.com/office/drawing/2014/main" id="{02B25F80-29AA-40E3-A2DC-BA227B52EF4A}"/>
              </a:ext>
            </a:extLst>
          </p:cNvPr>
          <p:cNvSpPr>
            <a:spLocks/>
          </p:cNvSpPr>
          <p:nvPr/>
        </p:nvSpPr>
        <p:spPr bwMode="auto">
          <a:xfrm>
            <a:off x="9605193" y="5501113"/>
            <a:ext cx="45860" cy="32750"/>
          </a:xfrm>
          <a:custGeom>
            <a:avLst/>
            <a:gdLst>
              <a:gd name="T0" fmla="*/ 14 w 96"/>
              <a:gd name="T1" fmla="*/ 0 h 72"/>
              <a:gd name="T2" fmla="*/ 96 w 96"/>
              <a:gd name="T3" fmla="*/ 50 h 72"/>
              <a:gd name="T4" fmla="*/ 82 w 96"/>
              <a:gd name="T5" fmla="*/ 72 h 72"/>
              <a:gd name="T6" fmla="*/ 0 w 96"/>
              <a:gd name="T7" fmla="*/ 23 h 72"/>
              <a:gd name="T8" fmla="*/ 14 w 96"/>
              <a:gd name="T9" fmla="*/ 0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6" h="72">
                <a:moveTo>
                  <a:pt x="14" y="0"/>
                </a:moveTo>
                <a:lnTo>
                  <a:pt x="96" y="50"/>
                </a:lnTo>
                <a:lnTo>
                  <a:pt x="82" y="72"/>
                </a:lnTo>
                <a:lnTo>
                  <a:pt x="0" y="23"/>
                </a:lnTo>
                <a:lnTo>
                  <a:pt x="14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4" name="Freeform 308">
            <a:extLst>
              <a:ext uri="{FF2B5EF4-FFF2-40B4-BE49-F238E27FC236}">
                <a16:creationId xmlns:a16="http://schemas.microsoft.com/office/drawing/2014/main" id="{16CCA231-DA57-4559-A4AC-104B329A23D7}"/>
              </a:ext>
            </a:extLst>
          </p:cNvPr>
          <p:cNvSpPr>
            <a:spLocks/>
          </p:cNvSpPr>
          <p:nvPr/>
        </p:nvSpPr>
        <p:spPr bwMode="auto">
          <a:xfrm>
            <a:off x="9888955" y="5506571"/>
            <a:ext cx="45860" cy="32750"/>
          </a:xfrm>
          <a:custGeom>
            <a:avLst/>
            <a:gdLst>
              <a:gd name="T0" fmla="*/ 0 w 97"/>
              <a:gd name="T1" fmla="*/ 50 h 71"/>
              <a:gd name="T2" fmla="*/ 85 w 97"/>
              <a:gd name="T3" fmla="*/ 0 h 71"/>
              <a:gd name="T4" fmla="*/ 97 w 97"/>
              <a:gd name="T5" fmla="*/ 21 h 71"/>
              <a:gd name="T6" fmla="*/ 13 w 97"/>
              <a:gd name="T7" fmla="*/ 71 h 71"/>
              <a:gd name="T8" fmla="*/ 0 w 97"/>
              <a:gd name="T9" fmla="*/ 50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7" h="71">
                <a:moveTo>
                  <a:pt x="0" y="50"/>
                </a:moveTo>
                <a:lnTo>
                  <a:pt x="85" y="0"/>
                </a:lnTo>
                <a:lnTo>
                  <a:pt x="97" y="21"/>
                </a:lnTo>
                <a:lnTo>
                  <a:pt x="13" y="71"/>
                </a:lnTo>
                <a:lnTo>
                  <a:pt x="0" y="5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5" name="Freeform 310">
            <a:extLst>
              <a:ext uri="{FF2B5EF4-FFF2-40B4-BE49-F238E27FC236}">
                <a16:creationId xmlns:a16="http://schemas.microsoft.com/office/drawing/2014/main" id="{A09BAB04-F127-4013-87F3-6064E91DF6AD}"/>
              </a:ext>
            </a:extLst>
          </p:cNvPr>
          <p:cNvSpPr>
            <a:spLocks noEditPoints="1"/>
          </p:cNvSpPr>
          <p:nvPr/>
        </p:nvSpPr>
        <p:spPr bwMode="auto">
          <a:xfrm>
            <a:off x="9924783" y="5477915"/>
            <a:ext cx="51593" cy="47761"/>
          </a:xfrm>
          <a:custGeom>
            <a:avLst/>
            <a:gdLst>
              <a:gd name="T0" fmla="*/ 64 w 106"/>
              <a:gd name="T1" fmla="*/ 1 h 106"/>
              <a:gd name="T2" fmla="*/ 83 w 106"/>
              <a:gd name="T3" fmla="*/ 10 h 106"/>
              <a:gd name="T4" fmla="*/ 97 w 106"/>
              <a:gd name="T5" fmla="*/ 24 h 106"/>
              <a:gd name="T6" fmla="*/ 105 w 106"/>
              <a:gd name="T7" fmla="*/ 43 h 106"/>
              <a:gd name="T8" fmla="*/ 105 w 106"/>
              <a:gd name="T9" fmla="*/ 64 h 106"/>
              <a:gd name="T10" fmla="*/ 97 w 106"/>
              <a:gd name="T11" fmla="*/ 83 h 106"/>
              <a:gd name="T12" fmla="*/ 83 w 106"/>
              <a:gd name="T13" fmla="*/ 97 h 106"/>
              <a:gd name="T14" fmla="*/ 64 w 106"/>
              <a:gd name="T15" fmla="*/ 105 h 106"/>
              <a:gd name="T16" fmla="*/ 42 w 106"/>
              <a:gd name="T17" fmla="*/ 105 h 106"/>
              <a:gd name="T18" fmla="*/ 23 w 106"/>
              <a:gd name="T19" fmla="*/ 97 h 106"/>
              <a:gd name="T20" fmla="*/ 9 w 106"/>
              <a:gd name="T21" fmla="*/ 83 h 106"/>
              <a:gd name="T22" fmla="*/ 1 w 106"/>
              <a:gd name="T23" fmla="*/ 64 h 106"/>
              <a:gd name="T24" fmla="*/ 1 w 106"/>
              <a:gd name="T25" fmla="*/ 43 h 106"/>
              <a:gd name="T26" fmla="*/ 9 w 106"/>
              <a:gd name="T27" fmla="*/ 24 h 106"/>
              <a:gd name="T28" fmla="*/ 23 w 106"/>
              <a:gd name="T29" fmla="*/ 10 h 106"/>
              <a:gd name="T30" fmla="*/ 42 w 106"/>
              <a:gd name="T31" fmla="*/ 1 h 106"/>
              <a:gd name="T32" fmla="*/ 53 w 106"/>
              <a:gd name="T33" fmla="*/ 28 h 106"/>
              <a:gd name="T34" fmla="*/ 62 w 106"/>
              <a:gd name="T35" fmla="*/ 30 h 106"/>
              <a:gd name="T36" fmla="*/ 70 w 106"/>
              <a:gd name="T37" fmla="*/ 36 h 106"/>
              <a:gd name="T38" fmla="*/ 77 w 106"/>
              <a:gd name="T39" fmla="*/ 43 h 106"/>
              <a:gd name="T40" fmla="*/ 78 w 106"/>
              <a:gd name="T41" fmla="*/ 53 h 106"/>
              <a:gd name="T42" fmla="*/ 77 w 106"/>
              <a:gd name="T43" fmla="*/ 64 h 106"/>
              <a:gd name="T44" fmla="*/ 70 w 106"/>
              <a:gd name="T45" fmla="*/ 71 h 106"/>
              <a:gd name="T46" fmla="*/ 62 w 106"/>
              <a:gd name="T47" fmla="*/ 77 h 106"/>
              <a:gd name="T48" fmla="*/ 53 w 106"/>
              <a:gd name="T49" fmla="*/ 79 h 106"/>
              <a:gd name="T50" fmla="*/ 43 w 106"/>
              <a:gd name="T51" fmla="*/ 77 h 106"/>
              <a:gd name="T52" fmla="*/ 36 w 106"/>
              <a:gd name="T53" fmla="*/ 71 h 106"/>
              <a:gd name="T54" fmla="*/ 29 w 106"/>
              <a:gd name="T55" fmla="*/ 64 h 106"/>
              <a:gd name="T56" fmla="*/ 28 w 106"/>
              <a:gd name="T57" fmla="*/ 53 h 106"/>
              <a:gd name="T58" fmla="*/ 29 w 106"/>
              <a:gd name="T59" fmla="*/ 43 h 106"/>
              <a:gd name="T60" fmla="*/ 36 w 106"/>
              <a:gd name="T61" fmla="*/ 36 h 106"/>
              <a:gd name="T62" fmla="*/ 43 w 106"/>
              <a:gd name="T63" fmla="*/ 30 h 106"/>
              <a:gd name="T64" fmla="*/ 53 w 106"/>
              <a:gd name="T65" fmla="*/ 28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" h="106">
                <a:moveTo>
                  <a:pt x="53" y="0"/>
                </a:moveTo>
                <a:lnTo>
                  <a:pt x="64" y="1"/>
                </a:lnTo>
                <a:lnTo>
                  <a:pt x="74" y="5"/>
                </a:lnTo>
                <a:lnTo>
                  <a:pt x="83" y="10"/>
                </a:lnTo>
                <a:lnTo>
                  <a:pt x="91" y="16"/>
                </a:lnTo>
                <a:lnTo>
                  <a:pt x="97" y="24"/>
                </a:lnTo>
                <a:lnTo>
                  <a:pt x="102" y="33"/>
                </a:lnTo>
                <a:lnTo>
                  <a:pt x="105" y="43"/>
                </a:lnTo>
                <a:lnTo>
                  <a:pt x="106" y="53"/>
                </a:lnTo>
                <a:lnTo>
                  <a:pt x="105" y="64"/>
                </a:lnTo>
                <a:lnTo>
                  <a:pt x="102" y="74"/>
                </a:lnTo>
                <a:lnTo>
                  <a:pt x="97" y="83"/>
                </a:lnTo>
                <a:lnTo>
                  <a:pt x="91" y="91"/>
                </a:lnTo>
                <a:lnTo>
                  <a:pt x="83" y="97"/>
                </a:lnTo>
                <a:lnTo>
                  <a:pt x="74" y="102"/>
                </a:lnTo>
                <a:lnTo>
                  <a:pt x="64" y="105"/>
                </a:lnTo>
                <a:lnTo>
                  <a:pt x="53" y="106"/>
                </a:lnTo>
                <a:lnTo>
                  <a:pt x="42" y="105"/>
                </a:lnTo>
                <a:lnTo>
                  <a:pt x="32" y="102"/>
                </a:lnTo>
                <a:lnTo>
                  <a:pt x="23" y="97"/>
                </a:lnTo>
                <a:lnTo>
                  <a:pt x="15" y="91"/>
                </a:lnTo>
                <a:lnTo>
                  <a:pt x="9" y="83"/>
                </a:lnTo>
                <a:lnTo>
                  <a:pt x="3" y="74"/>
                </a:lnTo>
                <a:lnTo>
                  <a:pt x="1" y="64"/>
                </a:lnTo>
                <a:lnTo>
                  <a:pt x="0" y="53"/>
                </a:lnTo>
                <a:lnTo>
                  <a:pt x="1" y="43"/>
                </a:lnTo>
                <a:lnTo>
                  <a:pt x="3" y="33"/>
                </a:lnTo>
                <a:lnTo>
                  <a:pt x="9" y="24"/>
                </a:lnTo>
                <a:lnTo>
                  <a:pt x="15" y="16"/>
                </a:lnTo>
                <a:lnTo>
                  <a:pt x="23" y="10"/>
                </a:lnTo>
                <a:lnTo>
                  <a:pt x="32" y="5"/>
                </a:lnTo>
                <a:lnTo>
                  <a:pt x="42" y="1"/>
                </a:lnTo>
                <a:lnTo>
                  <a:pt x="53" y="0"/>
                </a:lnTo>
                <a:close/>
                <a:moveTo>
                  <a:pt x="53" y="28"/>
                </a:moveTo>
                <a:lnTo>
                  <a:pt x="57" y="29"/>
                </a:lnTo>
                <a:lnTo>
                  <a:pt x="62" y="30"/>
                </a:lnTo>
                <a:lnTo>
                  <a:pt x="68" y="33"/>
                </a:lnTo>
                <a:lnTo>
                  <a:pt x="70" y="36"/>
                </a:lnTo>
                <a:lnTo>
                  <a:pt x="74" y="39"/>
                </a:lnTo>
                <a:lnTo>
                  <a:pt x="77" y="43"/>
                </a:lnTo>
                <a:lnTo>
                  <a:pt x="78" y="48"/>
                </a:lnTo>
                <a:lnTo>
                  <a:pt x="78" y="53"/>
                </a:lnTo>
                <a:lnTo>
                  <a:pt x="78" y="59"/>
                </a:lnTo>
                <a:lnTo>
                  <a:pt x="77" y="64"/>
                </a:lnTo>
                <a:lnTo>
                  <a:pt x="74" y="68"/>
                </a:lnTo>
                <a:lnTo>
                  <a:pt x="70" y="71"/>
                </a:lnTo>
                <a:lnTo>
                  <a:pt x="68" y="74"/>
                </a:lnTo>
                <a:lnTo>
                  <a:pt x="62" y="77"/>
                </a:lnTo>
                <a:lnTo>
                  <a:pt x="57" y="78"/>
                </a:lnTo>
                <a:lnTo>
                  <a:pt x="53" y="79"/>
                </a:lnTo>
                <a:lnTo>
                  <a:pt x="48" y="78"/>
                </a:lnTo>
                <a:lnTo>
                  <a:pt x="43" y="77"/>
                </a:lnTo>
                <a:lnTo>
                  <a:pt x="39" y="74"/>
                </a:lnTo>
                <a:lnTo>
                  <a:pt x="36" y="71"/>
                </a:lnTo>
                <a:lnTo>
                  <a:pt x="32" y="68"/>
                </a:lnTo>
                <a:lnTo>
                  <a:pt x="29" y="64"/>
                </a:lnTo>
                <a:lnTo>
                  <a:pt x="28" y="59"/>
                </a:lnTo>
                <a:lnTo>
                  <a:pt x="28" y="53"/>
                </a:lnTo>
                <a:lnTo>
                  <a:pt x="28" y="48"/>
                </a:lnTo>
                <a:lnTo>
                  <a:pt x="29" y="43"/>
                </a:lnTo>
                <a:lnTo>
                  <a:pt x="32" y="39"/>
                </a:lnTo>
                <a:lnTo>
                  <a:pt x="36" y="36"/>
                </a:lnTo>
                <a:lnTo>
                  <a:pt x="39" y="33"/>
                </a:lnTo>
                <a:lnTo>
                  <a:pt x="43" y="30"/>
                </a:lnTo>
                <a:lnTo>
                  <a:pt x="48" y="29"/>
                </a:lnTo>
                <a:lnTo>
                  <a:pt x="53" y="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1061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1337289" y="1417407"/>
            <a:ext cx="4064951" cy="4473828"/>
            <a:chOff x="937269" y="1398245"/>
            <a:chExt cx="4457057" cy="4905375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993775" y="3857626"/>
              <a:ext cx="774700" cy="606425"/>
            </a:xfrm>
            <a:custGeom>
              <a:avLst/>
              <a:gdLst>
                <a:gd name="T0" fmla="*/ 1075 w 1463"/>
                <a:gd name="T1" fmla="*/ 1144 h 1144"/>
                <a:gd name="T2" fmla="*/ 1463 w 1463"/>
                <a:gd name="T3" fmla="*/ 0 h 1144"/>
                <a:gd name="T4" fmla="*/ 0 w 1463"/>
                <a:gd name="T5" fmla="*/ 0 h 1144"/>
                <a:gd name="T6" fmla="*/ 1075 w 1463"/>
                <a:gd name="T7" fmla="*/ 1144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3" h="1144">
                  <a:moveTo>
                    <a:pt x="1075" y="1144"/>
                  </a:moveTo>
                  <a:lnTo>
                    <a:pt x="1463" y="0"/>
                  </a:lnTo>
                  <a:lnTo>
                    <a:pt x="0" y="0"/>
                  </a:lnTo>
                  <a:lnTo>
                    <a:pt x="1075" y="1144"/>
                  </a:lnTo>
                  <a:close/>
                </a:path>
              </a:pathLst>
            </a:custGeom>
            <a:gradFill>
              <a:gsLst>
                <a:gs pos="3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" name="Freeform 5"/>
            <p:cNvSpPr>
              <a:spLocks/>
            </p:cNvSpPr>
            <p:nvPr/>
          </p:nvSpPr>
          <p:spPr bwMode="auto">
            <a:xfrm>
              <a:off x="937269" y="1398245"/>
              <a:ext cx="4418013" cy="4905375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>
              <a:gsLst>
                <a:gs pos="62808">
                  <a:schemeClr val="tx1">
                    <a:lumMod val="50000"/>
                    <a:lumOff val="50000"/>
                    <a:alpha val="64000"/>
                  </a:schemeClr>
                </a:gs>
                <a:gs pos="34000">
                  <a:schemeClr val="tx1">
                    <a:lumMod val="50000"/>
                    <a:lumOff val="50000"/>
                    <a:alpha val="45000"/>
                  </a:schemeClr>
                </a:gs>
                <a:gs pos="0">
                  <a:srgbClr val="DCE1E7"/>
                </a:gs>
                <a:gs pos="82000">
                  <a:srgbClr val="DCE1E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976313" y="1398245"/>
              <a:ext cx="4418013" cy="4905374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rgbClr val="E5E8ED"/>
                </a:gs>
                <a:gs pos="0">
                  <a:srgbClr val="E6E9EE"/>
                </a:gs>
                <a:gs pos="100000">
                  <a:srgbClr val="E5E8ED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993775" y="2255838"/>
              <a:ext cx="2878138" cy="1601788"/>
            </a:xfrm>
            <a:custGeom>
              <a:avLst/>
              <a:gdLst>
                <a:gd name="T0" fmla="*/ 0 w 5438"/>
                <a:gd name="T1" fmla="*/ 3028 h 3028"/>
                <a:gd name="T2" fmla="*/ 1463 w 5438"/>
                <a:gd name="T3" fmla="*/ 3028 h 3028"/>
                <a:gd name="T4" fmla="*/ 4002 w 5438"/>
                <a:gd name="T5" fmla="*/ 3028 h 3028"/>
                <a:gd name="T6" fmla="*/ 5438 w 5438"/>
                <a:gd name="T7" fmla="*/ 1555 h 3028"/>
                <a:gd name="T8" fmla="*/ 4937 w 5438"/>
                <a:gd name="T9" fmla="*/ 0 h 3028"/>
                <a:gd name="T10" fmla="*/ 926 w 5438"/>
                <a:gd name="T11" fmla="*/ 0 h 3028"/>
                <a:gd name="T12" fmla="*/ 0 w 5438"/>
                <a:gd name="T13" fmla="*/ 3028 h 3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8" h="3028">
                  <a:moveTo>
                    <a:pt x="0" y="3028"/>
                  </a:moveTo>
                  <a:lnTo>
                    <a:pt x="1463" y="3028"/>
                  </a:lnTo>
                  <a:lnTo>
                    <a:pt x="4002" y="3028"/>
                  </a:lnTo>
                  <a:lnTo>
                    <a:pt x="5438" y="1555"/>
                  </a:lnTo>
                  <a:lnTo>
                    <a:pt x="4937" y="0"/>
                  </a:lnTo>
                  <a:lnTo>
                    <a:pt x="926" y="0"/>
                  </a:lnTo>
                  <a:lnTo>
                    <a:pt x="0" y="3028"/>
                  </a:lnTo>
                  <a:close/>
                </a:path>
              </a:pathLst>
            </a:custGeom>
            <a:gradFill flip="none" rotWithShape="1">
              <a:gsLst>
                <a:gs pos="3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B7FBB05E-55FD-49F6-8270-3E1BD409476A}"/>
              </a:ext>
            </a:extLst>
          </p:cNvPr>
          <p:cNvGrpSpPr/>
          <p:nvPr/>
        </p:nvGrpSpPr>
        <p:grpSpPr>
          <a:xfrm>
            <a:off x="4528486" y="1417407"/>
            <a:ext cx="4064951" cy="4473828"/>
            <a:chOff x="937269" y="1398245"/>
            <a:chExt cx="4457057" cy="4905375"/>
          </a:xfrm>
        </p:grpSpPr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B6849671-E8FB-44D2-A2CD-6C3F2EE2E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5" y="3857626"/>
              <a:ext cx="774700" cy="606425"/>
            </a:xfrm>
            <a:custGeom>
              <a:avLst/>
              <a:gdLst>
                <a:gd name="T0" fmla="*/ 1075 w 1463"/>
                <a:gd name="T1" fmla="*/ 1144 h 1144"/>
                <a:gd name="T2" fmla="*/ 1463 w 1463"/>
                <a:gd name="T3" fmla="*/ 0 h 1144"/>
                <a:gd name="T4" fmla="*/ 0 w 1463"/>
                <a:gd name="T5" fmla="*/ 0 h 1144"/>
                <a:gd name="T6" fmla="*/ 1075 w 1463"/>
                <a:gd name="T7" fmla="*/ 1144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3" h="1144">
                  <a:moveTo>
                    <a:pt x="1075" y="1144"/>
                  </a:moveTo>
                  <a:lnTo>
                    <a:pt x="1463" y="0"/>
                  </a:lnTo>
                  <a:lnTo>
                    <a:pt x="0" y="0"/>
                  </a:lnTo>
                  <a:lnTo>
                    <a:pt x="1075" y="1144"/>
                  </a:lnTo>
                  <a:close/>
                </a:path>
              </a:pathLst>
            </a:custGeom>
            <a:gradFill>
              <a:gsLst>
                <a:gs pos="3000">
                  <a:srgbClr val="67214C"/>
                </a:gs>
                <a:gs pos="100000">
                  <a:srgbClr val="5E1C45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" name="Freeform 5">
              <a:extLst>
                <a:ext uri="{FF2B5EF4-FFF2-40B4-BE49-F238E27FC236}">
                  <a16:creationId xmlns:a16="http://schemas.microsoft.com/office/drawing/2014/main" id="{3FC15DB5-EE2C-473A-B30B-0FD11C1AA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269" y="1398245"/>
              <a:ext cx="4418013" cy="4905375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>
              <a:gsLst>
                <a:gs pos="62808">
                  <a:schemeClr val="tx1">
                    <a:lumMod val="50000"/>
                    <a:lumOff val="50000"/>
                    <a:alpha val="64000"/>
                  </a:schemeClr>
                </a:gs>
                <a:gs pos="34000">
                  <a:schemeClr val="tx1">
                    <a:lumMod val="50000"/>
                    <a:lumOff val="50000"/>
                    <a:alpha val="45000"/>
                  </a:schemeClr>
                </a:gs>
                <a:gs pos="0">
                  <a:srgbClr val="DCE1E7"/>
                </a:gs>
                <a:gs pos="82000">
                  <a:srgbClr val="DCE1E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" name="Freeform 5">
              <a:extLst>
                <a:ext uri="{FF2B5EF4-FFF2-40B4-BE49-F238E27FC236}">
                  <a16:creationId xmlns:a16="http://schemas.microsoft.com/office/drawing/2014/main" id="{741675B0-1213-4F81-B677-30B34FEC3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313" y="1398245"/>
              <a:ext cx="4418013" cy="4905374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rgbClr val="E5E8ED"/>
                </a:gs>
                <a:gs pos="0">
                  <a:srgbClr val="E6E9EE"/>
                </a:gs>
                <a:gs pos="100000">
                  <a:srgbClr val="E5E8ED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" name="Freeform 7">
              <a:extLst>
                <a:ext uri="{FF2B5EF4-FFF2-40B4-BE49-F238E27FC236}">
                  <a16:creationId xmlns:a16="http://schemas.microsoft.com/office/drawing/2014/main" id="{1CAC172F-1D8D-41EA-88AB-69376B9EF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5" y="2255838"/>
              <a:ext cx="2878138" cy="1601788"/>
            </a:xfrm>
            <a:custGeom>
              <a:avLst/>
              <a:gdLst>
                <a:gd name="T0" fmla="*/ 0 w 5438"/>
                <a:gd name="T1" fmla="*/ 3028 h 3028"/>
                <a:gd name="T2" fmla="*/ 1463 w 5438"/>
                <a:gd name="T3" fmla="*/ 3028 h 3028"/>
                <a:gd name="T4" fmla="*/ 4002 w 5438"/>
                <a:gd name="T5" fmla="*/ 3028 h 3028"/>
                <a:gd name="T6" fmla="*/ 5438 w 5438"/>
                <a:gd name="T7" fmla="*/ 1555 h 3028"/>
                <a:gd name="T8" fmla="*/ 4937 w 5438"/>
                <a:gd name="T9" fmla="*/ 0 h 3028"/>
                <a:gd name="T10" fmla="*/ 926 w 5438"/>
                <a:gd name="T11" fmla="*/ 0 h 3028"/>
                <a:gd name="T12" fmla="*/ 0 w 5438"/>
                <a:gd name="T13" fmla="*/ 3028 h 3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8" h="3028">
                  <a:moveTo>
                    <a:pt x="0" y="3028"/>
                  </a:moveTo>
                  <a:lnTo>
                    <a:pt x="1463" y="3028"/>
                  </a:lnTo>
                  <a:lnTo>
                    <a:pt x="4002" y="3028"/>
                  </a:lnTo>
                  <a:lnTo>
                    <a:pt x="5438" y="1555"/>
                  </a:lnTo>
                  <a:lnTo>
                    <a:pt x="4937" y="0"/>
                  </a:lnTo>
                  <a:lnTo>
                    <a:pt x="926" y="0"/>
                  </a:lnTo>
                  <a:lnTo>
                    <a:pt x="0" y="3028"/>
                  </a:lnTo>
                  <a:close/>
                </a:path>
              </a:pathLst>
            </a:custGeom>
            <a:gradFill flip="none" rotWithShape="1">
              <a:gsLst>
                <a:gs pos="40000">
                  <a:schemeClr val="accent2">
                    <a:lumMod val="70000"/>
                    <a:lumOff val="30000"/>
                  </a:schemeClr>
                </a:gs>
                <a:gs pos="87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7719682" y="1417407"/>
            <a:ext cx="4064951" cy="4473828"/>
            <a:chOff x="937269" y="1398245"/>
            <a:chExt cx="4457057" cy="4905374"/>
          </a:xfrm>
        </p:grpSpPr>
        <p:sp>
          <p:nvSpPr>
            <p:cNvPr id="58" name="Freeform 6"/>
            <p:cNvSpPr>
              <a:spLocks/>
            </p:cNvSpPr>
            <p:nvPr/>
          </p:nvSpPr>
          <p:spPr bwMode="auto">
            <a:xfrm>
              <a:off x="993775" y="3857626"/>
              <a:ext cx="774700" cy="606425"/>
            </a:xfrm>
            <a:custGeom>
              <a:avLst/>
              <a:gdLst>
                <a:gd name="T0" fmla="*/ 1075 w 1463"/>
                <a:gd name="T1" fmla="*/ 1144 h 1144"/>
                <a:gd name="T2" fmla="*/ 1463 w 1463"/>
                <a:gd name="T3" fmla="*/ 0 h 1144"/>
                <a:gd name="T4" fmla="*/ 0 w 1463"/>
                <a:gd name="T5" fmla="*/ 0 h 1144"/>
                <a:gd name="T6" fmla="*/ 1075 w 1463"/>
                <a:gd name="T7" fmla="*/ 1144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3" h="1144">
                  <a:moveTo>
                    <a:pt x="1075" y="1144"/>
                  </a:moveTo>
                  <a:lnTo>
                    <a:pt x="1463" y="0"/>
                  </a:lnTo>
                  <a:lnTo>
                    <a:pt x="0" y="0"/>
                  </a:lnTo>
                  <a:lnTo>
                    <a:pt x="1075" y="1144"/>
                  </a:lnTo>
                  <a:close/>
                </a:path>
              </a:pathLst>
            </a:custGeom>
            <a:gradFill>
              <a:gsLst>
                <a:gs pos="3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9" name="Freeform 5"/>
            <p:cNvSpPr>
              <a:spLocks/>
            </p:cNvSpPr>
            <p:nvPr/>
          </p:nvSpPr>
          <p:spPr bwMode="auto">
            <a:xfrm>
              <a:off x="937269" y="1398245"/>
              <a:ext cx="4418013" cy="4905374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>
              <a:gsLst>
                <a:gs pos="62808">
                  <a:schemeClr val="tx1">
                    <a:lumMod val="50000"/>
                    <a:lumOff val="50000"/>
                    <a:alpha val="64000"/>
                  </a:schemeClr>
                </a:gs>
                <a:gs pos="34000">
                  <a:schemeClr val="tx1">
                    <a:lumMod val="50000"/>
                    <a:lumOff val="50000"/>
                    <a:alpha val="45000"/>
                  </a:schemeClr>
                </a:gs>
                <a:gs pos="0">
                  <a:srgbClr val="DCE1E7"/>
                </a:gs>
                <a:gs pos="82000">
                  <a:srgbClr val="DCE1E7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0" name="Freeform 5"/>
            <p:cNvSpPr>
              <a:spLocks/>
            </p:cNvSpPr>
            <p:nvPr/>
          </p:nvSpPr>
          <p:spPr bwMode="auto">
            <a:xfrm>
              <a:off x="976313" y="1398245"/>
              <a:ext cx="4418013" cy="4905373"/>
            </a:xfrm>
            <a:custGeom>
              <a:avLst/>
              <a:gdLst>
                <a:gd name="T0" fmla="*/ 3027 w 8349"/>
                <a:gd name="T1" fmla="*/ 0 h 9270"/>
                <a:gd name="T2" fmla="*/ 8349 w 8349"/>
                <a:gd name="T3" fmla="*/ 0 h 9270"/>
                <a:gd name="T4" fmla="*/ 5438 w 8349"/>
                <a:gd name="T5" fmla="*/ 9270 h 9270"/>
                <a:gd name="T6" fmla="*/ 0 w 8349"/>
                <a:gd name="T7" fmla="*/ 9270 h 9270"/>
                <a:gd name="T8" fmla="*/ 3027 w 8349"/>
                <a:gd name="T9" fmla="*/ 0 h 9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49" h="9270">
                  <a:moveTo>
                    <a:pt x="3027" y="0"/>
                  </a:moveTo>
                  <a:lnTo>
                    <a:pt x="8349" y="0"/>
                  </a:lnTo>
                  <a:lnTo>
                    <a:pt x="5438" y="9270"/>
                  </a:lnTo>
                  <a:lnTo>
                    <a:pt x="0" y="9270"/>
                  </a:lnTo>
                  <a:lnTo>
                    <a:pt x="3027" y="0"/>
                  </a:lnTo>
                  <a:close/>
                </a:path>
              </a:pathLst>
            </a:custGeom>
            <a:gradFill flip="none" rotWithShape="1">
              <a:gsLst>
                <a:gs pos="11000">
                  <a:srgbClr val="E5E8ED"/>
                </a:gs>
                <a:gs pos="0">
                  <a:srgbClr val="E6E9EE"/>
                </a:gs>
                <a:gs pos="100000">
                  <a:srgbClr val="E5E8ED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1" name="Freeform 7"/>
            <p:cNvSpPr>
              <a:spLocks/>
            </p:cNvSpPr>
            <p:nvPr/>
          </p:nvSpPr>
          <p:spPr bwMode="auto">
            <a:xfrm>
              <a:off x="993775" y="2255838"/>
              <a:ext cx="2878138" cy="1601788"/>
            </a:xfrm>
            <a:custGeom>
              <a:avLst/>
              <a:gdLst>
                <a:gd name="T0" fmla="*/ 0 w 5438"/>
                <a:gd name="T1" fmla="*/ 3028 h 3028"/>
                <a:gd name="T2" fmla="*/ 1463 w 5438"/>
                <a:gd name="T3" fmla="*/ 3028 h 3028"/>
                <a:gd name="T4" fmla="*/ 4002 w 5438"/>
                <a:gd name="T5" fmla="*/ 3028 h 3028"/>
                <a:gd name="T6" fmla="*/ 5438 w 5438"/>
                <a:gd name="T7" fmla="*/ 1555 h 3028"/>
                <a:gd name="T8" fmla="*/ 4937 w 5438"/>
                <a:gd name="T9" fmla="*/ 0 h 3028"/>
                <a:gd name="T10" fmla="*/ 926 w 5438"/>
                <a:gd name="T11" fmla="*/ 0 h 3028"/>
                <a:gd name="T12" fmla="*/ 0 w 5438"/>
                <a:gd name="T13" fmla="*/ 3028 h 3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38" h="3028">
                  <a:moveTo>
                    <a:pt x="0" y="3028"/>
                  </a:moveTo>
                  <a:lnTo>
                    <a:pt x="1463" y="3028"/>
                  </a:lnTo>
                  <a:lnTo>
                    <a:pt x="4002" y="3028"/>
                  </a:lnTo>
                  <a:lnTo>
                    <a:pt x="5438" y="1555"/>
                  </a:lnTo>
                  <a:lnTo>
                    <a:pt x="4937" y="0"/>
                  </a:lnTo>
                  <a:lnTo>
                    <a:pt x="926" y="0"/>
                  </a:lnTo>
                  <a:lnTo>
                    <a:pt x="0" y="3028"/>
                  </a:lnTo>
                  <a:close/>
                </a:path>
              </a:pathLst>
            </a:custGeom>
            <a:gradFill flip="none" rotWithShape="1">
              <a:gsLst>
                <a:gs pos="40000">
                  <a:schemeClr val="bg1">
                    <a:lumMod val="65000"/>
                  </a:schemeClr>
                </a:gs>
                <a:gs pos="87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verview</a:t>
            </a:r>
            <a:endParaRPr lang="en-US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2896230" y="5896434"/>
            <a:ext cx="722405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6072433" y="5896434"/>
            <a:ext cx="722405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9352790" y="5896434"/>
            <a:ext cx="722405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>
            <a:spLocks/>
          </p:cNvSpPr>
          <p:nvPr/>
        </p:nvSpPr>
        <p:spPr>
          <a:xfrm>
            <a:off x="2161734" y="3921113"/>
            <a:ext cx="219139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218987"/>
            <a:r>
              <a:rPr lang="en-US" sz="1600" b="1" kern="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Fully Automatic IOT Based System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>
            <a:spLocks/>
          </p:cNvSpPr>
          <p:nvPr/>
        </p:nvSpPr>
        <p:spPr>
          <a:xfrm>
            <a:off x="5317321" y="3835844"/>
            <a:ext cx="219139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218987"/>
            <a:r>
              <a:rPr lang="en-US" sz="1600" b="1" kern="0" dirty="0">
                <a:latin typeface="Arial" pitchFamily="34" charset="0"/>
                <a:cs typeface="Arial" pitchFamily="34" charset="0"/>
              </a:rPr>
              <a:t>Android Semi-Automatic System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>
            <a:spLocks/>
          </p:cNvSpPr>
          <p:nvPr/>
        </p:nvSpPr>
        <p:spPr>
          <a:xfrm>
            <a:off x="8657949" y="3840798"/>
            <a:ext cx="2191393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218987"/>
            <a:r>
              <a:rPr lang="en-US" sz="1600" b="1" kern="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Online Web Interfa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/>
          <p:nvPr/>
        </p:nvSpPr>
        <p:spPr>
          <a:xfrm rot="156748">
            <a:off x="2037524" y="2079899"/>
            <a:ext cx="1560173" cy="1538883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3000000" lon="0" rev="21299999"/>
            </a:camera>
            <a:lightRig rig="threePt" dir="t"/>
          </a:scene3d>
        </p:spPr>
        <p:txBody>
          <a:bodyPr wrap="square" lIns="0" tIns="0" rIns="0" bIns="0" rtlCol="0" anchor="b" anchorCtr="0">
            <a:spAutoFit/>
            <a:scene3d>
              <a:camera prst="perspectiveRelaxed"/>
              <a:lightRig rig="threePt" dir="t"/>
            </a:scene3d>
          </a:bodyPr>
          <a:lstStyle/>
          <a:p>
            <a:pPr algn="ctr" defTabSz="1218987"/>
            <a:r>
              <a:rPr lang="en-US" sz="10000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/>
          <p:nvPr/>
        </p:nvSpPr>
        <p:spPr>
          <a:xfrm>
            <a:off x="5361802" y="2079898"/>
            <a:ext cx="1560173" cy="1538883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3000000" lon="0" rev="21593999"/>
            </a:camera>
            <a:lightRig rig="threePt" dir="t"/>
          </a:scene3d>
        </p:spPr>
        <p:txBody>
          <a:bodyPr wrap="square" lIns="0" tIns="0" rIns="0" bIns="0" rtlCol="0" anchor="b" anchorCtr="0">
            <a:spAutoFit/>
            <a:scene3d>
              <a:camera prst="perspectiveRelaxed"/>
              <a:lightRig rig="threePt" dir="t"/>
            </a:scene3d>
          </a:bodyPr>
          <a:lstStyle/>
          <a:p>
            <a:pPr algn="ctr" defTabSz="1218987"/>
            <a:r>
              <a:rPr lang="en-US" sz="10000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5220FA3-AF51-456B-9C47-646C1B832C62}"/>
              </a:ext>
            </a:extLst>
          </p:cNvPr>
          <p:cNvSpPr txBox="1"/>
          <p:nvPr/>
        </p:nvSpPr>
        <p:spPr>
          <a:xfrm>
            <a:off x="8517389" y="2079898"/>
            <a:ext cx="1560173" cy="1538883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3000000" lon="0" rev="21593999"/>
            </a:camera>
            <a:lightRig rig="threePt" dir="t"/>
          </a:scene3d>
        </p:spPr>
        <p:txBody>
          <a:bodyPr wrap="square" lIns="0" tIns="0" rIns="0" bIns="0" rtlCol="0" anchor="b" anchorCtr="0">
            <a:spAutoFit/>
            <a:scene3d>
              <a:camera prst="perspectiveRelaxed"/>
              <a:lightRig rig="threePt" dir="t"/>
            </a:scene3d>
          </a:bodyPr>
          <a:lstStyle/>
          <a:p>
            <a:pPr algn="ctr" defTabSz="1218987"/>
            <a:r>
              <a:rPr lang="en-US" sz="10000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pic>
        <p:nvPicPr>
          <p:cNvPr id="11" name="Graphic 10" descr="Gears">
            <a:extLst>
              <a:ext uri="{FF2B5EF4-FFF2-40B4-BE49-F238E27FC236}">
                <a16:creationId xmlns:a16="http://schemas.microsoft.com/office/drawing/2014/main" id="{F03903DB-A0F6-4052-940B-0C0B9AFA8A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3808" y="5405017"/>
            <a:ext cx="467244" cy="467244"/>
          </a:xfrm>
          <a:prstGeom prst="rect">
            <a:avLst/>
          </a:prstGeom>
        </p:spPr>
      </p:pic>
      <p:sp>
        <p:nvSpPr>
          <p:cNvPr id="36" name="Rounded Rectangle 12">
            <a:extLst>
              <a:ext uri="{FF2B5EF4-FFF2-40B4-BE49-F238E27FC236}">
                <a16:creationId xmlns:a16="http://schemas.microsoft.com/office/drawing/2014/main" id="{D6E939B7-B7A2-45F6-ADEE-9A2EC2111768}"/>
              </a:ext>
            </a:extLst>
          </p:cNvPr>
          <p:cNvSpPr>
            <a:spLocks noChangeAspect="1"/>
          </p:cNvSpPr>
          <p:nvPr/>
        </p:nvSpPr>
        <p:spPr>
          <a:xfrm>
            <a:off x="6257048" y="5405017"/>
            <a:ext cx="353173" cy="420869"/>
          </a:xfrm>
          <a:custGeom>
            <a:avLst/>
            <a:gdLst/>
            <a:ahLst/>
            <a:cxnLst/>
            <a:rect l="l" t="t" r="r" b="b"/>
            <a:pathLst>
              <a:path w="3312367" h="3947283">
                <a:moveTo>
                  <a:pt x="2537615" y="3705909"/>
                </a:moveTo>
                <a:cubicBezTo>
                  <a:pt x="2512344" y="3705909"/>
                  <a:pt x="2491857" y="3726396"/>
                  <a:pt x="2491857" y="3751667"/>
                </a:cubicBezTo>
                <a:cubicBezTo>
                  <a:pt x="2491857" y="3776938"/>
                  <a:pt x="2512344" y="3797425"/>
                  <a:pt x="2537615" y="3797425"/>
                </a:cubicBezTo>
                <a:lnTo>
                  <a:pt x="2762175" y="3797425"/>
                </a:lnTo>
                <a:cubicBezTo>
                  <a:pt x="2787446" y="3797425"/>
                  <a:pt x="2807933" y="3776938"/>
                  <a:pt x="2807933" y="3751667"/>
                </a:cubicBezTo>
                <a:cubicBezTo>
                  <a:pt x="2807933" y="3726396"/>
                  <a:pt x="2787446" y="3705909"/>
                  <a:pt x="2762175" y="3705909"/>
                </a:cubicBezTo>
                <a:close/>
                <a:moveTo>
                  <a:pt x="1141114" y="3408594"/>
                </a:moveTo>
                <a:cubicBezTo>
                  <a:pt x="1097903" y="3408594"/>
                  <a:pt x="1062874" y="3443623"/>
                  <a:pt x="1062874" y="3486834"/>
                </a:cubicBezTo>
                <a:cubicBezTo>
                  <a:pt x="1062874" y="3530045"/>
                  <a:pt x="1097903" y="3565073"/>
                  <a:pt x="1141114" y="3565073"/>
                </a:cubicBezTo>
                <a:lnTo>
                  <a:pt x="1525078" y="3565074"/>
                </a:lnTo>
                <a:cubicBezTo>
                  <a:pt x="1568289" y="3565074"/>
                  <a:pt x="1603318" y="3530045"/>
                  <a:pt x="1603318" y="3486834"/>
                </a:cubicBezTo>
                <a:lnTo>
                  <a:pt x="1603319" y="3486834"/>
                </a:lnTo>
                <a:cubicBezTo>
                  <a:pt x="1603319" y="3443623"/>
                  <a:pt x="1568290" y="3408594"/>
                  <a:pt x="1525079" y="3408594"/>
                </a:cubicBezTo>
                <a:close/>
                <a:moveTo>
                  <a:pt x="2129393" y="1705414"/>
                </a:moveTo>
                <a:lnTo>
                  <a:pt x="2129393" y="3580170"/>
                </a:lnTo>
                <a:lnTo>
                  <a:pt x="3126216" y="3580170"/>
                </a:lnTo>
                <a:lnTo>
                  <a:pt x="3126216" y="1705414"/>
                </a:lnTo>
                <a:close/>
                <a:moveTo>
                  <a:pt x="2481193" y="1533789"/>
                </a:moveTo>
                <a:cubicBezTo>
                  <a:pt x="2462682" y="1533789"/>
                  <a:pt x="2447676" y="1548795"/>
                  <a:pt x="2447676" y="1567306"/>
                </a:cubicBezTo>
                <a:lnTo>
                  <a:pt x="2447676" y="1572258"/>
                </a:lnTo>
                <a:cubicBezTo>
                  <a:pt x="2447676" y="1590769"/>
                  <a:pt x="2462682" y="1605775"/>
                  <a:pt x="2481193" y="1605775"/>
                </a:cubicBezTo>
                <a:lnTo>
                  <a:pt x="2774415" y="1605775"/>
                </a:lnTo>
                <a:cubicBezTo>
                  <a:pt x="2792926" y="1605775"/>
                  <a:pt x="2807932" y="1590769"/>
                  <a:pt x="2807932" y="1572258"/>
                </a:cubicBezTo>
                <a:lnTo>
                  <a:pt x="2807932" y="1567306"/>
                </a:lnTo>
                <a:cubicBezTo>
                  <a:pt x="2807932" y="1548795"/>
                  <a:pt x="2792926" y="1533789"/>
                  <a:pt x="2774415" y="1533789"/>
                </a:cubicBezTo>
                <a:close/>
                <a:moveTo>
                  <a:pt x="2113478" y="1418392"/>
                </a:moveTo>
                <a:lnTo>
                  <a:pt x="3142130" y="1418392"/>
                </a:lnTo>
                <a:cubicBezTo>
                  <a:pt x="3236149" y="1418392"/>
                  <a:pt x="3312367" y="1494610"/>
                  <a:pt x="3312367" y="1588629"/>
                </a:cubicBezTo>
                <a:lnTo>
                  <a:pt x="3312367" y="3777046"/>
                </a:lnTo>
                <a:cubicBezTo>
                  <a:pt x="3312367" y="3871065"/>
                  <a:pt x="3236149" y="3947283"/>
                  <a:pt x="3142130" y="3947283"/>
                </a:cubicBezTo>
                <a:lnTo>
                  <a:pt x="2113478" y="3947283"/>
                </a:lnTo>
                <a:cubicBezTo>
                  <a:pt x="2019459" y="3947283"/>
                  <a:pt x="1943241" y="3871065"/>
                  <a:pt x="1943241" y="3777046"/>
                </a:cubicBezTo>
                <a:lnTo>
                  <a:pt x="1943241" y="1588629"/>
                </a:lnTo>
                <a:cubicBezTo>
                  <a:pt x="1943241" y="1494610"/>
                  <a:pt x="2019459" y="1418392"/>
                  <a:pt x="2113478" y="1418392"/>
                </a:cubicBezTo>
                <a:close/>
                <a:moveTo>
                  <a:pt x="1006317" y="157391"/>
                </a:moveTo>
                <a:cubicBezTo>
                  <a:pt x="987806" y="157391"/>
                  <a:pt x="972800" y="172397"/>
                  <a:pt x="972800" y="190908"/>
                </a:cubicBezTo>
                <a:lnTo>
                  <a:pt x="972800" y="195860"/>
                </a:lnTo>
                <a:cubicBezTo>
                  <a:pt x="972800" y="214371"/>
                  <a:pt x="987806" y="229377"/>
                  <a:pt x="1006317" y="229377"/>
                </a:cubicBezTo>
                <a:lnTo>
                  <a:pt x="1659876" y="229377"/>
                </a:lnTo>
                <a:cubicBezTo>
                  <a:pt x="1678387" y="229377"/>
                  <a:pt x="1693393" y="214371"/>
                  <a:pt x="1693393" y="195860"/>
                </a:cubicBezTo>
                <a:lnTo>
                  <a:pt x="1693393" y="190908"/>
                </a:lnTo>
                <a:cubicBezTo>
                  <a:pt x="1693393" y="172397"/>
                  <a:pt x="1678387" y="157391"/>
                  <a:pt x="1659876" y="157391"/>
                </a:cubicBezTo>
                <a:close/>
                <a:moveTo>
                  <a:pt x="264780" y="0"/>
                </a:moveTo>
                <a:lnTo>
                  <a:pt x="2401413" y="0"/>
                </a:lnTo>
                <a:cubicBezTo>
                  <a:pt x="2547647" y="0"/>
                  <a:pt x="2666193" y="118546"/>
                  <a:pt x="2666193" y="264780"/>
                </a:cubicBezTo>
                <a:lnTo>
                  <a:pt x="2666193" y="1345374"/>
                </a:lnTo>
                <a:lnTo>
                  <a:pt x="2369517" y="1345374"/>
                </a:lnTo>
                <a:lnTo>
                  <a:pt x="2369517" y="366783"/>
                </a:lnTo>
                <a:lnTo>
                  <a:pt x="296676" y="366783"/>
                </a:lnTo>
                <a:lnTo>
                  <a:pt x="296676" y="3219873"/>
                </a:lnTo>
                <a:lnTo>
                  <a:pt x="1867527" y="3219873"/>
                </a:lnTo>
                <a:lnTo>
                  <a:pt x="1867527" y="3778374"/>
                </a:lnTo>
                <a:lnTo>
                  <a:pt x="264780" y="3778374"/>
                </a:lnTo>
                <a:cubicBezTo>
                  <a:pt x="118546" y="3778374"/>
                  <a:pt x="0" y="3659828"/>
                  <a:pt x="0" y="3513594"/>
                </a:cubicBezTo>
                <a:lnTo>
                  <a:pt x="0" y="264780"/>
                </a:lnTo>
                <a:cubicBezTo>
                  <a:pt x="0" y="118546"/>
                  <a:pt x="118546" y="0"/>
                  <a:pt x="26478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sp>
        <p:nvSpPr>
          <p:cNvPr id="39" name="Freeform 304">
            <a:extLst>
              <a:ext uri="{FF2B5EF4-FFF2-40B4-BE49-F238E27FC236}">
                <a16:creationId xmlns:a16="http://schemas.microsoft.com/office/drawing/2014/main" id="{8AAF5E16-352F-4500-A97D-C9D02A7C70BE}"/>
              </a:ext>
            </a:extLst>
          </p:cNvPr>
          <p:cNvSpPr>
            <a:spLocks/>
          </p:cNvSpPr>
          <p:nvPr/>
        </p:nvSpPr>
        <p:spPr bwMode="auto">
          <a:xfrm>
            <a:off x="9628124" y="5464269"/>
            <a:ext cx="280895" cy="266096"/>
          </a:xfrm>
          <a:custGeom>
            <a:avLst/>
            <a:gdLst>
              <a:gd name="T0" fmla="*/ 323 w 587"/>
              <a:gd name="T1" fmla="*/ 1 h 587"/>
              <a:gd name="T2" fmla="*/ 367 w 587"/>
              <a:gd name="T3" fmla="*/ 9 h 587"/>
              <a:gd name="T4" fmla="*/ 408 w 587"/>
              <a:gd name="T5" fmla="*/ 23 h 587"/>
              <a:gd name="T6" fmla="*/ 446 w 587"/>
              <a:gd name="T7" fmla="*/ 42 h 587"/>
              <a:gd name="T8" fmla="*/ 481 w 587"/>
              <a:gd name="T9" fmla="*/ 67 h 587"/>
              <a:gd name="T10" fmla="*/ 511 w 587"/>
              <a:gd name="T11" fmla="*/ 96 h 587"/>
              <a:gd name="T12" fmla="*/ 537 w 587"/>
              <a:gd name="T13" fmla="*/ 130 h 587"/>
              <a:gd name="T14" fmla="*/ 558 w 587"/>
              <a:gd name="T15" fmla="*/ 167 h 587"/>
              <a:gd name="T16" fmla="*/ 574 w 587"/>
              <a:gd name="T17" fmla="*/ 206 h 587"/>
              <a:gd name="T18" fmla="*/ 583 w 587"/>
              <a:gd name="T19" fmla="*/ 249 h 587"/>
              <a:gd name="T20" fmla="*/ 587 w 587"/>
              <a:gd name="T21" fmla="*/ 294 h 587"/>
              <a:gd name="T22" fmla="*/ 583 w 587"/>
              <a:gd name="T23" fmla="*/ 339 h 587"/>
              <a:gd name="T24" fmla="*/ 574 w 587"/>
              <a:gd name="T25" fmla="*/ 381 h 587"/>
              <a:gd name="T26" fmla="*/ 558 w 587"/>
              <a:gd name="T27" fmla="*/ 421 h 587"/>
              <a:gd name="T28" fmla="*/ 537 w 587"/>
              <a:gd name="T29" fmla="*/ 458 h 587"/>
              <a:gd name="T30" fmla="*/ 511 w 587"/>
              <a:gd name="T31" fmla="*/ 491 h 587"/>
              <a:gd name="T32" fmla="*/ 481 w 587"/>
              <a:gd name="T33" fmla="*/ 521 h 587"/>
              <a:gd name="T34" fmla="*/ 446 w 587"/>
              <a:gd name="T35" fmla="*/ 545 h 587"/>
              <a:gd name="T36" fmla="*/ 408 w 587"/>
              <a:gd name="T37" fmla="*/ 564 h 587"/>
              <a:gd name="T38" fmla="*/ 367 w 587"/>
              <a:gd name="T39" fmla="*/ 578 h 587"/>
              <a:gd name="T40" fmla="*/ 323 w 587"/>
              <a:gd name="T41" fmla="*/ 586 h 587"/>
              <a:gd name="T42" fmla="*/ 278 w 587"/>
              <a:gd name="T43" fmla="*/ 587 h 587"/>
              <a:gd name="T44" fmla="*/ 235 w 587"/>
              <a:gd name="T45" fmla="*/ 581 h 587"/>
              <a:gd name="T46" fmla="*/ 192 w 587"/>
              <a:gd name="T47" fmla="*/ 569 h 587"/>
              <a:gd name="T48" fmla="*/ 154 w 587"/>
              <a:gd name="T49" fmla="*/ 551 h 587"/>
              <a:gd name="T50" fmla="*/ 118 w 587"/>
              <a:gd name="T51" fmla="*/ 528 h 587"/>
              <a:gd name="T52" fmla="*/ 86 w 587"/>
              <a:gd name="T53" fmla="*/ 501 h 587"/>
              <a:gd name="T54" fmla="*/ 59 w 587"/>
              <a:gd name="T55" fmla="*/ 469 h 587"/>
              <a:gd name="T56" fmla="*/ 36 w 587"/>
              <a:gd name="T57" fmla="*/ 433 h 587"/>
              <a:gd name="T58" fmla="*/ 18 w 587"/>
              <a:gd name="T59" fmla="*/ 395 h 587"/>
              <a:gd name="T60" fmla="*/ 7 w 587"/>
              <a:gd name="T61" fmla="*/ 353 h 587"/>
              <a:gd name="T62" fmla="*/ 0 w 587"/>
              <a:gd name="T63" fmla="*/ 309 h 587"/>
              <a:gd name="T64" fmla="*/ 1 w 587"/>
              <a:gd name="T65" fmla="*/ 263 h 587"/>
              <a:gd name="T66" fmla="*/ 9 w 587"/>
              <a:gd name="T67" fmla="*/ 221 h 587"/>
              <a:gd name="T68" fmla="*/ 23 w 587"/>
              <a:gd name="T69" fmla="*/ 180 h 587"/>
              <a:gd name="T70" fmla="*/ 42 w 587"/>
              <a:gd name="T71" fmla="*/ 141 h 587"/>
              <a:gd name="T72" fmla="*/ 67 w 587"/>
              <a:gd name="T73" fmla="*/ 107 h 587"/>
              <a:gd name="T74" fmla="*/ 96 w 587"/>
              <a:gd name="T75" fmla="*/ 76 h 587"/>
              <a:gd name="T76" fmla="*/ 130 w 587"/>
              <a:gd name="T77" fmla="*/ 50 h 587"/>
              <a:gd name="T78" fmla="*/ 167 w 587"/>
              <a:gd name="T79" fmla="*/ 30 h 587"/>
              <a:gd name="T80" fmla="*/ 206 w 587"/>
              <a:gd name="T81" fmla="*/ 13 h 587"/>
              <a:gd name="T82" fmla="*/ 249 w 587"/>
              <a:gd name="T83" fmla="*/ 4 h 587"/>
              <a:gd name="T84" fmla="*/ 294 w 587"/>
              <a:gd name="T85" fmla="*/ 0 h 5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87" h="587">
                <a:moveTo>
                  <a:pt x="294" y="0"/>
                </a:moveTo>
                <a:lnTo>
                  <a:pt x="309" y="0"/>
                </a:lnTo>
                <a:lnTo>
                  <a:pt x="323" y="1"/>
                </a:lnTo>
                <a:lnTo>
                  <a:pt x="338" y="4"/>
                </a:lnTo>
                <a:lnTo>
                  <a:pt x="353" y="7"/>
                </a:lnTo>
                <a:lnTo>
                  <a:pt x="367" y="9"/>
                </a:lnTo>
                <a:lnTo>
                  <a:pt x="381" y="13"/>
                </a:lnTo>
                <a:lnTo>
                  <a:pt x="395" y="18"/>
                </a:lnTo>
                <a:lnTo>
                  <a:pt x="408" y="23"/>
                </a:lnTo>
                <a:lnTo>
                  <a:pt x="420" y="30"/>
                </a:lnTo>
                <a:lnTo>
                  <a:pt x="433" y="36"/>
                </a:lnTo>
                <a:lnTo>
                  <a:pt x="446" y="42"/>
                </a:lnTo>
                <a:lnTo>
                  <a:pt x="458" y="50"/>
                </a:lnTo>
                <a:lnTo>
                  <a:pt x="469" y="58"/>
                </a:lnTo>
                <a:lnTo>
                  <a:pt x="481" y="67"/>
                </a:lnTo>
                <a:lnTo>
                  <a:pt x="491" y="76"/>
                </a:lnTo>
                <a:lnTo>
                  <a:pt x="501" y="86"/>
                </a:lnTo>
                <a:lnTo>
                  <a:pt x="511" y="96"/>
                </a:lnTo>
                <a:lnTo>
                  <a:pt x="520" y="107"/>
                </a:lnTo>
                <a:lnTo>
                  <a:pt x="529" y="118"/>
                </a:lnTo>
                <a:lnTo>
                  <a:pt x="537" y="130"/>
                </a:lnTo>
                <a:lnTo>
                  <a:pt x="545" y="141"/>
                </a:lnTo>
                <a:lnTo>
                  <a:pt x="551" y="154"/>
                </a:lnTo>
                <a:lnTo>
                  <a:pt x="558" y="167"/>
                </a:lnTo>
                <a:lnTo>
                  <a:pt x="564" y="180"/>
                </a:lnTo>
                <a:lnTo>
                  <a:pt x="569" y="192"/>
                </a:lnTo>
                <a:lnTo>
                  <a:pt x="574" y="206"/>
                </a:lnTo>
                <a:lnTo>
                  <a:pt x="578" y="221"/>
                </a:lnTo>
                <a:lnTo>
                  <a:pt x="581" y="235"/>
                </a:lnTo>
                <a:lnTo>
                  <a:pt x="583" y="249"/>
                </a:lnTo>
                <a:lnTo>
                  <a:pt x="586" y="263"/>
                </a:lnTo>
                <a:lnTo>
                  <a:pt x="587" y="278"/>
                </a:lnTo>
                <a:lnTo>
                  <a:pt x="587" y="294"/>
                </a:lnTo>
                <a:lnTo>
                  <a:pt x="587" y="309"/>
                </a:lnTo>
                <a:lnTo>
                  <a:pt x="586" y="323"/>
                </a:lnTo>
                <a:lnTo>
                  <a:pt x="583" y="339"/>
                </a:lnTo>
                <a:lnTo>
                  <a:pt x="581" y="353"/>
                </a:lnTo>
                <a:lnTo>
                  <a:pt x="578" y="367"/>
                </a:lnTo>
                <a:lnTo>
                  <a:pt x="574" y="381"/>
                </a:lnTo>
                <a:lnTo>
                  <a:pt x="569" y="395"/>
                </a:lnTo>
                <a:lnTo>
                  <a:pt x="564" y="408"/>
                </a:lnTo>
                <a:lnTo>
                  <a:pt x="558" y="421"/>
                </a:lnTo>
                <a:lnTo>
                  <a:pt x="551" y="433"/>
                </a:lnTo>
                <a:lnTo>
                  <a:pt x="545" y="446"/>
                </a:lnTo>
                <a:lnTo>
                  <a:pt x="537" y="458"/>
                </a:lnTo>
                <a:lnTo>
                  <a:pt x="529" y="469"/>
                </a:lnTo>
                <a:lnTo>
                  <a:pt x="520" y="481"/>
                </a:lnTo>
                <a:lnTo>
                  <a:pt x="511" y="491"/>
                </a:lnTo>
                <a:lnTo>
                  <a:pt x="501" y="501"/>
                </a:lnTo>
                <a:lnTo>
                  <a:pt x="491" y="510"/>
                </a:lnTo>
                <a:lnTo>
                  <a:pt x="481" y="521"/>
                </a:lnTo>
                <a:lnTo>
                  <a:pt x="469" y="528"/>
                </a:lnTo>
                <a:lnTo>
                  <a:pt x="458" y="537"/>
                </a:lnTo>
                <a:lnTo>
                  <a:pt x="446" y="545"/>
                </a:lnTo>
                <a:lnTo>
                  <a:pt x="433" y="551"/>
                </a:lnTo>
                <a:lnTo>
                  <a:pt x="420" y="558"/>
                </a:lnTo>
                <a:lnTo>
                  <a:pt x="408" y="564"/>
                </a:lnTo>
                <a:lnTo>
                  <a:pt x="395" y="569"/>
                </a:lnTo>
                <a:lnTo>
                  <a:pt x="381" y="574"/>
                </a:lnTo>
                <a:lnTo>
                  <a:pt x="367" y="578"/>
                </a:lnTo>
                <a:lnTo>
                  <a:pt x="353" y="581"/>
                </a:lnTo>
                <a:lnTo>
                  <a:pt x="338" y="583"/>
                </a:lnTo>
                <a:lnTo>
                  <a:pt x="323" y="586"/>
                </a:lnTo>
                <a:lnTo>
                  <a:pt x="309" y="587"/>
                </a:lnTo>
                <a:lnTo>
                  <a:pt x="294" y="587"/>
                </a:lnTo>
                <a:lnTo>
                  <a:pt x="278" y="587"/>
                </a:lnTo>
                <a:lnTo>
                  <a:pt x="264" y="586"/>
                </a:lnTo>
                <a:lnTo>
                  <a:pt x="249" y="583"/>
                </a:lnTo>
                <a:lnTo>
                  <a:pt x="235" y="581"/>
                </a:lnTo>
                <a:lnTo>
                  <a:pt x="221" y="578"/>
                </a:lnTo>
                <a:lnTo>
                  <a:pt x="206" y="574"/>
                </a:lnTo>
                <a:lnTo>
                  <a:pt x="192" y="569"/>
                </a:lnTo>
                <a:lnTo>
                  <a:pt x="180" y="564"/>
                </a:lnTo>
                <a:lnTo>
                  <a:pt x="167" y="558"/>
                </a:lnTo>
                <a:lnTo>
                  <a:pt x="154" y="551"/>
                </a:lnTo>
                <a:lnTo>
                  <a:pt x="141" y="545"/>
                </a:lnTo>
                <a:lnTo>
                  <a:pt x="130" y="537"/>
                </a:lnTo>
                <a:lnTo>
                  <a:pt x="118" y="528"/>
                </a:lnTo>
                <a:lnTo>
                  <a:pt x="107" y="521"/>
                </a:lnTo>
                <a:lnTo>
                  <a:pt x="96" y="510"/>
                </a:lnTo>
                <a:lnTo>
                  <a:pt x="86" y="501"/>
                </a:lnTo>
                <a:lnTo>
                  <a:pt x="77" y="491"/>
                </a:lnTo>
                <a:lnTo>
                  <a:pt x="67" y="481"/>
                </a:lnTo>
                <a:lnTo>
                  <a:pt x="59" y="469"/>
                </a:lnTo>
                <a:lnTo>
                  <a:pt x="50" y="458"/>
                </a:lnTo>
                <a:lnTo>
                  <a:pt x="42" y="446"/>
                </a:lnTo>
                <a:lnTo>
                  <a:pt x="36" y="433"/>
                </a:lnTo>
                <a:lnTo>
                  <a:pt x="30" y="421"/>
                </a:lnTo>
                <a:lnTo>
                  <a:pt x="23" y="408"/>
                </a:lnTo>
                <a:lnTo>
                  <a:pt x="18" y="395"/>
                </a:lnTo>
                <a:lnTo>
                  <a:pt x="13" y="381"/>
                </a:lnTo>
                <a:lnTo>
                  <a:pt x="9" y="367"/>
                </a:lnTo>
                <a:lnTo>
                  <a:pt x="7" y="353"/>
                </a:lnTo>
                <a:lnTo>
                  <a:pt x="4" y="339"/>
                </a:lnTo>
                <a:lnTo>
                  <a:pt x="1" y="323"/>
                </a:lnTo>
                <a:lnTo>
                  <a:pt x="0" y="309"/>
                </a:lnTo>
                <a:lnTo>
                  <a:pt x="0" y="294"/>
                </a:lnTo>
                <a:lnTo>
                  <a:pt x="0" y="278"/>
                </a:lnTo>
                <a:lnTo>
                  <a:pt x="1" y="263"/>
                </a:lnTo>
                <a:lnTo>
                  <a:pt x="4" y="249"/>
                </a:lnTo>
                <a:lnTo>
                  <a:pt x="7" y="235"/>
                </a:lnTo>
                <a:lnTo>
                  <a:pt x="9" y="221"/>
                </a:lnTo>
                <a:lnTo>
                  <a:pt x="13" y="206"/>
                </a:lnTo>
                <a:lnTo>
                  <a:pt x="18" y="192"/>
                </a:lnTo>
                <a:lnTo>
                  <a:pt x="23" y="180"/>
                </a:lnTo>
                <a:lnTo>
                  <a:pt x="30" y="167"/>
                </a:lnTo>
                <a:lnTo>
                  <a:pt x="36" y="154"/>
                </a:lnTo>
                <a:lnTo>
                  <a:pt x="42" y="141"/>
                </a:lnTo>
                <a:lnTo>
                  <a:pt x="50" y="130"/>
                </a:lnTo>
                <a:lnTo>
                  <a:pt x="59" y="118"/>
                </a:lnTo>
                <a:lnTo>
                  <a:pt x="67" y="107"/>
                </a:lnTo>
                <a:lnTo>
                  <a:pt x="77" y="96"/>
                </a:lnTo>
                <a:lnTo>
                  <a:pt x="86" y="86"/>
                </a:lnTo>
                <a:lnTo>
                  <a:pt x="96" y="76"/>
                </a:lnTo>
                <a:lnTo>
                  <a:pt x="107" y="67"/>
                </a:lnTo>
                <a:lnTo>
                  <a:pt x="118" y="58"/>
                </a:lnTo>
                <a:lnTo>
                  <a:pt x="130" y="50"/>
                </a:lnTo>
                <a:lnTo>
                  <a:pt x="141" y="42"/>
                </a:lnTo>
                <a:lnTo>
                  <a:pt x="154" y="36"/>
                </a:lnTo>
                <a:lnTo>
                  <a:pt x="167" y="30"/>
                </a:lnTo>
                <a:lnTo>
                  <a:pt x="180" y="23"/>
                </a:lnTo>
                <a:lnTo>
                  <a:pt x="192" y="18"/>
                </a:lnTo>
                <a:lnTo>
                  <a:pt x="206" y="13"/>
                </a:lnTo>
                <a:lnTo>
                  <a:pt x="221" y="9"/>
                </a:lnTo>
                <a:lnTo>
                  <a:pt x="235" y="7"/>
                </a:lnTo>
                <a:lnTo>
                  <a:pt x="249" y="4"/>
                </a:lnTo>
                <a:lnTo>
                  <a:pt x="264" y="1"/>
                </a:lnTo>
                <a:lnTo>
                  <a:pt x="278" y="0"/>
                </a:lnTo>
                <a:lnTo>
                  <a:pt x="294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0" name="Freeform 305">
            <a:extLst>
              <a:ext uri="{FF2B5EF4-FFF2-40B4-BE49-F238E27FC236}">
                <a16:creationId xmlns:a16="http://schemas.microsoft.com/office/drawing/2014/main" id="{DE9265C9-D805-400E-B1C6-EEA9F3F82DA5}"/>
              </a:ext>
            </a:extLst>
          </p:cNvPr>
          <p:cNvSpPr>
            <a:spLocks noEditPoints="1"/>
          </p:cNvSpPr>
          <p:nvPr/>
        </p:nvSpPr>
        <p:spPr bwMode="auto">
          <a:xfrm>
            <a:off x="9609493" y="5417783"/>
            <a:ext cx="310992" cy="271554"/>
          </a:xfrm>
          <a:custGeom>
            <a:avLst/>
            <a:gdLst>
              <a:gd name="T0" fmla="*/ 386 w 650"/>
              <a:gd name="T1" fmla="*/ 201 h 598"/>
              <a:gd name="T2" fmla="*/ 432 w 650"/>
              <a:gd name="T3" fmla="*/ 221 h 598"/>
              <a:gd name="T4" fmla="*/ 473 w 650"/>
              <a:gd name="T5" fmla="*/ 252 h 598"/>
              <a:gd name="T6" fmla="*/ 508 w 650"/>
              <a:gd name="T7" fmla="*/ 300 h 598"/>
              <a:gd name="T8" fmla="*/ 528 w 650"/>
              <a:gd name="T9" fmla="*/ 355 h 598"/>
              <a:gd name="T10" fmla="*/ 532 w 650"/>
              <a:gd name="T11" fmla="*/ 407 h 598"/>
              <a:gd name="T12" fmla="*/ 527 w 650"/>
              <a:gd name="T13" fmla="*/ 442 h 598"/>
              <a:gd name="T14" fmla="*/ 650 w 650"/>
              <a:gd name="T15" fmla="*/ 562 h 598"/>
              <a:gd name="T16" fmla="*/ 487 w 650"/>
              <a:gd name="T17" fmla="*/ 524 h 598"/>
              <a:gd name="T18" fmla="*/ 442 w 650"/>
              <a:gd name="T19" fmla="*/ 564 h 598"/>
              <a:gd name="T20" fmla="*/ 390 w 650"/>
              <a:gd name="T21" fmla="*/ 589 h 598"/>
              <a:gd name="T22" fmla="*/ 330 w 650"/>
              <a:gd name="T23" fmla="*/ 598 h 598"/>
              <a:gd name="T24" fmla="*/ 269 w 650"/>
              <a:gd name="T25" fmla="*/ 589 h 598"/>
              <a:gd name="T26" fmla="*/ 217 w 650"/>
              <a:gd name="T27" fmla="*/ 564 h 598"/>
              <a:gd name="T28" fmla="*/ 171 w 650"/>
              <a:gd name="T29" fmla="*/ 521 h 598"/>
              <a:gd name="T30" fmla="*/ 0 w 650"/>
              <a:gd name="T31" fmla="*/ 558 h 598"/>
              <a:gd name="T32" fmla="*/ 132 w 650"/>
              <a:gd name="T33" fmla="*/ 439 h 598"/>
              <a:gd name="T34" fmla="*/ 128 w 650"/>
              <a:gd name="T35" fmla="*/ 375 h 598"/>
              <a:gd name="T36" fmla="*/ 143 w 650"/>
              <a:gd name="T37" fmla="*/ 316 h 598"/>
              <a:gd name="T38" fmla="*/ 173 w 650"/>
              <a:gd name="T39" fmla="*/ 266 h 598"/>
              <a:gd name="T40" fmla="*/ 216 w 650"/>
              <a:gd name="T41" fmla="*/ 228 h 598"/>
              <a:gd name="T42" fmla="*/ 267 w 650"/>
              <a:gd name="T43" fmla="*/ 203 h 598"/>
              <a:gd name="T44" fmla="*/ 324 w 650"/>
              <a:gd name="T45" fmla="*/ 193 h 598"/>
              <a:gd name="T46" fmla="*/ 350 w 650"/>
              <a:gd name="T47" fmla="*/ 194 h 598"/>
              <a:gd name="T48" fmla="*/ 262 w 650"/>
              <a:gd name="T49" fmla="*/ 344 h 598"/>
              <a:gd name="T50" fmla="*/ 155 w 650"/>
              <a:gd name="T51" fmla="*/ 369 h 598"/>
              <a:gd name="T52" fmla="*/ 154 w 650"/>
              <a:gd name="T53" fmla="*/ 411 h 598"/>
              <a:gd name="T54" fmla="*/ 262 w 650"/>
              <a:gd name="T55" fmla="*/ 319 h 598"/>
              <a:gd name="T56" fmla="*/ 231 w 650"/>
              <a:gd name="T57" fmla="*/ 248 h 598"/>
              <a:gd name="T58" fmla="*/ 195 w 650"/>
              <a:gd name="T59" fmla="*/ 282 h 598"/>
              <a:gd name="T60" fmla="*/ 171 w 650"/>
              <a:gd name="T61" fmla="*/ 319 h 598"/>
              <a:gd name="T62" fmla="*/ 372 w 650"/>
              <a:gd name="T63" fmla="*/ 319 h 598"/>
              <a:gd name="T64" fmla="*/ 351 w 650"/>
              <a:gd name="T65" fmla="*/ 220 h 598"/>
              <a:gd name="T66" fmla="*/ 319 w 650"/>
              <a:gd name="T67" fmla="*/ 219 h 598"/>
              <a:gd name="T68" fmla="*/ 287 w 650"/>
              <a:gd name="T69" fmla="*/ 224 h 598"/>
              <a:gd name="T70" fmla="*/ 488 w 650"/>
              <a:gd name="T71" fmla="*/ 319 h 598"/>
              <a:gd name="T72" fmla="*/ 464 w 650"/>
              <a:gd name="T73" fmla="*/ 282 h 598"/>
              <a:gd name="T74" fmla="*/ 428 w 650"/>
              <a:gd name="T75" fmla="*/ 248 h 598"/>
              <a:gd name="T76" fmla="*/ 499 w 650"/>
              <a:gd name="T77" fmla="*/ 344 h 598"/>
              <a:gd name="T78" fmla="*/ 504 w 650"/>
              <a:gd name="T79" fmla="*/ 428 h 598"/>
              <a:gd name="T80" fmla="*/ 505 w 650"/>
              <a:gd name="T81" fmla="*/ 383 h 598"/>
              <a:gd name="T82" fmla="*/ 499 w 650"/>
              <a:gd name="T83" fmla="*/ 344 h 598"/>
              <a:gd name="T84" fmla="*/ 398 w 650"/>
              <a:gd name="T85" fmla="*/ 558 h 598"/>
              <a:gd name="T86" fmla="*/ 442 w 650"/>
              <a:gd name="T87" fmla="*/ 532 h 598"/>
              <a:gd name="T88" fmla="*/ 480 w 650"/>
              <a:gd name="T89" fmla="*/ 489 h 598"/>
              <a:gd name="T90" fmla="*/ 372 w 650"/>
              <a:gd name="T91" fmla="*/ 567 h 598"/>
              <a:gd name="T92" fmla="*/ 287 w 650"/>
              <a:gd name="T93" fmla="*/ 567 h 598"/>
              <a:gd name="T94" fmla="*/ 319 w 650"/>
              <a:gd name="T95" fmla="*/ 571 h 598"/>
              <a:gd name="T96" fmla="*/ 351 w 650"/>
              <a:gd name="T97" fmla="*/ 571 h 598"/>
              <a:gd name="T98" fmla="*/ 262 w 650"/>
              <a:gd name="T99" fmla="*/ 558 h 598"/>
              <a:gd name="T100" fmla="*/ 171 w 650"/>
              <a:gd name="T101" fmla="*/ 471 h 598"/>
              <a:gd name="T102" fmla="*/ 205 w 650"/>
              <a:gd name="T103" fmla="*/ 520 h 598"/>
              <a:gd name="T104" fmla="*/ 246 w 650"/>
              <a:gd name="T105" fmla="*/ 551 h 598"/>
              <a:gd name="T106" fmla="*/ 372 w 650"/>
              <a:gd name="T107" fmla="*/ 428 h 598"/>
              <a:gd name="T108" fmla="*/ 287 w 650"/>
              <a:gd name="T109" fmla="*/ 428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650" h="598">
                <a:moveTo>
                  <a:pt x="350" y="194"/>
                </a:moveTo>
                <a:lnTo>
                  <a:pt x="368" y="197"/>
                </a:lnTo>
                <a:lnTo>
                  <a:pt x="386" y="201"/>
                </a:lnTo>
                <a:lnTo>
                  <a:pt x="401" y="206"/>
                </a:lnTo>
                <a:lnTo>
                  <a:pt x="418" y="214"/>
                </a:lnTo>
                <a:lnTo>
                  <a:pt x="432" y="221"/>
                </a:lnTo>
                <a:lnTo>
                  <a:pt x="447" y="230"/>
                </a:lnTo>
                <a:lnTo>
                  <a:pt x="460" y="241"/>
                </a:lnTo>
                <a:lnTo>
                  <a:pt x="473" y="252"/>
                </a:lnTo>
                <a:lnTo>
                  <a:pt x="486" y="266"/>
                </a:lnTo>
                <a:lnTo>
                  <a:pt x="497" y="283"/>
                </a:lnTo>
                <a:lnTo>
                  <a:pt x="508" y="300"/>
                </a:lnTo>
                <a:lnTo>
                  <a:pt x="517" y="316"/>
                </a:lnTo>
                <a:lnTo>
                  <a:pt x="523" y="335"/>
                </a:lnTo>
                <a:lnTo>
                  <a:pt x="528" y="355"/>
                </a:lnTo>
                <a:lnTo>
                  <a:pt x="531" y="375"/>
                </a:lnTo>
                <a:lnTo>
                  <a:pt x="532" y="396"/>
                </a:lnTo>
                <a:lnTo>
                  <a:pt x="532" y="407"/>
                </a:lnTo>
                <a:lnTo>
                  <a:pt x="531" y="419"/>
                </a:lnTo>
                <a:lnTo>
                  <a:pt x="529" y="430"/>
                </a:lnTo>
                <a:lnTo>
                  <a:pt x="527" y="442"/>
                </a:lnTo>
                <a:lnTo>
                  <a:pt x="521" y="464"/>
                </a:lnTo>
                <a:lnTo>
                  <a:pt x="512" y="484"/>
                </a:lnTo>
                <a:lnTo>
                  <a:pt x="650" y="562"/>
                </a:lnTo>
                <a:lnTo>
                  <a:pt x="637" y="585"/>
                </a:lnTo>
                <a:lnTo>
                  <a:pt x="499" y="507"/>
                </a:lnTo>
                <a:lnTo>
                  <a:pt x="487" y="524"/>
                </a:lnTo>
                <a:lnTo>
                  <a:pt x="473" y="539"/>
                </a:lnTo>
                <a:lnTo>
                  <a:pt x="459" y="552"/>
                </a:lnTo>
                <a:lnTo>
                  <a:pt x="442" y="564"/>
                </a:lnTo>
                <a:lnTo>
                  <a:pt x="426" y="574"/>
                </a:lnTo>
                <a:lnTo>
                  <a:pt x="409" y="583"/>
                </a:lnTo>
                <a:lnTo>
                  <a:pt x="390" y="589"/>
                </a:lnTo>
                <a:lnTo>
                  <a:pt x="371" y="594"/>
                </a:lnTo>
                <a:lnTo>
                  <a:pt x="350" y="597"/>
                </a:lnTo>
                <a:lnTo>
                  <a:pt x="330" y="598"/>
                </a:lnTo>
                <a:lnTo>
                  <a:pt x="309" y="597"/>
                </a:lnTo>
                <a:lnTo>
                  <a:pt x="289" y="594"/>
                </a:lnTo>
                <a:lnTo>
                  <a:pt x="269" y="589"/>
                </a:lnTo>
                <a:lnTo>
                  <a:pt x="251" y="583"/>
                </a:lnTo>
                <a:lnTo>
                  <a:pt x="233" y="574"/>
                </a:lnTo>
                <a:lnTo>
                  <a:pt x="217" y="564"/>
                </a:lnTo>
                <a:lnTo>
                  <a:pt x="201" y="552"/>
                </a:lnTo>
                <a:lnTo>
                  <a:pt x="186" y="539"/>
                </a:lnTo>
                <a:lnTo>
                  <a:pt x="171" y="521"/>
                </a:lnTo>
                <a:lnTo>
                  <a:pt x="158" y="503"/>
                </a:lnTo>
                <a:lnTo>
                  <a:pt x="13" y="581"/>
                </a:lnTo>
                <a:lnTo>
                  <a:pt x="0" y="558"/>
                </a:lnTo>
                <a:lnTo>
                  <a:pt x="145" y="480"/>
                </a:lnTo>
                <a:lnTo>
                  <a:pt x="137" y="460"/>
                </a:lnTo>
                <a:lnTo>
                  <a:pt x="132" y="439"/>
                </a:lnTo>
                <a:lnTo>
                  <a:pt x="128" y="417"/>
                </a:lnTo>
                <a:lnTo>
                  <a:pt x="127" y="396"/>
                </a:lnTo>
                <a:lnTo>
                  <a:pt x="128" y="375"/>
                </a:lnTo>
                <a:lnTo>
                  <a:pt x="131" y="355"/>
                </a:lnTo>
                <a:lnTo>
                  <a:pt x="136" y="335"/>
                </a:lnTo>
                <a:lnTo>
                  <a:pt x="143" y="316"/>
                </a:lnTo>
                <a:lnTo>
                  <a:pt x="151" y="300"/>
                </a:lnTo>
                <a:lnTo>
                  <a:pt x="162" y="283"/>
                </a:lnTo>
                <a:lnTo>
                  <a:pt x="173" y="266"/>
                </a:lnTo>
                <a:lnTo>
                  <a:pt x="186" y="252"/>
                </a:lnTo>
                <a:lnTo>
                  <a:pt x="200" y="239"/>
                </a:lnTo>
                <a:lnTo>
                  <a:pt x="216" y="228"/>
                </a:lnTo>
                <a:lnTo>
                  <a:pt x="232" y="219"/>
                </a:lnTo>
                <a:lnTo>
                  <a:pt x="249" y="210"/>
                </a:lnTo>
                <a:lnTo>
                  <a:pt x="267" y="203"/>
                </a:lnTo>
                <a:lnTo>
                  <a:pt x="286" y="198"/>
                </a:lnTo>
                <a:lnTo>
                  <a:pt x="305" y="194"/>
                </a:lnTo>
                <a:lnTo>
                  <a:pt x="324" y="193"/>
                </a:lnTo>
                <a:lnTo>
                  <a:pt x="324" y="0"/>
                </a:lnTo>
                <a:lnTo>
                  <a:pt x="350" y="0"/>
                </a:lnTo>
                <a:lnTo>
                  <a:pt x="350" y="194"/>
                </a:lnTo>
                <a:close/>
                <a:moveTo>
                  <a:pt x="155" y="428"/>
                </a:moveTo>
                <a:lnTo>
                  <a:pt x="262" y="428"/>
                </a:lnTo>
                <a:lnTo>
                  <a:pt x="262" y="344"/>
                </a:lnTo>
                <a:lnTo>
                  <a:pt x="160" y="344"/>
                </a:lnTo>
                <a:lnTo>
                  <a:pt x="158" y="357"/>
                </a:lnTo>
                <a:lnTo>
                  <a:pt x="155" y="369"/>
                </a:lnTo>
                <a:lnTo>
                  <a:pt x="154" y="383"/>
                </a:lnTo>
                <a:lnTo>
                  <a:pt x="153" y="396"/>
                </a:lnTo>
                <a:lnTo>
                  <a:pt x="154" y="411"/>
                </a:lnTo>
                <a:lnTo>
                  <a:pt x="155" y="428"/>
                </a:lnTo>
                <a:close/>
                <a:moveTo>
                  <a:pt x="171" y="319"/>
                </a:moveTo>
                <a:lnTo>
                  <a:pt x="262" y="319"/>
                </a:lnTo>
                <a:lnTo>
                  <a:pt x="262" y="233"/>
                </a:lnTo>
                <a:lnTo>
                  <a:pt x="246" y="241"/>
                </a:lnTo>
                <a:lnTo>
                  <a:pt x="231" y="248"/>
                </a:lnTo>
                <a:lnTo>
                  <a:pt x="218" y="259"/>
                </a:lnTo>
                <a:lnTo>
                  <a:pt x="205" y="270"/>
                </a:lnTo>
                <a:lnTo>
                  <a:pt x="195" y="282"/>
                </a:lnTo>
                <a:lnTo>
                  <a:pt x="186" y="293"/>
                </a:lnTo>
                <a:lnTo>
                  <a:pt x="178" y="306"/>
                </a:lnTo>
                <a:lnTo>
                  <a:pt x="171" y="319"/>
                </a:lnTo>
                <a:close/>
                <a:moveTo>
                  <a:pt x="287" y="224"/>
                </a:moveTo>
                <a:lnTo>
                  <a:pt x="287" y="319"/>
                </a:lnTo>
                <a:lnTo>
                  <a:pt x="372" y="319"/>
                </a:lnTo>
                <a:lnTo>
                  <a:pt x="372" y="224"/>
                </a:lnTo>
                <a:lnTo>
                  <a:pt x="362" y="221"/>
                </a:lnTo>
                <a:lnTo>
                  <a:pt x="351" y="220"/>
                </a:lnTo>
                <a:lnTo>
                  <a:pt x="340" y="219"/>
                </a:lnTo>
                <a:lnTo>
                  <a:pt x="330" y="219"/>
                </a:lnTo>
                <a:lnTo>
                  <a:pt x="319" y="219"/>
                </a:lnTo>
                <a:lnTo>
                  <a:pt x="308" y="220"/>
                </a:lnTo>
                <a:lnTo>
                  <a:pt x="298" y="221"/>
                </a:lnTo>
                <a:lnTo>
                  <a:pt x="287" y="224"/>
                </a:lnTo>
                <a:close/>
                <a:moveTo>
                  <a:pt x="398" y="233"/>
                </a:moveTo>
                <a:lnTo>
                  <a:pt x="398" y="319"/>
                </a:lnTo>
                <a:lnTo>
                  <a:pt x="488" y="319"/>
                </a:lnTo>
                <a:lnTo>
                  <a:pt x="482" y="306"/>
                </a:lnTo>
                <a:lnTo>
                  <a:pt x="473" y="293"/>
                </a:lnTo>
                <a:lnTo>
                  <a:pt x="464" y="282"/>
                </a:lnTo>
                <a:lnTo>
                  <a:pt x="454" y="270"/>
                </a:lnTo>
                <a:lnTo>
                  <a:pt x="442" y="259"/>
                </a:lnTo>
                <a:lnTo>
                  <a:pt x="428" y="248"/>
                </a:lnTo>
                <a:lnTo>
                  <a:pt x="413" y="239"/>
                </a:lnTo>
                <a:lnTo>
                  <a:pt x="398" y="233"/>
                </a:lnTo>
                <a:close/>
                <a:moveTo>
                  <a:pt x="499" y="344"/>
                </a:moveTo>
                <a:lnTo>
                  <a:pt x="398" y="344"/>
                </a:lnTo>
                <a:lnTo>
                  <a:pt x="398" y="428"/>
                </a:lnTo>
                <a:lnTo>
                  <a:pt x="504" y="428"/>
                </a:lnTo>
                <a:lnTo>
                  <a:pt x="505" y="411"/>
                </a:lnTo>
                <a:lnTo>
                  <a:pt x="506" y="396"/>
                </a:lnTo>
                <a:lnTo>
                  <a:pt x="505" y="383"/>
                </a:lnTo>
                <a:lnTo>
                  <a:pt x="504" y="369"/>
                </a:lnTo>
                <a:lnTo>
                  <a:pt x="501" y="357"/>
                </a:lnTo>
                <a:lnTo>
                  <a:pt x="499" y="344"/>
                </a:lnTo>
                <a:close/>
                <a:moveTo>
                  <a:pt x="496" y="453"/>
                </a:moveTo>
                <a:lnTo>
                  <a:pt x="398" y="453"/>
                </a:lnTo>
                <a:lnTo>
                  <a:pt x="398" y="558"/>
                </a:lnTo>
                <a:lnTo>
                  <a:pt x="413" y="551"/>
                </a:lnTo>
                <a:lnTo>
                  <a:pt x="428" y="542"/>
                </a:lnTo>
                <a:lnTo>
                  <a:pt x="442" y="532"/>
                </a:lnTo>
                <a:lnTo>
                  <a:pt x="454" y="520"/>
                </a:lnTo>
                <a:lnTo>
                  <a:pt x="468" y="506"/>
                </a:lnTo>
                <a:lnTo>
                  <a:pt x="480" y="489"/>
                </a:lnTo>
                <a:lnTo>
                  <a:pt x="488" y="471"/>
                </a:lnTo>
                <a:lnTo>
                  <a:pt x="496" y="453"/>
                </a:lnTo>
                <a:close/>
                <a:moveTo>
                  <a:pt x="372" y="567"/>
                </a:moveTo>
                <a:lnTo>
                  <a:pt x="372" y="453"/>
                </a:lnTo>
                <a:lnTo>
                  <a:pt x="287" y="453"/>
                </a:lnTo>
                <a:lnTo>
                  <a:pt x="287" y="567"/>
                </a:lnTo>
                <a:lnTo>
                  <a:pt x="298" y="569"/>
                </a:lnTo>
                <a:lnTo>
                  <a:pt x="308" y="571"/>
                </a:lnTo>
                <a:lnTo>
                  <a:pt x="319" y="571"/>
                </a:lnTo>
                <a:lnTo>
                  <a:pt x="330" y="573"/>
                </a:lnTo>
                <a:lnTo>
                  <a:pt x="340" y="571"/>
                </a:lnTo>
                <a:lnTo>
                  <a:pt x="351" y="571"/>
                </a:lnTo>
                <a:lnTo>
                  <a:pt x="362" y="569"/>
                </a:lnTo>
                <a:lnTo>
                  <a:pt x="372" y="567"/>
                </a:lnTo>
                <a:close/>
                <a:moveTo>
                  <a:pt x="262" y="558"/>
                </a:moveTo>
                <a:lnTo>
                  <a:pt x="262" y="453"/>
                </a:lnTo>
                <a:lnTo>
                  <a:pt x="163" y="453"/>
                </a:lnTo>
                <a:lnTo>
                  <a:pt x="171" y="471"/>
                </a:lnTo>
                <a:lnTo>
                  <a:pt x="180" y="489"/>
                </a:lnTo>
                <a:lnTo>
                  <a:pt x="191" y="506"/>
                </a:lnTo>
                <a:lnTo>
                  <a:pt x="205" y="520"/>
                </a:lnTo>
                <a:lnTo>
                  <a:pt x="218" y="532"/>
                </a:lnTo>
                <a:lnTo>
                  <a:pt x="231" y="542"/>
                </a:lnTo>
                <a:lnTo>
                  <a:pt x="246" y="551"/>
                </a:lnTo>
                <a:lnTo>
                  <a:pt x="262" y="558"/>
                </a:lnTo>
                <a:close/>
                <a:moveTo>
                  <a:pt x="287" y="428"/>
                </a:moveTo>
                <a:lnTo>
                  <a:pt x="372" y="428"/>
                </a:lnTo>
                <a:lnTo>
                  <a:pt x="372" y="344"/>
                </a:lnTo>
                <a:lnTo>
                  <a:pt x="287" y="344"/>
                </a:lnTo>
                <a:lnTo>
                  <a:pt x="287" y="428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1" name="Rectangle 306">
            <a:extLst>
              <a:ext uri="{FF2B5EF4-FFF2-40B4-BE49-F238E27FC236}">
                <a16:creationId xmlns:a16="http://schemas.microsoft.com/office/drawing/2014/main" id="{E31233F0-4545-4BB6-9814-7C55566855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62839" y="5730365"/>
            <a:ext cx="12899" cy="4776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2" name="Freeform 311">
            <a:extLst>
              <a:ext uri="{FF2B5EF4-FFF2-40B4-BE49-F238E27FC236}">
                <a16:creationId xmlns:a16="http://schemas.microsoft.com/office/drawing/2014/main" id="{A606092A-869F-4918-A68B-4930ABA3A04B}"/>
              </a:ext>
            </a:extLst>
          </p:cNvPr>
          <p:cNvSpPr>
            <a:spLocks noEditPoints="1"/>
          </p:cNvSpPr>
          <p:nvPr/>
        </p:nvSpPr>
        <p:spPr bwMode="auto">
          <a:xfrm>
            <a:off x="9914751" y="5666229"/>
            <a:ext cx="50160" cy="47761"/>
          </a:xfrm>
          <a:custGeom>
            <a:avLst/>
            <a:gdLst>
              <a:gd name="T0" fmla="*/ 64 w 106"/>
              <a:gd name="T1" fmla="*/ 1 h 106"/>
              <a:gd name="T2" fmla="*/ 83 w 106"/>
              <a:gd name="T3" fmla="*/ 9 h 106"/>
              <a:gd name="T4" fmla="*/ 97 w 106"/>
              <a:gd name="T5" fmla="*/ 23 h 106"/>
              <a:gd name="T6" fmla="*/ 105 w 106"/>
              <a:gd name="T7" fmla="*/ 42 h 106"/>
              <a:gd name="T8" fmla="*/ 105 w 106"/>
              <a:gd name="T9" fmla="*/ 64 h 106"/>
              <a:gd name="T10" fmla="*/ 97 w 106"/>
              <a:gd name="T11" fmla="*/ 83 h 106"/>
              <a:gd name="T12" fmla="*/ 83 w 106"/>
              <a:gd name="T13" fmla="*/ 97 h 106"/>
              <a:gd name="T14" fmla="*/ 64 w 106"/>
              <a:gd name="T15" fmla="*/ 105 h 106"/>
              <a:gd name="T16" fmla="*/ 42 w 106"/>
              <a:gd name="T17" fmla="*/ 105 h 106"/>
              <a:gd name="T18" fmla="*/ 23 w 106"/>
              <a:gd name="T19" fmla="*/ 97 h 106"/>
              <a:gd name="T20" fmla="*/ 9 w 106"/>
              <a:gd name="T21" fmla="*/ 83 h 106"/>
              <a:gd name="T22" fmla="*/ 1 w 106"/>
              <a:gd name="T23" fmla="*/ 64 h 106"/>
              <a:gd name="T24" fmla="*/ 1 w 106"/>
              <a:gd name="T25" fmla="*/ 42 h 106"/>
              <a:gd name="T26" fmla="*/ 9 w 106"/>
              <a:gd name="T27" fmla="*/ 23 h 106"/>
              <a:gd name="T28" fmla="*/ 23 w 106"/>
              <a:gd name="T29" fmla="*/ 9 h 106"/>
              <a:gd name="T30" fmla="*/ 42 w 106"/>
              <a:gd name="T31" fmla="*/ 1 h 106"/>
              <a:gd name="T32" fmla="*/ 54 w 106"/>
              <a:gd name="T33" fmla="*/ 28 h 106"/>
              <a:gd name="T34" fmla="*/ 63 w 106"/>
              <a:gd name="T35" fmla="*/ 31 h 106"/>
              <a:gd name="T36" fmla="*/ 72 w 106"/>
              <a:gd name="T37" fmla="*/ 36 h 106"/>
              <a:gd name="T38" fmla="*/ 77 w 106"/>
              <a:gd name="T39" fmla="*/ 43 h 106"/>
              <a:gd name="T40" fmla="*/ 78 w 106"/>
              <a:gd name="T41" fmla="*/ 54 h 106"/>
              <a:gd name="T42" fmla="*/ 77 w 106"/>
              <a:gd name="T43" fmla="*/ 63 h 106"/>
              <a:gd name="T44" fmla="*/ 72 w 106"/>
              <a:gd name="T45" fmla="*/ 72 h 106"/>
              <a:gd name="T46" fmla="*/ 63 w 106"/>
              <a:gd name="T47" fmla="*/ 77 h 106"/>
              <a:gd name="T48" fmla="*/ 54 w 106"/>
              <a:gd name="T49" fmla="*/ 78 h 106"/>
              <a:gd name="T50" fmla="*/ 43 w 106"/>
              <a:gd name="T51" fmla="*/ 77 h 106"/>
              <a:gd name="T52" fmla="*/ 36 w 106"/>
              <a:gd name="T53" fmla="*/ 72 h 106"/>
              <a:gd name="T54" fmla="*/ 31 w 106"/>
              <a:gd name="T55" fmla="*/ 63 h 106"/>
              <a:gd name="T56" fmla="*/ 28 w 106"/>
              <a:gd name="T57" fmla="*/ 54 h 106"/>
              <a:gd name="T58" fmla="*/ 31 w 106"/>
              <a:gd name="T59" fmla="*/ 43 h 106"/>
              <a:gd name="T60" fmla="*/ 36 w 106"/>
              <a:gd name="T61" fmla="*/ 36 h 106"/>
              <a:gd name="T62" fmla="*/ 43 w 106"/>
              <a:gd name="T63" fmla="*/ 31 h 106"/>
              <a:gd name="T64" fmla="*/ 54 w 106"/>
              <a:gd name="T65" fmla="*/ 28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" h="106">
                <a:moveTo>
                  <a:pt x="54" y="0"/>
                </a:moveTo>
                <a:lnTo>
                  <a:pt x="64" y="1"/>
                </a:lnTo>
                <a:lnTo>
                  <a:pt x="74" y="4"/>
                </a:lnTo>
                <a:lnTo>
                  <a:pt x="83" y="9"/>
                </a:lnTo>
                <a:lnTo>
                  <a:pt x="91" y="15"/>
                </a:lnTo>
                <a:lnTo>
                  <a:pt x="97" y="23"/>
                </a:lnTo>
                <a:lnTo>
                  <a:pt x="102" y="32"/>
                </a:lnTo>
                <a:lnTo>
                  <a:pt x="105" y="42"/>
                </a:lnTo>
                <a:lnTo>
                  <a:pt x="106" y="54"/>
                </a:lnTo>
                <a:lnTo>
                  <a:pt x="105" y="64"/>
                </a:lnTo>
                <a:lnTo>
                  <a:pt x="102" y="74"/>
                </a:lnTo>
                <a:lnTo>
                  <a:pt x="97" y="83"/>
                </a:lnTo>
                <a:lnTo>
                  <a:pt x="91" y="91"/>
                </a:lnTo>
                <a:lnTo>
                  <a:pt x="83" y="97"/>
                </a:lnTo>
                <a:lnTo>
                  <a:pt x="74" y="102"/>
                </a:lnTo>
                <a:lnTo>
                  <a:pt x="64" y="105"/>
                </a:lnTo>
                <a:lnTo>
                  <a:pt x="54" y="106"/>
                </a:lnTo>
                <a:lnTo>
                  <a:pt x="42" y="105"/>
                </a:lnTo>
                <a:lnTo>
                  <a:pt x="33" y="102"/>
                </a:lnTo>
                <a:lnTo>
                  <a:pt x="23" y="97"/>
                </a:lnTo>
                <a:lnTo>
                  <a:pt x="15" y="91"/>
                </a:lnTo>
                <a:lnTo>
                  <a:pt x="9" y="83"/>
                </a:lnTo>
                <a:lnTo>
                  <a:pt x="4" y="74"/>
                </a:lnTo>
                <a:lnTo>
                  <a:pt x="1" y="64"/>
                </a:lnTo>
                <a:lnTo>
                  <a:pt x="0" y="54"/>
                </a:lnTo>
                <a:lnTo>
                  <a:pt x="1" y="42"/>
                </a:lnTo>
                <a:lnTo>
                  <a:pt x="4" y="32"/>
                </a:lnTo>
                <a:lnTo>
                  <a:pt x="9" y="23"/>
                </a:lnTo>
                <a:lnTo>
                  <a:pt x="15" y="15"/>
                </a:lnTo>
                <a:lnTo>
                  <a:pt x="23" y="9"/>
                </a:lnTo>
                <a:lnTo>
                  <a:pt x="33" y="4"/>
                </a:lnTo>
                <a:lnTo>
                  <a:pt x="42" y="1"/>
                </a:lnTo>
                <a:lnTo>
                  <a:pt x="54" y="0"/>
                </a:lnTo>
                <a:close/>
                <a:moveTo>
                  <a:pt x="54" y="28"/>
                </a:moveTo>
                <a:lnTo>
                  <a:pt x="59" y="28"/>
                </a:lnTo>
                <a:lnTo>
                  <a:pt x="63" y="31"/>
                </a:lnTo>
                <a:lnTo>
                  <a:pt x="68" y="32"/>
                </a:lnTo>
                <a:lnTo>
                  <a:pt x="72" y="36"/>
                </a:lnTo>
                <a:lnTo>
                  <a:pt x="74" y="40"/>
                </a:lnTo>
                <a:lnTo>
                  <a:pt x="77" y="43"/>
                </a:lnTo>
                <a:lnTo>
                  <a:pt x="78" y="49"/>
                </a:lnTo>
                <a:lnTo>
                  <a:pt x="78" y="54"/>
                </a:lnTo>
                <a:lnTo>
                  <a:pt x="78" y="59"/>
                </a:lnTo>
                <a:lnTo>
                  <a:pt x="77" y="63"/>
                </a:lnTo>
                <a:lnTo>
                  <a:pt x="74" y="68"/>
                </a:lnTo>
                <a:lnTo>
                  <a:pt x="72" y="72"/>
                </a:lnTo>
                <a:lnTo>
                  <a:pt x="68" y="74"/>
                </a:lnTo>
                <a:lnTo>
                  <a:pt x="63" y="77"/>
                </a:lnTo>
                <a:lnTo>
                  <a:pt x="59" y="78"/>
                </a:lnTo>
                <a:lnTo>
                  <a:pt x="54" y="78"/>
                </a:lnTo>
                <a:lnTo>
                  <a:pt x="49" y="78"/>
                </a:lnTo>
                <a:lnTo>
                  <a:pt x="43" y="77"/>
                </a:lnTo>
                <a:lnTo>
                  <a:pt x="40" y="74"/>
                </a:lnTo>
                <a:lnTo>
                  <a:pt x="36" y="72"/>
                </a:lnTo>
                <a:lnTo>
                  <a:pt x="32" y="68"/>
                </a:lnTo>
                <a:lnTo>
                  <a:pt x="31" y="63"/>
                </a:lnTo>
                <a:lnTo>
                  <a:pt x="28" y="59"/>
                </a:lnTo>
                <a:lnTo>
                  <a:pt x="28" y="54"/>
                </a:lnTo>
                <a:lnTo>
                  <a:pt x="28" y="49"/>
                </a:lnTo>
                <a:lnTo>
                  <a:pt x="31" y="43"/>
                </a:lnTo>
                <a:lnTo>
                  <a:pt x="32" y="40"/>
                </a:lnTo>
                <a:lnTo>
                  <a:pt x="36" y="36"/>
                </a:lnTo>
                <a:lnTo>
                  <a:pt x="40" y="32"/>
                </a:lnTo>
                <a:lnTo>
                  <a:pt x="43" y="31"/>
                </a:lnTo>
                <a:lnTo>
                  <a:pt x="49" y="28"/>
                </a:lnTo>
                <a:lnTo>
                  <a:pt x="54" y="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3" name="Freeform 313">
            <a:extLst>
              <a:ext uri="{FF2B5EF4-FFF2-40B4-BE49-F238E27FC236}">
                <a16:creationId xmlns:a16="http://schemas.microsoft.com/office/drawing/2014/main" id="{5496E24A-19DE-4B2B-923C-C6F01C9ED022}"/>
              </a:ext>
            </a:extLst>
          </p:cNvPr>
          <p:cNvSpPr>
            <a:spLocks noEditPoints="1"/>
          </p:cNvSpPr>
          <p:nvPr/>
        </p:nvSpPr>
        <p:spPr bwMode="auto">
          <a:xfrm>
            <a:off x="9567932" y="5662135"/>
            <a:ext cx="50160" cy="49125"/>
          </a:xfrm>
          <a:custGeom>
            <a:avLst/>
            <a:gdLst>
              <a:gd name="T0" fmla="*/ 64 w 107"/>
              <a:gd name="T1" fmla="*/ 1 h 107"/>
              <a:gd name="T2" fmla="*/ 84 w 107"/>
              <a:gd name="T3" fmla="*/ 9 h 107"/>
              <a:gd name="T4" fmla="*/ 98 w 107"/>
              <a:gd name="T5" fmla="*/ 23 h 107"/>
              <a:gd name="T6" fmla="*/ 105 w 107"/>
              <a:gd name="T7" fmla="*/ 42 h 107"/>
              <a:gd name="T8" fmla="*/ 105 w 107"/>
              <a:gd name="T9" fmla="*/ 64 h 107"/>
              <a:gd name="T10" fmla="*/ 98 w 107"/>
              <a:gd name="T11" fmla="*/ 84 h 107"/>
              <a:gd name="T12" fmla="*/ 84 w 107"/>
              <a:gd name="T13" fmla="*/ 98 h 107"/>
              <a:gd name="T14" fmla="*/ 64 w 107"/>
              <a:gd name="T15" fmla="*/ 105 h 107"/>
              <a:gd name="T16" fmla="*/ 43 w 107"/>
              <a:gd name="T17" fmla="*/ 105 h 107"/>
              <a:gd name="T18" fmla="*/ 23 w 107"/>
              <a:gd name="T19" fmla="*/ 98 h 107"/>
              <a:gd name="T20" fmla="*/ 9 w 107"/>
              <a:gd name="T21" fmla="*/ 84 h 107"/>
              <a:gd name="T22" fmla="*/ 2 w 107"/>
              <a:gd name="T23" fmla="*/ 64 h 107"/>
              <a:gd name="T24" fmla="*/ 2 w 107"/>
              <a:gd name="T25" fmla="*/ 42 h 107"/>
              <a:gd name="T26" fmla="*/ 9 w 107"/>
              <a:gd name="T27" fmla="*/ 23 h 107"/>
              <a:gd name="T28" fmla="*/ 23 w 107"/>
              <a:gd name="T29" fmla="*/ 9 h 107"/>
              <a:gd name="T30" fmla="*/ 43 w 107"/>
              <a:gd name="T31" fmla="*/ 1 h 107"/>
              <a:gd name="T32" fmla="*/ 54 w 107"/>
              <a:gd name="T33" fmla="*/ 28 h 107"/>
              <a:gd name="T34" fmla="*/ 63 w 107"/>
              <a:gd name="T35" fmla="*/ 30 h 107"/>
              <a:gd name="T36" fmla="*/ 72 w 107"/>
              <a:gd name="T37" fmla="*/ 36 h 107"/>
              <a:gd name="T38" fmla="*/ 77 w 107"/>
              <a:gd name="T39" fmla="*/ 44 h 107"/>
              <a:gd name="T40" fmla="*/ 78 w 107"/>
              <a:gd name="T41" fmla="*/ 54 h 107"/>
              <a:gd name="T42" fmla="*/ 77 w 107"/>
              <a:gd name="T43" fmla="*/ 63 h 107"/>
              <a:gd name="T44" fmla="*/ 72 w 107"/>
              <a:gd name="T45" fmla="*/ 72 h 107"/>
              <a:gd name="T46" fmla="*/ 63 w 107"/>
              <a:gd name="T47" fmla="*/ 77 h 107"/>
              <a:gd name="T48" fmla="*/ 54 w 107"/>
              <a:gd name="T49" fmla="*/ 78 h 107"/>
              <a:gd name="T50" fmla="*/ 44 w 107"/>
              <a:gd name="T51" fmla="*/ 77 h 107"/>
              <a:gd name="T52" fmla="*/ 36 w 107"/>
              <a:gd name="T53" fmla="*/ 72 h 107"/>
              <a:gd name="T54" fmla="*/ 31 w 107"/>
              <a:gd name="T55" fmla="*/ 63 h 107"/>
              <a:gd name="T56" fmla="*/ 28 w 107"/>
              <a:gd name="T57" fmla="*/ 54 h 107"/>
              <a:gd name="T58" fmla="*/ 31 w 107"/>
              <a:gd name="T59" fmla="*/ 44 h 107"/>
              <a:gd name="T60" fmla="*/ 36 w 107"/>
              <a:gd name="T61" fmla="*/ 36 h 107"/>
              <a:gd name="T62" fmla="*/ 44 w 107"/>
              <a:gd name="T63" fmla="*/ 30 h 107"/>
              <a:gd name="T64" fmla="*/ 54 w 107"/>
              <a:gd name="T65" fmla="*/ 28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7" h="107">
                <a:moveTo>
                  <a:pt x="54" y="0"/>
                </a:moveTo>
                <a:lnTo>
                  <a:pt x="64" y="1"/>
                </a:lnTo>
                <a:lnTo>
                  <a:pt x="75" y="4"/>
                </a:lnTo>
                <a:lnTo>
                  <a:pt x="84" y="9"/>
                </a:lnTo>
                <a:lnTo>
                  <a:pt x="91" y="16"/>
                </a:lnTo>
                <a:lnTo>
                  <a:pt x="98" y="23"/>
                </a:lnTo>
                <a:lnTo>
                  <a:pt x="103" y="32"/>
                </a:lnTo>
                <a:lnTo>
                  <a:pt x="105" y="42"/>
                </a:lnTo>
                <a:lnTo>
                  <a:pt x="107" y="54"/>
                </a:lnTo>
                <a:lnTo>
                  <a:pt x="105" y="64"/>
                </a:lnTo>
                <a:lnTo>
                  <a:pt x="103" y="75"/>
                </a:lnTo>
                <a:lnTo>
                  <a:pt x="98" y="84"/>
                </a:lnTo>
                <a:lnTo>
                  <a:pt x="91" y="91"/>
                </a:lnTo>
                <a:lnTo>
                  <a:pt x="84" y="98"/>
                </a:lnTo>
                <a:lnTo>
                  <a:pt x="75" y="103"/>
                </a:lnTo>
                <a:lnTo>
                  <a:pt x="64" y="105"/>
                </a:lnTo>
                <a:lnTo>
                  <a:pt x="54" y="107"/>
                </a:lnTo>
                <a:lnTo>
                  <a:pt x="43" y="105"/>
                </a:lnTo>
                <a:lnTo>
                  <a:pt x="34" y="103"/>
                </a:lnTo>
                <a:lnTo>
                  <a:pt x="23" y="98"/>
                </a:lnTo>
                <a:lnTo>
                  <a:pt x="16" y="91"/>
                </a:lnTo>
                <a:lnTo>
                  <a:pt x="9" y="84"/>
                </a:lnTo>
                <a:lnTo>
                  <a:pt x="4" y="75"/>
                </a:lnTo>
                <a:lnTo>
                  <a:pt x="2" y="64"/>
                </a:lnTo>
                <a:lnTo>
                  <a:pt x="0" y="54"/>
                </a:lnTo>
                <a:lnTo>
                  <a:pt x="2" y="42"/>
                </a:lnTo>
                <a:lnTo>
                  <a:pt x="4" y="32"/>
                </a:lnTo>
                <a:lnTo>
                  <a:pt x="9" y="23"/>
                </a:lnTo>
                <a:lnTo>
                  <a:pt x="16" y="16"/>
                </a:lnTo>
                <a:lnTo>
                  <a:pt x="23" y="9"/>
                </a:lnTo>
                <a:lnTo>
                  <a:pt x="34" y="4"/>
                </a:lnTo>
                <a:lnTo>
                  <a:pt x="43" y="1"/>
                </a:lnTo>
                <a:lnTo>
                  <a:pt x="54" y="0"/>
                </a:lnTo>
                <a:close/>
                <a:moveTo>
                  <a:pt x="54" y="28"/>
                </a:moveTo>
                <a:lnTo>
                  <a:pt x="59" y="28"/>
                </a:lnTo>
                <a:lnTo>
                  <a:pt x="63" y="30"/>
                </a:lnTo>
                <a:lnTo>
                  <a:pt x="68" y="32"/>
                </a:lnTo>
                <a:lnTo>
                  <a:pt x="72" y="36"/>
                </a:lnTo>
                <a:lnTo>
                  <a:pt x="75" y="40"/>
                </a:lnTo>
                <a:lnTo>
                  <a:pt x="77" y="44"/>
                </a:lnTo>
                <a:lnTo>
                  <a:pt x="78" y="49"/>
                </a:lnTo>
                <a:lnTo>
                  <a:pt x="78" y="54"/>
                </a:lnTo>
                <a:lnTo>
                  <a:pt x="78" y="59"/>
                </a:lnTo>
                <a:lnTo>
                  <a:pt x="77" y="63"/>
                </a:lnTo>
                <a:lnTo>
                  <a:pt x="75" y="68"/>
                </a:lnTo>
                <a:lnTo>
                  <a:pt x="72" y="72"/>
                </a:lnTo>
                <a:lnTo>
                  <a:pt x="68" y="75"/>
                </a:lnTo>
                <a:lnTo>
                  <a:pt x="63" y="77"/>
                </a:lnTo>
                <a:lnTo>
                  <a:pt x="59" y="78"/>
                </a:lnTo>
                <a:lnTo>
                  <a:pt x="54" y="78"/>
                </a:lnTo>
                <a:lnTo>
                  <a:pt x="49" y="78"/>
                </a:lnTo>
                <a:lnTo>
                  <a:pt x="44" y="77"/>
                </a:lnTo>
                <a:lnTo>
                  <a:pt x="40" y="75"/>
                </a:lnTo>
                <a:lnTo>
                  <a:pt x="36" y="72"/>
                </a:lnTo>
                <a:lnTo>
                  <a:pt x="32" y="68"/>
                </a:lnTo>
                <a:lnTo>
                  <a:pt x="31" y="63"/>
                </a:lnTo>
                <a:lnTo>
                  <a:pt x="28" y="59"/>
                </a:lnTo>
                <a:lnTo>
                  <a:pt x="28" y="54"/>
                </a:lnTo>
                <a:lnTo>
                  <a:pt x="28" y="49"/>
                </a:lnTo>
                <a:lnTo>
                  <a:pt x="31" y="44"/>
                </a:lnTo>
                <a:lnTo>
                  <a:pt x="32" y="40"/>
                </a:lnTo>
                <a:lnTo>
                  <a:pt x="36" y="36"/>
                </a:lnTo>
                <a:lnTo>
                  <a:pt x="40" y="32"/>
                </a:lnTo>
                <a:lnTo>
                  <a:pt x="44" y="30"/>
                </a:lnTo>
                <a:lnTo>
                  <a:pt x="49" y="28"/>
                </a:lnTo>
                <a:lnTo>
                  <a:pt x="54" y="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4" name="Freeform 314">
            <a:extLst>
              <a:ext uri="{FF2B5EF4-FFF2-40B4-BE49-F238E27FC236}">
                <a16:creationId xmlns:a16="http://schemas.microsoft.com/office/drawing/2014/main" id="{AAEAE1FF-42F2-4BDD-817E-A7D86519A3B1}"/>
              </a:ext>
            </a:extLst>
          </p:cNvPr>
          <p:cNvSpPr>
            <a:spLocks noEditPoints="1"/>
          </p:cNvSpPr>
          <p:nvPr/>
        </p:nvSpPr>
        <p:spPr bwMode="auto">
          <a:xfrm>
            <a:off x="9742775" y="5776761"/>
            <a:ext cx="51593" cy="49125"/>
          </a:xfrm>
          <a:custGeom>
            <a:avLst/>
            <a:gdLst>
              <a:gd name="T0" fmla="*/ 64 w 106"/>
              <a:gd name="T1" fmla="*/ 2 h 107"/>
              <a:gd name="T2" fmla="*/ 83 w 106"/>
              <a:gd name="T3" fmla="*/ 9 h 107"/>
              <a:gd name="T4" fmla="*/ 97 w 106"/>
              <a:gd name="T5" fmla="*/ 25 h 107"/>
              <a:gd name="T6" fmla="*/ 105 w 106"/>
              <a:gd name="T7" fmla="*/ 43 h 107"/>
              <a:gd name="T8" fmla="*/ 105 w 106"/>
              <a:gd name="T9" fmla="*/ 64 h 107"/>
              <a:gd name="T10" fmla="*/ 97 w 106"/>
              <a:gd name="T11" fmla="*/ 84 h 107"/>
              <a:gd name="T12" fmla="*/ 83 w 106"/>
              <a:gd name="T13" fmla="*/ 98 h 107"/>
              <a:gd name="T14" fmla="*/ 64 w 106"/>
              <a:gd name="T15" fmla="*/ 105 h 107"/>
              <a:gd name="T16" fmla="*/ 42 w 106"/>
              <a:gd name="T17" fmla="*/ 105 h 107"/>
              <a:gd name="T18" fmla="*/ 23 w 106"/>
              <a:gd name="T19" fmla="*/ 98 h 107"/>
              <a:gd name="T20" fmla="*/ 9 w 106"/>
              <a:gd name="T21" fmla="*/ 84 h 107"/>
              <a:gd name="T22" fmla="*/ 1 w 106"/>
              <a:gd name="T23" fmla="*/ 64 h 107"/>
              <a:gd name="T24" fmla="*/ 1 w 106"/>
              <a:gd name="T25" fmla="*/ 43 h 107"/>
              <a:gd name="T26" fmla="*/ 9 w 106"/>
              <a:gd name="T27" fmla="*/ 25 h 107"/>
              <a:gd name="T28" fmla="*/ 23 w 106"/>
              <a:gd name="T29" fmla="*/ 9 h 107"/>
              <a:gd name="T30" fmla="*/ 42 w 106"/>
              <a:gd name="T31" fmla="*/ 2 h 107"/>
              <a:gd name="T32" fmla="*/ 54 w 106"/>
              <a:gd name="T33" fmla="*/ 29 h 107"/>
              <a:gd name="T34" fmla="*/ 63 w 106"/>
              <a:gd name="T35" fmla="*/ 31 h 107"/>
              <a:gd name="T36" fmla="*/ 72 w 106"/>
              <a:gd name="T37" fmla="*/ 36 h 107"/>
              <a:gd name="T38" fmla="*/ 77 w 106"/>
              <a:gd name="T39" fmla="*/ 44 h 107"/>
              <a:gd name="T40" fmla="*/ 78 w 106"/>
              <a:gd name="T41" fmla="*/ 54 h 107"/>
              <a:gd name="T42" fmla="*/ 77 w 106"/>
              <a:gd name="T43" fmla="*/ 63 h 107"/>
              <a:gd name="T44" fmla="*/ 72 w 106"/>
              <a:gd name="T45" fmla="*/ 72 h 107"/>
              <a:gd name="T46" fmla="*/ 63 w 106"/>
              <a:gd name="T47" fmla="*/ 77 h 107"/>
              <a:gd name="T48" fmla="*/ 54 w 106"/>
              <a:gd name="T49" fmla="*/ 79 h 107"/>
              <a:gd name="T50" fmla="*/ 44 w 106"/>
              <a:gd name="T51" fmla="*/ 77 h 107"/>
              <a:gd name="T52" fmla="*/ 36 w 106"/>
              <a:gd name="T53" fmla="*/ 72 h 107"/>
              <a:gd name="T54" fmla="*/ 30 w 106"/>
              <a:gd name="T55" fmla="*/ 63 h 107"/>
              <a:gd name="T56" fmla="*/ 28 w 106"/>
              <a:gd name="T57" fmla="*/ 54 h 107"/>
              <a:gd name="T58" fmla="*/ 30 w 106"/>
              <a:gd name="T59" fmla="*/ 44 h 107"/>
              <a:gd name="T60" fmla="*/ 36 w 106"/>
              <a:gd name="T61" fmla="*/ 36 h 107"/>
              <a:gd name="T62" fmla="*/ 44 w 106"/>
              <a:gd name="T63" fmla="*/ 31 h 107"/>
              <a:gd name="T64" fmla="*/ 54 w 106"/>
              <a:gd name="T65" fmla="*/ 29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" h="107">
                <a:moveTo>
                  <a:pt x="54" y="0"/>
                </a:moveTo>
                <a:lnTo>
                  <a:pt x="64" y="2"/>
                </a:lnTo>
                <a:lnTo>
                  <a:pt x="74" y="6"/>
                </a:lnTo>
                <a:lnTo>
                  <a:pt x="83" y="9"/>
                </a:lnTo>
                <a:lnTo>
                  <a:pt x="91" y="17"/>
                </a:lnTo>
                <a:lnTo>
                  <a:pt x="97" y="25"/>
                </a:lnTo>
                <a:lnTo>
                  <a:pt x="103" y="34"/>
                </a:lnTo>
                <a:lnTo>
                  <a:pt x="105" y="43"/>
                </a:lnTo>
                <a:lnTo>
                  <a:pt x="106" y="54"/>
                </a:lnTo>
                <a:lnTo>
                  <a:pt x="105" y="64"/>
                </a:lnTo>
                <a:lnTo>
                  <a:pt x="103" y="75"/>
                </a:lnTo>
                <a:lnTo>
                  <a:pt x="97" y="84"/>
                </a:lnTo>
                <a:lnTo>
                  <a:pt x="91" y="91"/>
                </a:lnTo>
                <a:lnTo>
                  <a:pt x="83" y="98"/>
                </a:lnTo>
                <a:lnTo>
                  <a:pt x="74" y="103"/>
                </a:lnTo>
                <a:lnTo>
                  <a:pt x="64" y="105"/>
                </a:lnTo>
                <a:lnTo>
                  <a:pt x="54" y="107"/>
                </a:lnTo>
                <a:lnTo>
                  <a:pt x="42" y="105"/>
                </a:lnTo>
                <a:lnTo>
                  <a:pt x="32" y="103"/>
                </a:lnTo>
                <a:lnTo>
                  <a:pt x="23" y="98"/>
                </a:lnTo>
                <a:lnTo>
                  <a:pt x="15" y="91"/>
                </a:lnTo>
                <a:lnTo>
                  <a:pt x="9" y="84"/>
                </a:lnTo>
                <a:lnTo>
                  <a:pt x="4" y="75"/>
                </a:lnTo>
                <a:lnTo>
                  <a:pt x="1" y="64"/>
                </a:lnTo>
                <a:lnTo>
                  <a:pt x="0" y="54"/>
                </a:lnTo>
                <a:lnTo>
                  <a:pt x="1" y="43"/>
                </a:lnTo>
                <a:lnTo>
                  <a:pt x="4" y="34"/>
                </a:lnTo>
                <a:lnTo>
                  <a:pt x="9" y="25"/>
                </a:lnTo>
                <a:lnTo>
                  <a:pt x="15" y="17"/>
                </a:lnTo>
                <a:lnTo>
                  <a:pt x="23" y="9"/>
                </a:lnTo>
                <a:lnTo>
                  <a:pt x="32" y="6"/>
                </a:lnTo>
                <a:lnTo>
                  <a:pt x="42" y="2"/>
                </a:lnTo>
                <a:lnTo>
                  <a:pt x="54" y="0"/>
                </a:lnTo>
                <a:close/>
                <a:moveTo>
                  <a:pt x="54" y="29"/>
                </a:moveTo>
                <a:lnTo>
                  <a:pt x="59" y="30"/>
                </a:lnTo>
                <a:lnTo>
                  <a:pt x="63" y="31"/>
                </a:lnTo>
                <a:lnTo>
                  <a:pt x="68" y="34"/>
                </a:lnTo>
                <a:lnTo>
                  <a:pt x="72" y="36"/>
                </a:lnTo>
                <a:lnTo>
                  <a:pt x="74" y="40"/>
                </a:lnTo>
                <a:lnTo>
                  <a:pt x="77" y="44"/>
                </a:lnTo>
                <a:lnTo>
                  <a:pt x="78" y="49"/>
                </a:lnTo>
                <a:lnTo>
                  <a:pt x="78" y="54"/>
                </a:lnTo>
                <a:lnTo>
                  <a:pt x="78" y="59"/>
                </a:lnTo>
                <a:lnTo>
                  <a:pt x="77" y="63"/>
                </a:lnTo>
                <a:lnTo>
                  <a:pt x="74" y="68"/>
                </a:lnTo>
                <a:lnTo>
                  <a:pt x="72" y="72"/>
                </a:lnTo>
                <a:lnTo>
                  <a:pt x="68" y="75"/>
                </a:lnTo>
                <a:lnTo>
                  <a:pt x="63" y="77"/>
                </a:lnTo>
                <a:lnTo>
                  <a:pt x="59" y="79"/>
                </a:lnTo>
                <a:lnTo>
                  <a:pt x="54" y="79"/>
                </a:lnTo>
                <a:lnTo>
                  <a:pt x="49" y="79"/>
                </a:lnTo>
                <a:lnTo>
                  <a:pt x="44" y="77"/>
                </a:lnTo>
                <a:lnTo>
                  <a:pt x="40" y="75"/>
                </a:lnTo>
                <a:lnTo>
                  <a:pt x="36" y="72"/>
                </a:lnTo>
                <a:lnTo>
                  <a:pt x="32" y="68"/>
                </a:lnTo>
                <a:lnTo>
                  <a:pt x="30" y="63"/>
                </a:lnTo>
                <a:lnTo>
                  <a:pt x="28" y="59"/>
                </a:lnTo>
                <a:lnTo>
                  <a:pt x="28" y="54"/>
                </a:lnTo>
                <a:lnTo>
                  <a:pt x="28" y="49"/>
                </a:lnTo>
                <a:lnTo>
                  <a:pt x="30" y="44"/>
                </a:lnTo>
                <a:lnTo>
                  <a:pt x="32" y="40"/>
                </a:lnTo>
                <a:lnTo>
                  <a:pt x="36" y="36"/>
                </a:lnTo>
                <a:lnTo>
                  <a:pt x="40" y="34"/>
                </a:lnTo>
                <a:lnTo>
                  <a:pt x="44" y="31"/>
                </a:lnTo>
                <a:lnTo>
                  <a:pt x="49" y="30"/>
                </a:lnTo>
                <a:lnTo>
                  <a:pt x="54" y="29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5" name="Rectangle 315">
            <a:extLst>
              <a:ext uri="{FF2B5EF4-FFF2-40B4-BE49-F238E27FC236}">
                <a16:creationId xmlns:a16="http://schemas.microsoft.com/office/drawing/2014/main" id="{0801EC66-7839-47D9-83B2-606FE17EE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90862" y="5540687"/>
            <a:ext cx="12899" cy="11189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7" name="Freeform 309">
            <a:extLst>
              <a:ext uri="{FF2B5EF4-FFF2-40B4-BE49-F238E27FC236}">
                <a16:creationId xmlns:a16="http://schemas.microsoft.com/office/drawing/2014/main" id="{48F0B683-B95D-46FE-AD11-BB4335AEC072}"/>
              </a:ext>
            </a:extLst>
          </p:cNvPr>
          <p:cNvSpPr>
            <a:spLocks noEditPoints="1"/>
          </p:cNvSpPr>
          <p:nvPr/>
        </p:nvSpPr>
        <p:spPr bwMode="auto">
          <a:xfrm>
            <a:off x="9748507" y="5370112"/>
            <a:ext cx="50160" cy="47761"/>
          </a:xfrm>
          <a:custGeom>
            <a:avLst/>
            <a:gdLst>
              <a:gd name="T0" fmla="*/ 64 w 107"/>
              <a:gd name="T1" fmla="*/ 1 h 106"/>
              <a:gd name="T2" fmla="*/ 82 w 107"/>
              <a:gd name="T3" fmla="*/ 8 h 106"/>
              <a:gd name="T4" fmla="*/ 98 w 107"/>
              <a:gd name="T5" fmla="*/ 23 h 106"/>
              <a:gd name="T6" fmla="*/ 105 w 107"/>
              <a:gd name="T7" fmla="*/ 42 h 106"/>
              <a:gd name="T8" fmla="*/ 105 w 107"/>
              <a:gd name="T9" fmla="*/ 64 h 106"/>
              <a:gd name="T10" fmla="*/ 98 w 107"/>
              <a:gd name="T11" fmla="*/ 83 h 106"/>
              <a:gd name="T12" fmla="*/ 82 w 107"/>
              <a:gd name="T13" fmla="*/ 97 h 106"/>
              <a:gd name="T14" fmla="*/ 64 w 107"/>
              <a:gd name="T15" fmla="*/ 105 h 106"/>
              <a:gd name="T16" fmla="*/ 43 w 107"/>
              <a:gd name="T17" fmla="*/ 105 h 106"/>
              <a:gd name="T18" fmla="*/ 23 w 107"/>
              <a:gd name="T19" fmla="*/ 97 h 106"/>
              <a:gd name="T20" fmla="*/ 9 w 107"/>
              <a:gd name="T21" fmla="*/ 83 h 106"/>
              <a:gd name="T22" fmla="*/ 2 w 107"/>
              <a:gd name="T23" fmla="*/ 64 h 106"/>
              <a:gd name="T24" fmla="*/ 2 w 107"/>
              <a:gd name="T25" fmla="*/ 42 h 106"/>
              <a:gd name="T26" fmla="*/ 9 w 107"/>
              <a:gd name="T27" fmla="*/ 23 h 106"/>
              <a:gd name="T28" fmla="*/ 23 w 107"/>
              <a:gd name="T29" fmla="*/ 8 h 106"/>
              <a:gd name="T30" fmla="*/ 43 w 107"/>
              <a:gd name="T31" fmla="*/ 1 h 106"/>
              <a:gd name="T32" fmla="*/ 53 w 107"/>
              <a:gd name="T33" fmla="*/ 28 h 106"/>
              <a:gd name="T34" fmla="*/ 63 w 107"/>
              <a:gd name="T35" fmla="*/ 29 h 106"/>
              <a:gd name="T36" fmla="*/ 71 w 107"/>
              <a:gd name="T37" fmla="*/ 35 h 106"/>
              <a:gd name="T38" fmla="*/ 76 w 107"/>
              <a:gd name="T39" fmla="*/ 43 h 106"/>
              <a:gd name="T40" fmla="*/ 78 w 107"/>
              <a:gd name="T41" fmla="*/ 52 h 106"/>
              <a:gd name="T42" fmla="*/ 76 w 107"/>
              <a:gd name="T43" fmla="*/ 62 h 106"/>
              <a:gd name="T44" fmla="*/ 71 w 107"/>
              <a:gd name="T45" fmla="*/ 70 h 106"/>
              <a:gd name="T46" fmla="*/ 63 w 107"/>
              <a:gd name="T47" fmla="*/ 76 h 106"/>
              <a:gd name="T48" fmla="*/ 53 w 107"/>
              <a:gd name="T49" fmla="*/ 78 h 106"/>
              <a:gd name="T50" fmla="*/ 44 w 107"/>
              <a:gd name="T51" fmla="*/ 76 h 106"/>
              <a:gd name="T52" fmla="*/ 35 w 107"/>
              <a:gd name="T53" fmla="*/ 70 h 106"/>
              <a:gd name="T54" fmla="*/ 30 w 107"/>
              <a:gd name="T55" fmla="*/ 62 h 106"/>
              <a:gd name="T56" fmla="*/ 27 w 107"/>
              <a:gd name="T57" fmla="*/ 52 h 106"/>
              <a:gd name="T58" fmla="*/ 30 w 107"/>
              <a:gd name="T59" fmla="*/ 43 h 106"/>
              <a:gd name="T60" fmla="*/ 35 w 107"/>
              <a:gd name="T61" fmla="*/ 35 h 106"/>
              <a:gd name="T62" fmla="*/ 44 w 107"/>
              <a:gd name="T63" fmla="*/ 29 h 106"/>
              <a:gd name="T64" fmla="*/ 53 w 107"/>
              <a:gd name="T65" fmla="*/ 28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7" h="106">
                <a:moveTo>
                  <a:pt x="53" y="0"/>
                </a:moveTo>
                <a:lnTo>
                  <a:pt x="64" y="1"/>
                </a:lnTo>
                <a:lnTo>
                  <a:pt x="73" y="3"/>
                </a:lnTo>
                <a:lnTo>
                  <a:pt x="82" y="8"/>
                </a:lnTo>
                <a:lnTo>
                  <a:pt x="90" y="15"/>
                </a:lnTo>
                <a:lnTo>
                  <a:pt x="98" y="23"/>
                </a:lnTo>
                <a:lnTo>
                  <a:pt x="102" y="32"/>
                </a:lnTo>
                <a:lnTo>
                  <a:pt x="105" y="42"/>
                </a:lnTo>
                <a:lnTo>
                  <a:pt x="107" y="52"/>
                </a:lnTo>
                <a:lnTo>
                  <a:pt x="105" y="64"/>
                </a:lnTo>
                <a:lnTo>
                  <a:pt x="102" y="74"/>
                </a:lnTo>
                <a:lnTo>
                  <a:pt x="98" y="83"/>
                </a:lnTo>
                <a:lnTo>
                  <a:pt x="90" y="91"/>
                </a:lnTo>
                <a:lnTo>
                  <a:pt x="82" y="97"/>
                </a:lnTo>
                <a:lnTo>
                  <a:pt x="73" y="102"/>
                </a:lnTo>
                <a:lnTo>
                  <a:pt x="64" y="105"/>
                </a:lnTo>
                <a:lnTo>
                  <a:pt x="53" y="106"/>
                </a:lnTo>
                <a:lnTo>
                  <a:pt x="43" y="105"/>
                </a:lnTo>
                <a:lnTo>
                  <a:pt x="32" y="102"/>
                </a:lnTo>
                <a:lnTo>
                  <a:pt x="23" y="97"/>
                </a:lnTo>
                <a:lnTo>
                  <a:pt x="16" y="91"/>
                </a:lnTo>
                <a:lnTo>
                  <a:pt x="9" y="83"/>
                </a:lnTo>
                <a:lnTo>
                  <a:pt x="4" y="74"/>
                </a:lnTo>
                <a:lnTo>
                  <a:pt x="2" y="64"/>
                </a:lnTo>
                <a:lnTo>
                  <a:pt x="0" y="52"/>
                </a:lnTo>
                <a:lnTo>
                  <a:pt x="2" y="42"/>
                </a:lnTo>
                <a:lnTo>
                  <a:pt x="4" y="32"/>
                </a:lnTo>
                <a:lnTo>
                  <a:pt x="9" y="23"/>
                </a:lnTo>
                <a:lnTo>
                  <a:pt x="16" y="15"/>
                </a:lnTo>
                <a:lnTo>
                  <a:pt x="23" y="8"/>
                </a:lnTo>
                <a:lnTo>
                  <a:pt x="32" y="3"/>
                </a:lnTo>
                <a:lnTo>
                  <a:pt x="43" y="1"/>
                </a:lnTo>
                <a:lnTo>
                  <a:pt x="53" y="0"/>
                </a:lnTo>
                <a:close/>
                <a:moveTo>
                  <a:pt x="53" y="28"/>
                </a:moveTo>
                <a:lnTo>
                  <a:pt x="58" y="28"/>
                </a:lnTo>
                <a:lnTo>
                  <a:pt x="63" y="29"/>
                </a:lnTo>
                <a:lnTo>
                  <a:pt x="67" y="32"/>
                </a:lnTo>
                <a:lnTo>
                  <a:pt x="71" y="35"/>
                </a:lnTo>
                <a:lnTo>
                  <a:pt x="73" y="38"/>
                </a:lnTo>
                <a:lnTo>
                  <a:pt x="76" y="43"/>
                </a:lnTo>
                <a:lnTo>
                  <a:pt x="77" y="47"/>
                </a:lnTo>
                <a:lnTo>
                  <a:pt x="78" y="52"/>
                </a:lnTo>
                <a:lnTo>
                  <a:pt x="77" y="57"/>
                </a:lnTo>
                <a:lnTo>
                  <a:pt x="76" y="62"/>
                </a:lnTo>
                <a:lnTo>
                  <a:pt x="73" y="66"/>
                </a:lnTo>
                <a:lnTo>
                  <a:pt x="71" y="70"/>
                </a:lnTo>
                <a:lnTo>
                  <a:pt x="67" y="74"/>
                </a:lnTo>
                <a:lnTo>
                  <a:pt x="63" y="76"/>
                </a:lnTo>
                <a:lnTo>
                  <a:pt x="58" y="78"/>
                </a:lnTo>
                <a:lnTo>
                  <a:pt x="53" y="78"/>
                </a:lnTo>
                <a:lnTo>
                  <a:pt x="48" y="78"/>
                </a:lnTo>
                <a:lnTo>
                  <a:pt x="44" y="76"/>
                </a:lnTo>
                <a:lnTo>
                  <a:pt x="39" y="74"/>
                </a:lnTo>
                <a:lnTo>
                  <a:pt x="35" y="70"/>
                </a:lnTo>
                <a:lnTo>
                  <a:pt x="32" y="66"/>
                </a:lnTo>
                <a:lnTo>
                  <a:pt x="30" y="62"/>
                </a:lnTo>
                <a:lnTo>
                  <a:pt x="28" y="57"/>
                </a:lnTo>
                <a:lnTo>
                  <a:pt x="27" y="52"/>
                </a:lnTo>
                <a:lnTo>
                  <a:pt x="28" y="47"/>
                </a:lnTo>
                <a:lnTo>
                  <a:pt x="30" y="43"/>
                </a:lnTo>
                <a:lnTo>
                  <a:pt x="32" y="38"/>
                </a:lnTo>
                <a:lnTo>
                  <a:pt x="35" y="35"/>
                </a:lnTo>
                <a:lnTo>
                  <a:pt x="39" y="32"/>
                </a:lnTo>
                <a:lnTo>
                  <a:pt x="44" y="29"/>
                </a:lnTo>
                <a:lnTo>
                  <a:pt x="48" y="28"/>
                </a:lnTo>
                <a:lnTo>
                  <a:pt x="53" y="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8" name="Freeform 312">
            <a:extLst>
              <a:ext uri="{FF2B5EF4-FFF2-40B4-BE49-F238E27FC236}">
                <a16:creationId xmlns:a16="http://schemas.microsoft.com/office/drawing/2014/main" id="{6CF6BB2D-1144-48F8-BFED-5BC3B5CD9A8F}"/>
              </a:ext>
            </a:extLst>
          </p:cNvPr>
          <p:cNvSpPr>
            <a:spLocks noEditPoints="1"/>
          </p:cNvSpPr>
          <p:nvPr/>
        </p:nvSpPr>
        <p:spPr bwMode="auto">
          <a:xfrm>
            <a:off x="9563632" y="5469728"/>
            <a:ext cx="50160" cy="49125"/>
          </a:xfrm>
          <a:custGeom>
            <a:avLst/>
            <a:gdLst>
              <a:gd name="T0" fmla="*/ 63 w 105"/>
              <a:gd name="T1" fmla="*/ 2 h 107"/>
              <a:gd name="T2" fmla="*/ 82 w 105"/>
              <a:gd name="T3" fmla="*/ 9 h 107"/>
              <a:gd name="T4" fmla="*/ 96 w 105"/>
              <a:gd name="T5" fmla="*/ 25 h 107"/>
              <a:gd name="T6" fmla="*/ 105 w 105"/>
              <a:gd name="T7" fmla="*/ 43 h 107"/>
              <a:gd name="T8" fmla="*/ 105 w 105"/>
              <a:gd name="T9" fmla="*/ 64 h 107"/>
              <a:gd name="T10" fmla="*/ 96 w 105"/>
              <a:gd name="T11" fmla="*/ 84 h 107"/>
              <a:gd name="T12" fmla="*/ 82 w 105"/>
              <a:gd name="T13" fmla="*/ 98 h 107"/>
              <a:gd name="T14" fmla="*/ 63 w 105"/>
              <a:gd name="T15" fmla="*/ 105 h 107"/>
              <a:gd name="T16" fmla="*/ 43 w 105"/>
              <a:gd name="T17" fmla="*/ 105 h 107"/>
              <a:gd name="T18" fmla="*/ 23 w 105"/>
              <a:gd name="T19" fmla="*/ 98 h 107"/>
              <a:gd name="T20" fmla="*/ 9 w 105"/>
              <a:gd name="T21" fmla="*/ 84 h 107"/>
              <a:gd name="T22" fmla="*/ 0 w 105"/>
              <a:gd name="T23" fmla="*/ 64 h 107"/>
              <a:gd name="T24" fmla="*/ 0 w 105"/>
              <a:gd name="T25" fmla="*/ 43 h 107"/>
              <a:gd name="T26" fmla="*/ 9 w 105"/>
              <a:gd name="T27" fmla="*/ 25 h 107"/>
              <a:gd name="T28" fmla="*/ 23 w 105"/>
              <a:gd name="T29" fmla="*/ 9 h 107"/>
              <a:gd name="T30" fmla="*/ 43 w 105"/>
              <a:gd name="T31" fmla="*/ 2 h 107"/>
              <a:gd name="T32" fmla="*/ 53 w 105"/>
              <a:gd name="T33" fmla="*/ 28 h 107"/>
              <a:gd name="T34" fmla="*/ 63 w 105"/>
              <a:gd name="T35" fmla="*/ 31 h 107"/>
              <a:gd name="T36" fmla="*/ 71 w 105"/>
              <a:gd name="T37" fmla="*/ 36 h 107"/>
              <a:gd name="T38" fmla="*/ 76 w 105"/>
              <a:gd name="T39" fmla="*/ 44 h 107"/>
              <a:gd name="T40" fmla="*/ 78 w 105"/>
              <a:gd name="T41" fmla="*/ 54 h 107"/>
              <a:gd name="T42" fmla="*/ 76 w 105"/>
              <a:gd name="T43" fmla="*/ 63 h 107"/>
              <a:gd name="T44" fmla="*/ 71 w 105"/>
              <a:gd name="T45" fmla="*/ 72 h 107"/>
              <a:gd name="T46" fmla="*/ 63 w 105"/>
              <a:gd name="T47" fmla="*/ 77 h 107"/>
              <a:gd name="T48" fmla="*/ 53 w 105"/>
              <a:gd name="T49" fmla="*/ 78 h 107"/>
              <a:gd name="T50" fmla="*/ 43 w 105"/>
              <a:gd name="T51" fmla="*/ 77 h 107"/>
              <a:gd name="T52" fmla="*/ 35 w 105"/>
              <a:gd name="T53" fmla="*/ 72 h 107"/>
              <a:gd name="T54" fmla="*/ 30 w 105"/>
              <a:gd name="T55" fmla="*/ 63 h 107"/>
              <a:gd name="T56" fmla="*/ 27 w 105"/>
              <a:gd name="T57" fmla="*/ 54 h 107"/>
              <a:gd name="T58" fmla="*/ 30 w 105"/>
              <a:gd name="T59" fmla="*/ 44 h 107"/>
              <a:gd name="T60" fmla="*/ 35 w 105"/>
              <a:gd name="T61" fmla="*/ 36 h 107"/>
              <a:gd name="T62" fmla="*/ 43 w 105"/>
              <a:gd name="T63" fmla="*/ 31 h 107"/>
              <a:gd name="T64" fmla="*/ 53 w 105"/>
              <a:gd name="T65" fmla="*/ 28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5" h="107">
                <a:moveTo>
                  <a:pt x="53" y="0"/>
                </a:moveTo>
                <a:lnTo>
                  <a:pt x="63" y="2"/>
                </a:lnTo>
                <a:lnTo>
                  <a:pt x="73" y="5"/>
                </a:lnTo>
                <a:lnTo>
                  <a:pt x="82" y="9"/>
                </a:lnTo>
                <a:lnTo>
                  <a:pt x="90" y="16"/>
                </a:lnTo>
                <a:lnTo>
                  <a:pt x="96" y="25"/>
                </a:lnTo>
                <a:lnTo>
                  <a:pt x="102" y="34"/>
                </a:lnTo>
                <a:lnTo>
                  <a:pt x="105" y="43"/>
                </a:lnTo>
                <a:lnTo>
                  <a:pt x="105" y="54"/>
                </a:lnTo>
                <a:lnTo>
                  <a:pt x="105" y="64"/>
                </a:lnTo>
                <a:lnTo>
                  <a:pt x="102" y="75"/>
                </a:lnTo>
                <a:lnTo>
                  <a:pt x="96" y="84"/>
                </a:lnTo>
                <a:lnTo>
                  <a:pt x="90" y="91"/>
                </a:lnTo>
                <a:lnTo>
                  <a:pt x="82" y="98"/>
                </a:lnTo>
                <a:lnTo>
                  <a:pt x="73" y="103"/>
                </a:lnTo>
                <a:lnTo>
                  <a:pt x="63" y="105"/>
                </a:lnTo>
                <a:lnTo>
                  <a:pt x="53" y="107"/>
                </a:lnTo>
                <a:lnTo>
                  <a:pt x="43" y="105"/>
                </a:lnTo>
                <a:lnTo>
                  <a:pt x="32" y="103"/>
                </a:lnTo>
                <a:lnTo>
                  <a:pt x="23" y="98"/>
                </a:lnTo>
                <a:lnTo>
                  <a:pt x="16" y="91"/>
                </a:lnTo>
                <a:lnTo>
                  <a:pt x="9" y="84"/>
                </a:lnTo>
                <a:lnTo>
                  <a:pt x="4" y="75"/>
                </a:lnTo>
                <a:lnTo>
                  <a:pt x="0" y="64"/>
                </a:lnTo>
                <a:lnTo>
                  <a:pt x="0" y="54"/>
                </a:lnTo>
                <a:lnTo>
                  <a:pt x="0" y="43"/>
                </a:lnTo>
                <a:lnTo>
                  <a:pt x="4" y="34"/>
                </a:lnTo>
                <a:lnTo>
                  <a:pt x="9" y="25"/>
                </a:lnTo>
                <a:lnTo>
                  <a:pt x="16" y="16"/>
                </a:lnTo>
                <a:lnTo>
                  <a:pt x="23" y="9"/>
                </a:lnTo>
                <a:lnTo>
                  <a:pt x="32" y="5"/>
                </a:lnTo>
                <a:lnTo>
                  <a:pt x="43" y="2"/>
                </a:lnTo>
                <a:lnTo>
                  <a:pt x="53" y="0"/>
                </a:lnTo>
                <a:close/>
                <a:moveTo>
                  <a:pt x="53" y="28"/>
                </a:moveTo>
                <a:lnTo>
                  <a:pt x="58" y="28"/>
                </a:lnTo>
                <a:lnTo>
                  <a:pt x="63" y="31"/>
                </a:lnTo>
                <a:lnTo>
                  <a:pt x="67" y="32"/>
                </a:lnTo>
                <a:lnTo>
                  <a:pt x="71" y="36"/>
                </a:lnTo>
                <a:lnTo>
                  <a:pt x="73" y="40"/>
                </a:lnTo>
                <a:lnTo>
                  <a:pt x="76" y="44"/>
                </a:lnTo>
                <a:lnTo>
                  <a:pt x="77" y="49"/>
                </a:lnTo>
                <a:lnTo>
                  <a:pt x="78" y="54"/>
                </a:lnTo>
                <a:lnTo>
                  <a:pt x="77" y="59"/>
                </a:lnTo>
                <a:lnTo>
                  <a:pt x="76" y="63"/>
                </a:lnTo>
                <a:lnTo>
                  <a:pt x="73" y="68"/>
                </a:lnTo>
                <a:lnTo>
                  <a:pt x="71" y="72"/>
                </a:lnTo>
                <a:lnTo>
                  <a:pt x="67" y="75"/>
                </a:lnTo>
                <a:lnTo>
                  <a:pt x="63" y="77"/>
                </a:lnTo>
                <a:lnTo>
                  <a:pt x="58" y="78"/>
                </a:lnTo>
                <a:lnTo>
                  <a:pt x="53" y="78"/>
                </a:lnTo>
                <a:lnTo>
                  <a:pt x="48" y="78"/>
                </a:lnTo>
                <a:lnTo>
                  <a:pt x="43" y="77"/>
                </a:lnTo>
                <a:lnTo>
                  <a:pt x="39" y="75"/>
                </a:lnTo>
                <a:lnTo>
                  <a:pt x="35" y="72"/>
                </a:lnTo>
                <a:lnTo>
                  <a:pt x="32" y="68"/>
                </a:lnTo>
                <a:lnTo>
                  <a:pt x="30" y="63"/>
                </a:lnTo>
                <a:lnTo>
                  <a:pt x="29" y="59"/>
                </a:lnTo>
                <a:lnTo>
                  <a:pt x="27" y="54"/>
                </a:lnTo>
                <a:lnTo>
                  <a:pt x="29" y="49"/>
                </a:lnTo>
                <a:lnTo>
                  <a:pt x="30" y="44"/>
                </a:lnTo>
                <a:lnTo>
                  <a:pt x="32" y="40"/>
                </a:lnTo>
                <a:lnTo>
                  <a:pt x="35" y="36"/>
                </a:lnTo>
                <a:lnTo>
                  <a:pt x="39" y="32"/>
                </a:lnTo>
                <a:lnTo>
                  <a:pt x="43" y="31"/>
                </a:lnTo>
                <a:lnTo>
                  <a:pt x="48" y="28"/>
                </a:lnTo>
                <a:lnTo>
                  <a:pt x="53" y="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5" name="Freeform 316">
            <a:extLst>
              <a:ext uri="{FF2B5EF4-FFF2-40B4-BE49-F238E27FC236}">
                <a16:creationId xmlns:a16="http://schemas.microsoft.com/office/drawing/2014/main" id="{4ED76F80-741E-4A43-ABD5-C185ABE2EF8B}"/>
              </a:ext>
            </a:extLst>
          </p:cNvPr>
          <p:cNvSpPr>
            <a:spLocks/>
          </p:cNvSpPr>
          <p:nvPr/>
        </p:nvSpPr>
        <p:spPr bwMode="auto">
          <a:xfrm>
            <a:off x="9632423" y="5406956"/>
            <a:ext cx="97453" cy="73688"/>
          </a:xfrm>
          <a:custGeom>
            <a:avLst/>
            <a:gdLst>
              <a:gd name="T0" fmla="*/ 0 w 206"/>
              <a:gd name="T1" fmla="*/ 142 h 162"/>
              <a:gd name="T2" fmla="*/ 191 w 206"/>
              <a:gd name="T3" fmla="*/ 0 h 162"/>
              <a:gd name="T4" fmla="*/ 206 w 206"/>
              <a:gd name="T5" fmla="*/ 20 h 162"/>
              <a:gd name="T6" fmla="*/ 15 w 206"/>
              <a:gd name="T7" fmla="*/ 162 h 162"/>
              <a:gd name="T8" fmla="*/ 0 w 206"/>
              <a:gd name="T9" fmla="*/ 14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" h="162">
                <a:moveTo>
                  <a:pt x="0" y="142"/>
                </a:moveTo>
                <a:lnTo>
                  <a:pt x="191" y="0"/>
                </a:lnTo>
                <a:lnTo>
                  <a:pt x="206" y="20"/>
                </a:lnTo>
                <a:lnTo>
                  <a:pt x="15" y="162"/>
                </a:lnTo>
                <a:lnTo>
                  <a:pt x="0" y="14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4" name="Freeform 317">
            <a:extLst>
              <a:ext uri="{FF2B5EF4-FFF2-40B4-BE49-F238E27FC236}">
                <a16:creationId xmlns:a16="http://schemas.microsoft.com/office/drawing/2014/main" id="{4FDDC1C8-A5C4-4574-A103-2F9345845D96}"/>
              </a:ext>
            </a:extLst>
          </p:cNvPr>
          <p:cNvSpPr>
            <a:spLocks/>
          </p:cNvSpPr>
          <p:nvPr/>
        </p:nvSpPr>
        <p:spPr bwMode="auto">
          <a:xfrm>
            <a:off x="9811565" y="5409686"/>
            <a:ext cx="101753" cy="72324"/>
          </a:xfrm>
          <a:custGeom>
            <a:avLst/>
            <a:gdLst>
              <a:gd name="T0" fmla="*/ 196 w 211"/>
              <a:gd name="T1" fmla="*/ 160 h 160"/>
              <a:gd name="T2" fmla="*/ 0 w 211"/>
              <a:gd name="T3" fmla="*/ 22 h 160"/>
              <a:gd name="T4" fmla="*/ 15 w 211"/>
              <a:gd name="T5" fmla="*/ 0 h 160"/>
              <a:gd name="T6" fmla="*/ 211 w 211"/>
              <a:gd name="T7" fmla="*/ 138 h 160"/>
              <a:gd name="T8" fmla="*/ 196 w 211"/>
              <a:gd name="T9" fmla="*/ 16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1" h="160">
                <a:moveTo>
                  <a:pt x="196" y="160"/>
                </a:moveTo>
                <a:lnTo>
                  <a:pt x="0" y="22"/>
                </a:lnTo>
                <a:lnTo>
                  <a:pt x="15" y="0"/>
                </a:lnTo>
                <a:lnTo>
                  <a:pt x="211" y="138"/>
                </a:lnTo>
                <a:lnTo>
                  <a:pt x="196" y="16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7" name="Freeform 318">
            <a:extLst>
              <a:ext uri="{FF2B5EF4-FFF2-40B4-BE49-F238E27FC236}">
                <a16:creationId xmlns:a16="http://schemas.microsoft.com/office/drawing/2014/main" id="{6983AF4E-AF90-46BE-9F10-A1B2F0382DCA}"/>
              </a:ext>
            </a:extLst>
          </p:cNvPr>
          <p:cNvSpPr>
            <a:spLocks/>
          </p:cNvSpPr>
          <p:nvPr/>
        </p:nvSpPr>
        <p:spPr bwMode="auto">
          <a:xfrm>
            <a:off x="9628124" y="5713989"/>
            <a:ext cx="100320" cy="66865"/>
          </a:xfrm>
          <a:custGeom>
            <a:avLst/>
            <a:gdLst>
              <a:gd name="T0" fmla="*/ 15 w 209"/>
              <a:gd name="T1" fmla="*/ 0 h 147"/>
              <a:gd name="T2" fmla="*/ 209 w 209"/>
              <a:gd name="T3" fmla="*/ 125 h 147"/>
              <a:gd name="T4" fmla="*/ 195 w 209"/>
              <a:gd name="T5" fmla="*/ 147 h 147"/>
              <a:gd name="T6" fmla="*/ 0 w 209"/>
              <a:gd name="T7" fmla="*/ 21 h 147"/>
              <a:gd name="T8" fmla="*/ 15 w 209"/>
              <a:gd name="T9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147">
                <a:moveTo>
                  <a:pt x="15" y="0"/>
                </a:moveTo>
                <a:lnTo>
                  <a:pt x="209" y="125"/>
                </a:lnTo>
                <a:lnTo>
                  <a:pt x="195" y="147"/>
                </a:lnTo>
                <a:lnTo>
                  <a:pt x="0" y="21"/>
                </a:lnTo>
                <a:lnTo>
                  <a:pt x="15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0" name="Freeform 319">
            <a:extLst>
              <a:ext uri="{FF2B5EF4-FFF2-40B4-BE49-F238E27FC236}">
                <a16:creationId xmlns:a16="http://schemas.microsoft.com/office/drawing/2014/main" id="{D5A63C4C-3C23-4C55-A733-23872D8D518F}"/>
              </a:ext>
            </a:extLst>
          </p:cNvPr>
          <p:cNvSpPr>
            <a:spLocks/>
          </p:cNvSpPr>
          <p:nvPr/>
        </p:nvSpPr>
        <p:spPr bwMode="auto">
          <a:xfrm>
            <a:off x="9808699" y="5716719"/>
            <a:ext cx="96021" cy="65500"/>
          </a:xfrm>
          <a:custGeom>
            <a:avLst/>
            <a:gdLst>
              <a:gd name="T0" fmla="*/ 0 w 201"/>
              <a:gd name="T1" fmla="*/ 125 h 145"/>
              <a:gd name="T2" fmla="*/ 187 w 201"/>
              <a:gd name="T3" fmla="*/ 0 h 145"/>
              <a:gd name="T4" fmla="*/ 201 w 201"/>
              <a:gd name="T5" fmla="*/ 21 h 145"/>
              <a:gd name="T6" fmla="*/ 14 w 201"/>
              <a:gd name="T7" fmla="*/ 145 h 145"/>
              <a:gd name="T8" fmla="*/ 0 w 201"/>
              <a:gd name="T9" fmla="*/ 125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1" h="145">
                <a:moveTo>
                  <a:pt x="0" y="125"/>
                </a:moveTo>
                <a:lnTo>
                  <a:pt x="187" y="0"/>
                </a:lnTo>
                <a:lnTo>
                  <a:pt x="201" y="21"/>
                </a:lnTo>
                <a:lnTo>
                  <a:pt x="14" y="145"/>
                </a:lnTo>
                <a:lnTo>
                  <a:pt x="0" y="12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1" name="Rectangle 320">
            <a:extLst>
              <a:ext uri="{FF2B5EF4-FFF2-40B4-BE49-F238E27FC236}">
                <a16:creationId xmlns:a16="http://schemas.microsoft.com/office/drawing/2014/main" id="{B47836E4-CDA5-4D83-B927-496071F38D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6248" y="5550238"/>
            <a:ext cx="12899" cy="9552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3" name="Freeform 307">
            <a:extLst>
              <a:ext uri="{FF2B5EF4-FFF2-40B4-BE49-F238E27FC236}">
                <a16:creationId xmlns:a16="http://schemas.microsoft.com/office/drawing/2014/main" id="{02B25F80-29AA-40E3-A2DC-BA227B52EF4A}"/>
              </a:ext>
            </a:extLst>
          </p:cNvPr>
          <p:cNvSpPr>
            <a:spLocks/>
          </p:cNvSpPr>
          <p:nvPr/>
        </p:nvSpPr>
        <p:spPr bwMode="auto">
          <a:xfrm>
            <a:off x="9605193" y="5501113"/>
            <a:ext cx="45860" cy="32750"/>
          </a:xfrm>
          <a:custGeom>
            <a:avLst/>
            <a:gdLst>
              <a:gd name="T0" fmla="*/ 14 w 96"/>
              <a:gd name="T1" fmla="*/ 0 h 72"/>
              <a:gd name="T2" fmla="*/ 96 w 96"/>
              <a:gd name="T3" fmla="*/ 50 h 72"/>
              <a:gd name="T4" fmla="*/ 82 w 96"/>
              <a:gd name="T5" fmla="*/ 72 h 72"/>
              <a:gd name="T6" fmla="*/ 0 w 96"/>
              <a:gd name="T7" fmla="*/ 23 h 72"/>
              <a:gd name="T8" fmla="*/ 14 w 96"/>
              <a:gd name="T9" fmla="*/ 0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6" h="72">
                <a:moveTo>
                  <a:pt x="14" y="0"/>
                </a:moveTo>
                <a:lnTo>
                  <a:pt x="96" y="50"/>
                </a:lnTo>
                <a:lnTo>
                  <a:pt x="82" y="72"/>
                </a:lnTo>
                <a:lnTo>
                  <a:pt x="0" y="23"/>
                </a:lnTo>
                <a:lnTo>
                  <a:pt x="14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4" name="Freeform 308">
            <a:extLst>
              <a:ext uri="{FF2B5EF4-FFF2-40B4-BE49-F238E27FC236}">
                <a16:creationId xmlns:a16="http://schemas.microsoft.com/office/drawing/2014/main" id="{16CCA231-DA57-4559-A4AC-104B329A23D7}"/>
              </a:ext>
            </a:extLst>
          </p:cNvPr>
          <p:cNvSpPr>
            <a:spLocks/>
          </p:cNvSpPr>
          <p:nvPr/>
        </p:nvSpPr>
        <p:spPr bwMode="auto">
          <a:xfrm>
            <a:off x="9888955" y="5506571"/>
            <a:ext cx="45860" cy="32750"/>
          </a:xfrm>
          <a:custGeom>
            <a:avLst/>
            <a:gdLst>
              <a:gd name="T0" fmla="*/ 0 w 97"/>
              <a:gd name="T1" fmla="*/ 50 h 71"/>
              <a:gd name="T2" fmla="*/ 85 w 97"/>
              <a:gd name="T3" fmla="*/ 0 h 71"/>
              <a:gd name="T4" fmla="*/ 97 w 97"/>
              <a:gd name="T5" fmla="*/ 21 h 71"/>
              <a:gd name="T6" fmla="*/ 13 w 97"/>
              <a:gd name="T7" fmla="*/ 71 h 71"/>
              <a:gd name="T8" fmla="*/ 0 w 97"/>
              <a:gd name="T9" fmla="*/ 50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7" h="71">
                <a:moveTo>
                  <a:pt x="0" y="50"/>
                </a:moveTo>
                <a:lnTo>
                  <a:pt x="85" y="0"/>
                </a:lnTo>
                <a:lnTo>
                  <a:pt x="97" y="21"/>
                </a:lnTo>
                <a:lnTo>
                  <a:pt x="13" y="71"/>
                </a:lnTo>
                <a:lnTo>
                  <a:pt x="0" y="5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5" name="Freeform 310">
            <a:extLst>
              <a:ext uri="{FF2B5EF4-FFF2-40B4-BE49-F238E27FC236}">
                <a16:creationId xmlns:a16="http://schemas.microsoft.com/office/drawing/2014/main" id="{A09BAB04-F127-4013-87F3-6064E91DF6AD}"/>
              </a:ext>
            </a:extLst>
          </p:cNvPr>
          <p:cNvSpPr>
            <a:spLocks noEditPoints="1"/>
          </p:cNvSpPr>
          <p:nvPr/>
        </p:nvSpPr>
        <p:spPr bwMode="auto">
          <a:xfrm>
            <a:off x="9924783" y="5477915"/>
            <a:ext cx="51593" cy="47761"/>
          </a:xfrm>
          <a:custGeom>
            <a:avLst/>
            <a:gdLst>
              <a:gd name="T0" fmla="*/ 64 w 106"/>
              <a:gd name="T1" fmla="*/ 1 h 106"/>
              <a:gd name="T2" fmla="*/ 83 w 106"/>
              <a:gd name="T3" fmla="*/ 10 h 106"/>
              <a:gd name="T4" fmla="*/ 97 w 106"/>
              <a:gd name="T5" fmla="*/ 24 h 106"/>
              <a:gd name="T6" fmla="*/ 105 w 106"/>
              <a:gd name="T7" fmla="*/ 43 h 106"/>
              <a:gd name="T8" fmla="*/ 105 w 106"/>
              <a:gd name="T9" fmla="*/ 64 h 106"/>
              <a:gd name="T10" fmla="*/ 97 w 106"/>
              <a:gd name="T11" fmla="*/ 83 h 106"/>
              <a:gd name="T12" fmla="*/ 83 w 106"/>
              <a:gd name="T13" fmla="*/ 97 h 106"/>
              <a:gd name="T14" fmla="*/ 64 w 106"/>
              <a:gd name="T15" fmla="*/ 105 h 106"/>
              <a:gd name="T16" fmla="*/ 42 w 106"/>
              <a:gd name="T17" fmla="*/ 105 h 106"/>
              <a:gd name="T18" fmla="*/ 23 w 106"/>
              <a:gd name="T19" fmla="*/ 97 h 106"/>
              <a:gd name="T20" fmla="*/ 9 w 106"/>
              <a:gd name="T21" fmla="*/ 83 h 106"/>
              <a:gd name="T22" fmla="*/ 1 w 106"/>
              <a:gd name="T23" fmla="*/ 64 h 106"/>
              <a:gd name="T24" fmla="*/ 1 w 106"/>
              <a:gd name="T25" fmla="*/ 43 h 106"/>
              <a:gd name="T26" fmla="*/ 9 w 106"/>
              <a:gd name="T27" fmla="*/ 24 h 106"/>
              <a:gd name="T28" fmla="*/ 23 w 106"/>
              <a:gd name="T29" fmla="*/ 10 h 106"/>
              <a:gd name="T30" fmla="*/ 42 w 106"/>
              <a:gd name="T31" fmla="*/ 1 h 106"/>
              <a:gd name="T32" fmla="*/ 53 w 106"/>
              <a:gd name="T33" fmla="*/ 28 h 106"/>
              <a:gd name="T34" fmla="*/ 62 w 106"/>
              <a:gd name="T35" fmla="*/ 30 h 106"/>
              <a:gd name="T36" fmla="*/ 70 w 106"/>
              <a:gd name="T37" fmla="*/ 36 h 106"/>
              <a:gd name="T38" fmla="*/ 77 w 106"/>
              <a:gd name="T39" fmla="*/ 43 h 106"/>
              <a:gd name="T40" fmla="*/ 78 w 106"/>
              <a:gd name="T41" fmla="*/ 53 h 106"/>
              <a:gd name="T42" fmla="*/ 77 w 106"/>
              <a:gd name="T43" fmla="*/ 64 h 106"/>
              <a:gd name="T44" fmla="*/ 70 w 106"/>
              <a:gd name="T45" fmla="*/ 71 h 106"/>
              <a:gd name="T46" fmla="*/ 62 w 106"/>
              <a:gd name="T47" fmla="*/ 77 h 106"/>
              <a:gd name="T48" fmla="*/ 53 w 106"/>
              <a:gd name="T49" fmla="*/ 79 h 106"/>
              <a:gd name="T50" fmla="*/ 43 w 106"/>
              <a:gd name="T51" fmla="*/ 77 h 106"/>
              <a:gd name="T52" fmla="*/ 36 w 106"/>
              <a:gd name="T53" fmla="*/ 71 h 106"/>
              <a:gd name="T54" fmla="*/ 29 w 106"/>
              <a:gd name="T55" fmla="*/ 64 h 106"/>
              <a:gd name="T56" fmla="*/ 28 w 106"/>
              <a:gd name="T57" fmla="*/ 53 h 106"/>
              <a:gd name="T58" fmla="*/ 29 w 106"/>
              <a:gd name="T59" fmla="*/ 43 h 106"/>
              <a:gd name="T60" fmla="*/ 36 w 106"/>
              <a:gd name="T61" fmla="*/ 36 h 106"/>
              <a:gd name="T62" fmla="*/ 43 w 106"/>
              <a:gd name="T63" fmla="*/ 30 h 106"/>
              <a:gd name="T64" fmla="*/ 53 w 106"/>
              <a:gd name="T65" fmla="*/ 28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" h="106">
                <a:moveTo>
                  <a:pt x="53" y="0"/>
                </a:moveTo>
                <a:lnTo>
                  <a:pt x="64" y="1"/>
                </a:lnTo>
                <a:lnTo>
                  <a:pt x="74" y="5"/>
                </a:lnTo>
                <a:lnTo>
                  <a:pt x="83" y="10"/>
                </a:lnTo>
                <a:lnTo>
                  <a:pt x="91" y="16"/>
                </a:lnTo>
                <a:lnTo>
                  <a:pt x="97" y="24"/>
                </a:lnTo>
                <a:lnTo>
                  <a:pt x="102" y="33"/>
                </a:lnTo>
                <a:lnTo>
                  <a:pt x="105" y="43"/>
                </a:lnTo>
                <a:lnTo>
                  <a:pt x="106" y="53"/>
                </a:lnTo>
                <a:lnTo>
                  <a:pt x="105" y="64"/>
                </a:lnTo>
                <a:lnTo>
                  <a:pt x="102" y="74"/>
                </a:lnTo>
                <a:lnTo>
                  <a:pt x="97" y="83"/>
                </a:lnTo>
                <a:lnTo>
                  <a:pt x="91" y="91"/>
                </a:lnTo>
                <a:lnTo>
                  <a:pt x="83" y="97"/>
                </a:lnTo>
                <a:lnTo>
                  <a:pt x="74" y="102"/>
                </a:lnTo>
                <a:lnTo>
                  <a:pt x="64" y="105"/>
                </a:lnTo>
                <a:lnTo>
                  <a:pt x="53" y="106"/>
                </a:lnTo>
                <a:lnTo>
                  <a:pt x="42" y="105"/>
                </a:lnTo>
                <a:lnTo>
                  <a:pt x="32" y="102"/>
                </a:lnTo>
                <a:lnTo>
                  <a:pt x="23" y="97"/>
                </a:lnTo>
                <a:lnTo>
                  <a:pt x="15" y="91"/>
                </a:lnTo>
                <a:lnTo>
                  <a:pt x="9" y="83"/>
                </a:lnTo>
                <a:lnTo>
                  <a:pt x="3" y="74"/>
                </a:lnTo>
                <a:lnTo>
                  <a:pt x="1" y="64"/>
                </a:lnTo>
                <a:lnTo>
                  <a:pt x="0" y="53"/>
                </a:lnTo>
                <a:lnTo>
                  <a:pt x="1" y="43"/>
                </a:lnTo>
                <a:lnTo>
                  <a:pt x="3" y="33"/>
                </a:lnTo>
                <a:lnTo>
                  <a:pt x="9" y="24"/>
                </a:lnTo>
                <a:lnTo>
                  <a:pt x="15" y="16"/>
                </a:lnTo>
                <a:lnTo>
                  <a:pt x="23" y="10"/>
                </a:lnTo>
                <a:lnTo>
                  <a:pt x="32" y="5"/>
                </a:lnTo>
                <a:lnTo>
                  <a:pt x="42" y="1"/>
                </a:lnTo>
                <a:lnTo>
                  <a:pt x="53" y="0"/>
                </a:lnTo>
                <a:close/>
                <a:moveTo>
                  <a:pt x="53" y="28"/>
                </a:moveTo>
                <a:lnTo>
                  <a:pt x="57" y="29"/>
                </a:lnTo>
                <a:lnTo>
                  <a:pt x="62" y="30"/>
                </a:lnTo>
                <a:lnTo>
                  <a:pt x="68" y="33"/>
                </a:lnTo>
                <a:lnTo>
                  <a:pt x="70" y="36"/>
                </a:lnTo>
                <a:lnTo>
                  <a:pt x="74" y="39"/>
                </a:lnTo>
                <a:lnTo>
                  <a:pt x="77" y="43"/>
                </a:lnTo>
                <a:lnTo>
                  <a:pt x="78" y="48"/>
                </a:lnTo>
                <a:lnTo>
                  <a:pt x="78" y="53"/>
                </a:lnTo>
                <a:lnTo>
                  <a:pt x="78" y="59"/>
                </a:lnTo>
                <a:lnTo>
                  <a:pt x="77" y="64"/>
                </a:lnTo>
                <a:lnTo>
                  <a:pt x="74" y="68"/>
                </a:lnTo>
                <a:lnTo>
                  <a:pt x="70" y="71"/>
                </a:lnTo>
                <a:lnTo>
                  <a:pt x="68" y="74"/>
                </a:lnTo>
                <a:lnTo>
                  <a:pt x="62" y="77"/>
                </a:lnTo>
                <a:lnTo>
                  <a:pt x="57" y="78"/>
                </a:lnTo>
                <a:lnTo>
                  <a:pt x="53" y="79"/>
                </a:lnTo>
                <a:lnTo>
                  <a:pt x="48" y="78"/>
                </a:lnTo>
                <a:lnTo>
                  <a:pt x="43" y="77"/>
                </a:lnTo>
                <a:lnTo>
                  <a:pt x="39" y="74"/>
                </a:lnTo>
                <a:lnTo>
                  <a:pt x="36" y="71"/>
                </a:lnTo>
                <a:lnTo>
                  <a:pt x="32" y="68"/>
                </a:lnTo>
                <a:lnTo>
                  <a:pt x="29" y="64"/>
                </a:lnTo>
                <a:lnTo>
                  <a:pt x="28" y="59"/>
                </a:lnTo>
                <a:lnTo>
                  <a:pt x="28" y="53"/>
                </a:lnTo>
                <a:lnTo>
                  <a:pt x="28" y="48"/>
                </a:lnTo>
                <a:lnTo>
                  <a:pt x="29" y="43"/>
                </a:lnTo>
                <a:lnTo>
                  <a:pt x="32" y="39"/>
                </a:lnTo>
                <a:lnTo>
                  <a:pt x="36" y="36"/>
                </a:lnTo>
                <a:lnTo>
                  <a:pt x="39" y="33"/>
                </a:lnTo>
                <a:lnTo>
                  <a:pt x="43" y="30"/>
                </a:lnTo>
                <a:lnTo>
                  <a:pt x="48" y="29"/>
                </a:lnTo>
                <a:lnTo>
                  <a:pt x="53" y="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2492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and End Slide Master">
  <a:themeElements>
    <a:clrScheme name="ALLPPT COLOR - 1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491"/>
      </a:accent1>
      <a:accent2>
        <a:srgbClr val="0587AF"/>
      </a:accent2>
      <a:accent3>
        <a:srgbClr val="19A5BE"/>
      </a:accent3>
      <a:accent4>
        <a:srgbClr val="53C3CD"/>
      </a:accent4>
      <a:accent5>
        <a:srgbClr val="5AB4C1"/>
      </a:accent5>
      <a:accent6>
        <a:srgbClr val="1A8EA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010_Basis presentation UK">
  <a:themeElements>
    <a:clrScheme name="Custom 12">
      <a:dk1>
        <a:srgbClr val="040123"/>
      </a:dk1>
      <a:lt1>
        <a:srgbClr val="FFFFFF"/>
      </a:lt1>
      <a:dk2>
        <a:srgbClr val="2B256F"/>
      </a:dk2>
      <a:lt2>
        <a:srgbClr val="C6C7C9"/>
      </a:lt2>
      <a:accent1>
        <a:srgbClr val="E3DEE9"/>
      </a:accent1>
      <a:accent2>
        <a:srgbClr val="D2D2D2"/>
      </a:accent2>
      <a:accent3>
        <a:srgbClr val="FF1F49"/>
      </a:accent3>
      <a:accent4>
        <a:srgbClr val="C2B5BF"/>
      </a:accent4>
      <a:accent5>
        <a:srgbClr val="303030"/>
      </a:accent5>
      <a:accent6>
        <a:srgbClr val="E7E7EC"/>
      </a:accent6>
      <a:hlink>
        <a:srgbClr val="8C8C8C"/>
      </a:hlink>
      <a:folHlink>
        <a:srgbClr val="000000"/>
      </a:folHlink>
    </a:clrScheme>
    <a:fontScheme name="Basis presentation D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1"/>
          </a:solidFill>
          <a:round/>
          <a:headEnd/>
          <a:tailEnd/>
        </a:ln>
      </a:spPr>
      <a:bodyPr wrap="square" lIns="0" tIns="0" rIns="0" bIns="0" rtlCol="0" anchor="ctr">
        <a:noAutofit/>
      </a:bodyPr>
      <a:lstStyle>
        <a:defPPr algn="l">
          <a:defRPr dirty="0">
            <a:solidFill>
              <a:schemeClr val="tx2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18155E94-AD05-4635-9381-C1ECAC153CC4}" vid="{857E51C2-A1BD-4933-8EF8-0792552E1AE7}"/>
    </a:ext>
  </a:extLst>
</a:theme>
</file>

<file path=ppt/theme/theme4.xml><?xml version="1.0" encoding="utf-8"?>
<a:theme xmlns:a="http://schemas.openxmlformats.org/drawingml/2006/main" name="Office Theme">
  <a:themeElements>
    <a:clrScheme name="2019 Calenda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35A35"/>
      </a:accent1>
      <a:accent2>
        <a:srgbClr val="ECB448"/>
      </a:accent2>
      <a:accent3>
        <a:srgbClr val="8BB74C"/>
      </a:accent3>
      <a:accent4>
        <a:srgbClr val="5FB7A2"/>
      </a:accent4>
      <a:accent5>
        <a:srgbClr val="3081AC"/>
      </a:accent5>
      <a:accent6>
        <a:srgbClr val="A5A5A5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Office Theme">
  <a:themeElements>
    <a:clrScheme name="Custom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F4437"/>
      </a:accent1>
      <a:accent2>
        <a:srgbClr val="C02E95"/>
      </a:accent2>
      <a:accent3>
        <a:srgbClr val="5745B4"/>
      </a:accent3>
      <a:accent4>
        <a:srgbClr val="0F6EBC"/>
      </a:accent4>
      <a:accent5>
        <a:srgbClr val="009783"/>
      </a:accent5>
      <a:accent6>
        <a:srgbClr val="C1C2CA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Office Theme">
  <a:themeElements>
    <a:clrScheme name="56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3548F"/>
      </a:accent1>
      <a:accent2>
        <a:srgbClr val="A3D134"/>
      </a:accent2>
      <a:accent3>
        <a:srgbClr val="568649"/>
      </a:accent3>
      <a:accent4>
        <a:srgbClr val="54A6D8"/>
      </a:accent4>
      <a:accent5>
        <a:srgbClr val="009783"/>
      </a:accent5>
      <a:accent6>
        <a:srgbClr val="C1C2CA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Office Theme">
  <a:themeElements>
    <a:clrScheme name="Custom 5">
      <a:dk1>
        <a:srgbClr val="282F39"/>
      </a:dk1>
      <a:lt1>
        <a:srgbClr val="FFFFFF"/>
      </a:lt1>
      <a:dk2>
        <a:srgbClr val="000000"/>
      </a:dk2>
      <a:lt2>
        <a:srgbClr val="EEEEEE"/>
      </a:lt2>
      <a:accent1>
        <a:srgbClr val="C2C923"/>
      </a:accent1>
      <a:accent2>
        <a:srgbClr val="42AFB6"/>
      </a:accent2>
      <a:accent3>
        <a:srgbClr val="074D67"/>
      </a:accent3>
      <a:accent4>
        <a:srgbClr val="CB1B4A"/>
      </a:accent4>
      <a:accent5>
        <a:srgbClr val="FCB414"/>
      </a:accent5>
      <a:accent6>
        <a:srgbClr val="007A7D"/>
      </a:accent6>
      <a:hlink>
        <a:srgbClr val="1EB7EF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82</TotalTime>
  <Words>569</Words>
  <Application>Microsoft Office PowerPoint</Application>
  <PresentationFormat>Widescreen</PresentationFormat>
  <Paragraphs>166</Paragraphs>
  <Slides>17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1" baseType="lpstr">
      <vt:lpstr>Arial</vt:lpstr>
      <vt:lpstr>Arial Black</vt:lpstr>
      <vt:lpstr>Calibri</vt:lpstr>
      <vt:lpstr>Calibri Light</vt:lpstr>
      <vt:lpstr>Noto Sans</vt:lpstr>
      <vt:lpstr>Open Sans</vt:lpstr>
      <vt:lpstr>Cover and End Slide Master</vt:lpstr>
      <vt:lpstr>1_Office Theme</vt:lpstr>
      <vt:lpstr>2010_Basis presentation UK</vt:lpstr>
      <vt:lpstr>Office Theme</vt:lpstr>
      <vt:lpstr>2_Office Theme</vt:lpstr>
      <vt:lpstr>3_Office Theme</vt:lpstr>
      <vt:lpstr>4_Office Theme</vt:lpstr>
      <vt:lpstr>think-cell Slide</vt:lpstr>
      <vt:lpstr>WYTEDGE</vt:lpstr>
      <vt:lpstr>Agenda</vt:lpstr>
      <vt:lpstr>Introduction</vt:lpstr>
      <vt:lpstr>Introduction</vt:lpstr>
      <vt:lpstr>Introduction</vt:lpstr>
      <vt:lpstr>Introduction</vt:lpstr>
      <vt:lpstr>Overview</vt:lpstr>
      <vt:lpstr>Overview</vt:lpstr>
      <vt:lpstr>Overview</vt:lpstr>
      <vt:lpstr>Overview</vt:lpstr>
      <vt:lpstr>Objectives</vt:lpstr>
      <vt:lpstr>IOT System</vt:lpstr>
      <vt:lpstr>Android Monitoring System </vt:lpstr>
      <vt:lpstr>Android Monitoring System</vt:lpstr>
      <vt:lpstr>Web Interfac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BOOLULL akhilesh</dc:creator>
  <cp:lastModifiedBy>BABOOLULL akhilesh</cp:lastModifiedBy>
  <cp:revision>92</cp:revision>
  <dcterms:created xsi:type="dcterms:W3CDTF">2020-02-27T07:25:46Z</dcterms:created>
  <dcterms:modified xsi:type="dcterms:W3CDTF">2020-03-22T19:11:24Z</dcterms:modified>
</cp:coreProperties>
</file>